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4.xml" ContentType="application/vnd.openxmlformats-officedocument.presentationml.tags+xml"/>
  <Override PartName="/ppt/notesSlides/notesSlide13.xml" ContentType="application/vnd.openxmlformats-officedocument.presentationml.notesSlide+xml"/>
  <Override PartName="/ppt/tags/tag25.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90800" r:id="rId4"/>
    <p:sldMasterId id="2147490808" r:id="rId5"/>
    <p:sldMasterId id="2147490840" r:id="rId6"/>
  </p:sldMasterIdLst>
  <p:notesMasterIdLst>
    <p:notesMasterId r:id="rId44"/>
  </p:notesMasterIdLst>
  <p:sldIdLst>
    <p:sldId id="2134806008" r:id="rId7"/>
    <p:sldId id="2134804005" r:id="rId8"/>
    <p:sldId id="2134805990" r:id="rId9"/>
    <p:sldId id="2134805976" r:id="rId10"/>
    <p:sldId id="2134805987" r:id="rId11"/>
    <p:sldId id="2134805975" r:id="rId12"/>
    <p:sldId id="2134805931" r:id="rId13"/>
    <p:sldId id="2134805971" r:id="rId14"/>
    <p:sldId id="2134806009" r:id="rId15"/>
    <p:sldId id="2134804001" r:id="rId16"/>
    <p:sldId id="2134805946" r:id="rId17"/>
    <p:sldId id="2134805980" r:id="rId18"/>
    <p:sldId id="2134805989" r:id="rId19"/>
    <p:sldId id="2134806025" r:id="rId20"/>
    <p:sldId id="2134805977" r:id="rId21"/>
    <p:sldId id="2134806022" r:id="rId22"/>
    <p:sldId id="2134805999" r:id="rId23"/>
    <p:sldId id="2134805995" r:id="rId24"/>
    <p:sldId id="2134806029" r:id="rId25"/>
    <p:sldId id="2134806019" r:id="rId26"/>
    <p:sldId id="2134804171" r:id="rId27"/>
    <p:sldId id="2134805988" r:id="rId28"/>
    <p:sldId id="2134805949" r:id="rId29"/>
    <p:sldId id="2134805937" r:id="rId30"/>
    <p:sldId id="2134805986" r:id="rId31"/>
    <p:sldId id="2134805972" r:id="rId32"/>
    <p:sldId id="2134804004" r:id="rId33"/>
    <p:sldId id="2134805942" r:id="rId34"/>
    <p:sldId id="2134805979" r:id="rId35"/>
    <p:sldId id="2134804009" r:id="rId36"/>
    <p:sldId id="2134805982" r:id="rId37"/>
    <p:sldId id="2134806001" r:id="rId38"/>
    <p:sldId id="2134804011" r:id="rId39"/>
    <p:sldId id="2134805960" r:id="rId40"/>
    <p:sldId id="2134804007" r:id="rId41"/>
    <p:sldId id="2134805969" r:id="rId42"/>
    <p:sldId id="2134806017"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S26 VLP" id="{1992D09D-5263-400E-AA71-7E02D14E6400}">
          <p14:sldIdLst>
            <p14:sldId id="2134806008"/>
          </p14:sldIdLst>
        </p14:section>
        <p14:section name="VIS-TECH" id="{3097776C-6CF0-4049-B791-C9DCCC22A026}">
          <p14:sldIdLst>
            <p14:sldId id="2134804005"/>
            <p14:sldId id="2134805990"/>
            <p14:sldId id="2134805976"/>
            <p14:sldId id="2134805987"/>
            <p14:sldId id="2134805975"/>
            <p14:sldId id="2134805931"/>
            <p14:sldId id="2134805971"/>
            <p14:sldId id="2134806009"/>
          </p14:sldIdLst>
        </p14:section>
        <p14:section name="VINTAGE TECH" id="{7B167B08-187F-4D76-B08E-4113DBC15A75}">
          <p14:sldIdLst>
            <p14:sldId id="2134804001"/>
            <p14:sldId id="2134805946"/>
            <p14:sldId id="2134805980"/>
            <p14:sldId id="2134805989"/>
            <p14:sldId id="2134806025"/>
            <p14:sldId id="2134805977"/>
            <p14:sldId id="2134806022"/>
            <p14:sldId id="2134805999"/>
            <p14:sldId id="2134805995"/>
            <p14:sldId id="2134806029"/>
            <p14:sldId id="2134806019"/>
          </p14:sldIdLst>
        </p14:section>
        <p14:section name="HYBRID" id="{EC76A904-7C49-4ECF-9B38-DEF8713914F3}">
          <p14:sldIdLst>
            <p14:sldId id="2134804171"/>
            <p14:sldId id="2134805988"/>
            <p14:sldId id="2134805949"/>
            <p14:sldId id="2134805937"/>
            <p14:sldId id="2134805986"/>
            <p14:sldId id="2134805972"/>
          </p14:sldIdLst>
        </p14:section>
        <p14:section name="URBAN TRAIL" id="{2A6EA385-CB8E-40BF-8000-10AB9BCD9050}">
          <p14:sldIdLst>
            <p14:sldId id="2134804004"/>
            <p14:sldId id="2134805942"/>
            <p14:sldId id="2134805979"/>
          </p14:sldIdLst>
        </p14:section>
        <p14:section name="COURT" id="{CBCF388C-392B-4777-B430-4FA448CD4AFF}">
          <p14:sldIdLst>
            <p14:sldId id="2134804009"/>
            <p14:sldId id="2134805982"/>
            <p14:sldId id="2134806001"/>
          </p14:sldIdLst>
        </p14:section>
        <p14:section name="CLASSIC HERITAGE" id="{60138F15-99AA-44E4-9B8B-09EB347520A7}">
          <p14:sldIdLst>
            <p14:sldId id="2134804011"/>
            <p14:sldId id="2134805960"/>
          </p14:sldIdLst>
        </p14:section>
        <p14:section name="KIDS" id="{DC0A7E9F-27BF-49BF-8D19-5585EEBDC915}">
          <p14:sldIdLst>
            <p14:sldId id="2134804007"/>
            <p14:sldId id="2134805969"/>
            <p14:sldId id="213480601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B2E0F01-01DC-04A5-3207-C7FFE98F445D}" name="Keiko Takayama" initials="KT" userId="S::keiko.takayama@asics.com::8f83b1d5-ec22-4762-977c-5c6517c844db" providerId="AD"/>
  <p188:author id="{8728D42A-DD4D-E605-7AD3-67B963441223}" name="Aaron Li" initials="" userId="S::aaron.li@asics.com::caf7ccea-d6d2-4b24-9c2a-c0acb172e693" providerId="AD"/>
  <p188:author id="{173FAF2B-DB03-D115-92C5-02E4604ADA4F}" name="Rino Kitajima" initials="RK" userId="S::rino.kitajima@asics.com::c37c3063-d48e-42ca-95cc-25f2986a6b9c" providerId="AD"/>
  <p188:author id="{895D5C4E-2923-AF7C-D90B-7ABF8D0380DA}" name="Junya Hirooka" initials="JH" userId="S::junya.hirooka@asics.com::da6d383a-131b-4de8-9e19-c72c51c6cbfd" providerId="AD"/>
  <p188:author id="{46350150-AE1A-0EFE-B2C1-516019B4AEE9}" name="Kalin Ishida" initials="KI" userId="S::kalin.ishida@asics.com::79664fe0-e357-48d1-978d-869a78c815b0" providerId="AD"/>
  <p188:author id="{833D9153-A70E-B27A-032D-CAC4222A8E40}" name="Jimin Weatherly" initials="" userId="S::jimin.weatherly@asics.com::50434565-c741-4bbd-8a49-9cc1ad3c012f" providerId="AD"/>
  <p188:author id="{4249215D-A78F-5828-71A7-F0CD2A062ADE}" name="Renske Kasteel" initials="RK" userId="S::renske.kasteel@asics.com::c412bf2c-61c0-4bab-8828-c94ee4dd3a14" providerId="AD"/>
  <p188:author id="{07A8F95D-49DA-137B-3AA0-A08CC0AEC51B}" name="Ayano Moriya" initials="AM" userId="S::ayano.moriya@asics.com::7c4e6580-7f5d-4521-a477-981f0834bc0b" providerId="AD"/>
  <p188:author id="{D74CA262-C69C-57AC-83A6-5A182CE6ECF1}" name="Zacc Davies" initials="" userId="S::Zacc.Davies@asics.com::20758e3f-03cd-456e-8edd-33929d085c2d" providerId="AD"/>
  <p188:author id="{10CC5D6A-75F6-3C1D-4596-A435BB44A87A}" name="Zacc DAVIES" initials="ZD" userId="S::zacc.davies@asics.com::20758e3f-03cd-456e-8edd-33929d085c2d" providerId="AD"/>
  <p188:author id="{7306856A-FF4A-599A-0A87-B7AE8A08CE30}" name="Mikiya Miyamoto" initials="MM" userId="S::mikiya.miyamoto@asics.com::dc3c977b-f40e-4983-8cb8-e3891c2a70bf" providerId="AD"/>
  <p188:author id="{6FCCD781-7D36-A403-BDB6-A0B19886CE71}" name="Austin J Vander Woude" initials="AW" userId="S::aj.vanderwoude@asics.com::262418cf-4b0e-4b80-9123-37b8b015814b" providerId="AD"/>
  <p188:author id="{D177A8D9-F44B-FC7A-49E7-1AFA0946BD36}" name="Thor Hovland-Pye" initials="TH" userId="S::thor.hovland@asics.com::7788b00a-484b-44f7-b279-b001888f2dd3" providerId="AD"/>
  <p188:author id="{350133DE-4851-8D60-E912-D6C60CF6E3C7}" name="Claire Cho" initials="" userId="S::claire.cho@asics.com::75156b61-88bf-429b-9b20-6402219c35bd" providerId="AD"/>
  <p188:author id="{8BA39DED-02A3-A6FD-3A4C-F61F7A5797C9}" name="Laura Casadio" initials="LC" userId="S::laura.casadio@asics.com::66d3dc7e-795b-4a92-887c-7e990ee4a71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8AD2EC"/>
    <a:srgbClr val="1E5C66"/>
    <a:srgbClr val="D8CC9D"/>
    <a:srgbClr val="B6C6D1"/>
    <a:srgbClr val="E889DB"/>
    <a:srgbClr val="DEE5EA"/>
    <a:srgbClr val="BFC1C4"/>
    <a:srgbClr val="F2EEDE"/>
    <a:srgbClr val="EDEE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635"/>
  </p:normalViewPr>
  <p:slideViewPr>
    <p:cSldViewPr snapToGrid="0">
      <p:cViewPr varScale="1">
        <p:scale>
          <a:sx n="96" d="100"/>
          <a:sy n="96" d="100"/>
        </p:scale>
        <p:origin x="1264" y="4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theme" Target="theme/theme1.xml"/><Relationship Id="rId50" Type="http://schemas.microsoft.com/office/2018/10/relationships/authors" Target="author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microsoft.com/office/2016/11/relationships/changesInfo" Target="changesInfos/changesInfo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tableStyles" Target="tableStyle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kira Kumazawa" userId="28f4824b-eaa7-4000-88b6-2cda55e1ee37" providerId="ADAL" clId="{6CAF3223-D2DF-48AA-BEFD-ED60D4F944DB}"/>
    <pc:docChg chg="custSel modSld">
      <pc:chgData name="Akira Kumazawa" userId="28f4824b-eaa7-4000-88b6-2cda55e1ee37" providerId="ADAL" clId="{6CAF3223-D2DF-48AA-BEFD-ED60D4F944DB}" dt="2025-02-03T08:24:58.030" v="1"/>
      <pc:docMkLst>
        <pc:docMk/>
      </pc:docMkLst>
      <pc:sldChg chg="addSp delSp modSp mod">
        <pc:chgData name="Akira Kumazawa" userId="28f4824b-eaa7-4000-88b6-2cda55e1ee37" providerId="ADAL" clId="{6CAF3223-D2DF-48AA-BEFD-ED60D4F944DB}" dt="2025-02-03T08:24:58.030" v="1"/>
        <pc:sldMkLst>
          <pc:docMk/>
          <pc:sldMk cId="4027940968" sldId="2134805944"/>
        </pc:sldMkLst>
      </pc:sldChg>
    </pc:docChg>
  </pc:docChgLst>
  <pc:docChgLst>
    <pc:chgData name="Anouk Lecoq-Pinto" userId="fd156dd4-a044-4dad-8fd4-225095b35fe9" providerId="ADAL" clId="{368A6C0C-743E-4026-85AC-D0E58D7DF746}"/>
    <pc:docChg chg="undo modSld">
      <pc:chgData name="Anouk Lecoq-Pinto" userId="fd156dd4-a044-4dad-8fd4-225095b35fe9" providerId="ADAL" clId="{368A6C0C-743E-4026-85AC-D0E58D7DF746}" dt="2025-02-13T14:03:02.187" v="1" actId="14100"/>
      <pc:docMkLst>
        <pc:docMk/>
      </pc:docMkLst>
      <pc:sldChg chg="modSp mod">
        <pc:chgData name="Anouk Lecoq-Pinto" userId="fd156dd4-a044-4dad-8fd4-225095b35fe9" providerId="ADAL" clId="{368A6C0C-743E-4026-85AC-D0E58D7DF746}" dt="2025-02-13T14:03:02.187" v="1" actId="14100"/>
        <pc:sldMkLst>
          <pc:docMk/>
          <pc:sldMk cId="2891202667" sldId="2134805988"/>
        </pc:sldMkLst>
      </pc:sldChg>
    </pc:docChg>
  </pc:docChgLst>
  <pc:docChgLst>
    <pc:chgData name="Menno Rood" userId="4c9e5a0b-642f-4e97-82b2-a9dd8b03bdc0" providerId="ADAL" clId="{145802FD-9872-4F3D-A116-02A2A0B2979D}"/>
    <pc:docChg chg="sldOrd">
      <pc:chgData name="Menno Rood" userId="4c9e5a0b-642f-4e97-82b2-a9dd8b03bdc0" providerId="ADAL" clId="{145802FD-9872-4F3D-A116-02A2A0B2979D}" dt="2025-04-24T09:46:50.069" v="0" actId="20578"/>
      <pc:docMkLst>
        <pc:docMk/>
      </pc:docMkLst>
      <pc:sldChg chg="ord">
        <pc:chgData name="Menno Rood" userId="4c9e5a0b-642f-4e97-82b2-a9dd8b03bdc0" providerId="ADAL" clId="{145802FD-9872-4F3D-A116-02A2A0B2979D}" dt="2025-04-24T09:46:50.069" v="0" actId="20578"/>
        <pc:sldMkLst>
          <pc:docMk/>
          <pc:sldMk cId="491730171" sldId="2134806029"/>
        </pc:sldMkLst>
      </pc:sldChg>
    </pc:docChg>
  </pc:docChgLst>
  <pc:docChgLst>
    <pc:chgData name="Ryohei Teramoto" userId="S::ryohei.teramoto@asics.com::fce09e4d-c206-4b0e-a849-b274b13e27d7" providerId="AD" clId="Web-{97D68F56-A448-F6D3-AECC-4945850AF0A1}"/>
    <pc:docChg chg="modSld">
      <pc:chgData name="Ryohei Teramoto" userId="S::ryohei.teramoto@asics.com::fce09e4d-c206-4b0e-a849-b274b13e27d7" providerId="AD" clId="Web-{97D68F56-A448-F6D3-AECC-4945850AF0A1}" dt="2025-02-03T08:44:58.136" v="9" actId="1076"/>
      <pc:docMkLst>
        <pc:docMk/>
      </pc:docMkLst>
      <pc:sldChg chg="addSp delSp modSp">
        <pc:chgData name="Ryohei Teramoto" userId="S::ryohei.teramoto@asics.com::fce09e4d-c206-4b0e-a849-b274b13e27d7" providerId="AD" clId="Web-{97D68F56-A448-F6D3-AECC-4945850AF0A1}" dt="2025-02-03T08:44:58.136" v="9" actId="1076"/>
        <pc:sldMkLst>
          <pc:docMk/>
          <pc:sldMk cId="2891202667" sldId="2134805988"/>
        </pc:sldMkLst>
      </pc:sldChg>
    </pc:docChg>
  </pc:docChgLst>
  <pc:docChgLst>
    <pc:chgData name="Carla Teissier" userId="S::carla.teissier@asics.com::07b304b7-f21f-411e-8f83-22eb1709e4ba" providerId="AD" clId="Web-{3C1F394D-772A-9C02-73C7-DFCF1C119654}"/>
    <pc:docChg chg="modSld">
      <pc:chgData name="Carla Teissier" userId="S::carla.teissier@asics.com::07b304b7-f21f-411e-8f83-22eb1709e4ba" providerId="AD" clId="Web-{3C1F394D-772A-9C02-73C7-DFCF1C119654}" dt="2025-02-12T10:47:10.174" v="31" actId="14100"/>
      <pc:docMkLst>
        <pc:docMk/>
      </pc:docMkLst>
      <pc:sldChg chg="modSp">
        <pc:chgData name="Carla Teissier" userId="S::carla.teissier@asics.com::07b304b7-f21f-411e-8f83-22eb1709e4ba" providerId="AD" clId="Web-{3C1F394D-772A-9C02-73C7-DFCF1C119654}" dt="2025-02-12T10:29:01.204" v="3" actId="14100"/>
        <pc:sldMkLst>
          <pc:docMk/>
          <pc:sldMk cId="4248740932" sldId="2134805931"/>
        </pc:sldMkLst>
        <pc:picChg chg="mod">
          <ac:chgData name="Carla Teissier" userId="S::carla.teissier@asics.com::07b304b7-f21f-411e-8f83-22eb1709e4ba" providerId="AD" clId="Web-{3C1F394D-772A-9C02-73C7-DFCF1C119654}" dt="2025-02-12T10:28:53.344" v="1" actId="14100"/>
          <ac:picMkLst>
            <pc:docMk/>
            <pc:sldMk cId="4248740932" sldId="2134805931"/>
            <ac:picMk id="5" creationId="{1D3284BA-168D-DFCA-426E-DE6EC4A59A0D}"/>
          </ac:picMkLst>
        </pc:picChg>
        <pc:picChg chg="mod">
          <ac:chgData name="Carla Teissier" userId="S::carla.teissier@asics.com::07b304b7-f21f-411e-8f83-22eb1709e4ba" providerId="AD" clId="Web-{3C1F394D-772A-9C02-73C7-DFCF1C119654}" dt="2025-02-12T10:29:01.204" v="3" actId="14100"/>
          <ac:picMkLst>
            <pc:docMk/>
            <pc:sldMk cId="4248740932" sldId="2134805931"/>
            <ac:picMk id="7" creationId="{EF2C77F7-83E0-0C3C-D821-8A696921D681}"/>
          </ac:picMkLst>
        </pc:picChg>
      </pc:sldChg>
      <pc:sldChg chg="modSp">
        <pc:chgData name="Carla Teissier" userId="S::carla.teissier@asics.com::07b304b7-f21f-411e-8f83-22eb1709e4ba" providerId="AD" clId="Web-{3C1F394D-772A-9C02-73C7-DFCF1C119654}" dt="2025-02-12T10:30:24.987" v="11" actId="14100"/>
        <pc:sldMkLst>
          <pc:docMk/>
          <pc:sldMk cId="3817347563" sldId="2134805932"/>
        </pc:sldMkLst>
        <pc:picChg chg="mod">
          <ac:chgData name="Carla Teissier" userId="S::carla.teissier@asics.com::07b304b7-f21f-411e-8f83-22eb1709e4ba" providerId="AD" clId="Web-{3C1F394D-772A-9C02-73C7-DFCF1C119654}" dt="2025-02-12T10:30:24.987" v="11" actId="14100"/>
          <ac:picMkLst>
            <pc:docMk/>
            <pc:sldMk cId="3817347563" sldId="2134805932"/>
            <ac:picMk id="5" creationId="{ABF4CFAD-662F-3CFB-665E-2150EA2BA956}"/>
          </ac:picMkLst>
        </pc:picChg>
        <pc:picChg chg="mod">
          <ac:chgData name="Carla Teissier" userId="S::carla.teissier@asics.com::07b304b7-f21f-411e-8f83-22eb1709e4ba" providerId="AD" clId="Web-{3C1F394D-772A-9C02-73C7-DFCF1C119654}" dt="2025-02-12T10:29:15.095" v="5" actId="14100"/>
          <ac:picMkLst>
            <pc:docMk/>
            <pc:sldMk cId="3817347563" sldId="2134805932"/>
            <ac:picMk id="7" creationId="{14642461-D0B7-4AB0-5949-77778D9207A3}"/>
          </ac:picMkLst>
        </pc:picChg>
        <pc:picChg chg="mod">
          <ac:chgData name="Carla Teissier" userId="S::carla.teissier@asics.com::07b304b7-f21f-411e-8f83-22eb1709e4ba" providerId="AD" clId="Web-{3C1F394D-772A-9C02-73C7-DFCF1C119654}" dt="2025-02-12T10:29:29.501" v="7" actId="14100"/>
          <ac:picMkLst>
            <pc:docMk/>
            <pc:sldMk cId="3817347563" sldId="2134805932"/>
            <ac:picMk id="25" creationId="{5CBD2090-8162-5D58-B7E3-22DC2AF4F669}"/>
          </ac:picMkLst>
        </pc:picChg>
      </pc:sldChg>
      <pc:sldChg chg="modSp">
        <pc:chgData name="Carla Teissier" userId="S::carla.teissier@asics.com::07b304b7-f21f-411e-8f83-22eb1709e4ba" providerId="AD" clId="Web-{3C1F394D-772A-9C02-73C7-DFCF1C119654}" dt="2025-02-12T10:47:10.174" v="31" actId="14100"/>
        <pc:sldMkLst>
          <pc:docMk/>
          <pc:sldMk cId="334095102" sldId="2134805962"/>
        </pc:sldMkLst>
        <pc:picChg chg="mod">
          <ac:chgData name="Carla Teissier" userId="S::carla.teissier@asics.com::07b304b7-f21f-411e-8f83-22eb1709e4ba" providerId="AD" clId="Web-{3C1F394D-772A-9C02-73C7-DFCF1C119654}" dt="2025-02-12T10:47:10.174" v="31" actId="14100"/>
          <ac:picMkLst>
            <pc:docMk/>
            <pc:sldMk cId="334095102" sldId="2134805962"/>
            <ac:picMk id="8" creationId="{3E8AA242-8C0A-1C2A-611D-B0B09630531C}"/>
          </ac:picMkLst>
        </pc:picChg>
        <pc:picChg chg="mod">
          <ac:chgData name="Carla Teissier" userId="S::carla.teissier@asics.com::07b304b7-f21f-411e-8f83-22eb1709e4ba" providerId="AD" clId="Web-{3C1F394D-772A-9C02-73C7-DFCF1C119654}" dt="2025-02-12T10:46:19.657" v="23" actId="14100"/>
          <ac:picMkLst>
            <pc:docMk/>
            <pc:sldMk cId="334095102" sldId="2134805962"/>
            <ac:picMk id="25" creationId="{5CBD2090-8162-5D58-B7E3-22DC2AF4F669}"/>
          </ac:picMkLst>
        </pc:picChg>
      </pc:sldChg>
      <pc:sldChg chg="modSp">
        <pc:chgData name="Carla Teissier" userId="S::carla.teissier@asics.com::07b304b7-f21f-411e-8f83-22eb1709e4ba" providerId="AD" clId="Web-{3C1F394D-772A-9C02-73C7-DFCF1C119654}" dt="2025-02-12T10:29:53.111" v="9" actId="14100"/>
        <pc:sldMkLst>
          <pc:docMk/>
          <pc:sldMk cId="4289745805" sldId="2134805971"/>
        </pc:sldMkLst>
        <pc:picChg chg="mod">
          <ac:chgData name="Carla Teissier" userId="S::carla.teissier@asics.com::07b304b7-f21f-411e-8f83-22eb1709e4ba" providerId="AD" clId="Web-{3C1F394D-772A-9C02-73C7-DFCF1C119654}" dt="2025-02-12T10:29:53.111" v="9" actId="14100"/>
          <ac:picMkLst>
            <pc:docMk/>
            <pc:sldMk cId="4289745805" sldId="2134805971"/>
            <ac:picMk id="18" creationId="{8260AD7A-9647-DDE0-4CBA-BA4A8CEB1934}"/>
          </ac:picMkLst>
        </pc:picChg>
      </pc:sldChg>
      <pc:sldChg chg="modSp">
        <pc:chgData name="Carla Teissier" userId="S::carla.teissier@asics.com::07b304b7-f21f-411e-8f83-22eb1709e4ba" providerId="AD" clId="Web-{3C1F394D-772A-9C02-73C7-DFCF1C119654}" dt="2025-02-12T10:37:32.907" v="19" actId="14100"/>
        <pc:sldMkLst>
          <pc:docMk/>
          <pc:sldMk cId="2267328279" sldId="2134806001"/>
        </pc:sldMkLst>
        <pc:picChg chg="mod">
          <ac:chgData name="Carla Teissier" userId="S::carla.teissier@asics.com::07b304b7-f21f-411e-8f83-22eb1709e4ba" providerId="AD" clId="Web-{3C1F394D-772A-9C02-73C7-DFCF1C119654}" dt="2025-02-12T10:35:20.325" v="17" actId="14100"/>
          <ac:picMkLst>
            <pc:docMk/>
            <pc:sldMk cId="2267328279" sldId="2134806001"/>
            <ac:picMk id="18" creationId="{5FEBD236-EBD9-A7E0-3BDA-DA91E440C0EF}"/>
          </ac:picMkLst>
        </pc:picChg>
        <pc:picChg chg="mod">
          <ac:chgData name="Carla Teissier" userId="S::carla.teissier@asics.com::07b304b7-f21f-411e-8f83-22eb1709e4ba" providerId="AD" clId="Web-{3C1F394D-772A-9C02-73C7-DFCF1C119654}" dt="2025-02-12T10:37:32.907" v="19" actId="14100"/>
          <ac:picMkLst>
            <pc:docMk/>
            <pc:sldMk cId="2267328279" sldId="2134806001"/>
            <ac:picMk id="19" creationId="{0DE38F1D-82C6-1660-A580-00AED0C37DF2}"/>
          </ac:picMkLst>
        </pc:picChg>
      </pc:sldChg>
      <pc:sldChg chg="modSp">
        <pc:chgData name="Carla Teissier" userId="S::carla.teissier@asics.com::07b304b7-f21f-411e-8f83-22eb1709e4ba" providerId="AD" clId="Web-{3C1F394D-772A-9C02-73C7-DFCF1C119654}" dt="2025-02-12T10:31:46.474" v="15" actId="14100"/>
        <pc:sldMkLst>
          <pc:docMk/>
          <pc:sldMk cId="2931584499" sldId="2134806011"/>
        </pc:sldMkLst>
        <pc:picChg chg="mod">
          <ac:chgData name="Carla Teissier" userId="S::carla.teissier@asics.com::07b304b7-f21f-411e-8f83-22eb1709e4ba" providerId="AD" clId="Web-{3C1F394D-772A-9C02-73C7-DFCF1C119654}" dt="2025-02-12T10:31:46.474" v="15" actId="14100"/>
          <ac:picMkLst>
            <pc:docMk/>
            <pc:sldMk cId="2931584499" sldId="2134806011"/>
            <ac:picMk id="7" creationId="{4DEBB6AD-3C87-A824-1147-B5108501CD70}"/>
          </ac:picMkLst>
        </pc:picChg>
        <pc:picChg chg="mod">
          <ac:chgData name="Carla Teissier" userId="S::carla.teissier@asics.com::07b304b7-f21f-411e-8f83-22eb1709e4ba" providerId="AD" clId="Web-{3C1F394D-772A-9C02-73C7-DFCF1C119654}" dt="2025-02-12T10:31:16.067" v="13" actId="14100"/>
          <ac:picMkLst>
            <pc:docMk/>
            <pc:sldMk cId="2931584499" sldId="2134806011"/>
            <ac:picMk id="10" creationId="{13CFF1B7-A62A-D2FE-19D2-EE0F26B8E679}"/>
          </ac:picMkLst>
        </pc:picChg>
      </pc:sldChg>
      <pc:sldChg chg="modSp">
        <pc:chgData name="Carla Teissier" userId="S::carla.teissier@asics.com::07b304b7-f21f-411e-8f83-22eb1709e4ba" providerId="AD" clId="Web-{3C1F394D-772A-9C02-73C7-DFCF1C119654}" dt="2025-02-12T10:46:39.470" v="27" actId="14100"/>
        <pc:sldMkLst>
          <pc:docMk/>
          <pc:sldMk cId="2328368962" sldId="2134806013"/>
        </pc:sldMkLst>
      </pc:sldChg>
    </pc:docChg>
  </pc:docChgLst>
  <pc:docChgLst>
    <pc:chgData name="Laura Casadio" userId="66d3dc7e-795b-4a92-887c-7e990ee4a717" providerId="ADAL" clId="{A002E1BF-DA5B-40E8-8B58-22F68401CEFA}"/>
    <pc:docChg chg="undo redo custSel addSld delSld modSld sldOrd modMainMaster delSection modSection">
      <pc:chgData name="Laura Casadio" userId="66d3dc7e-795b-4a92-887c-7e990ee4a717" providerId="ADAL" clId="{A002E1BF-DA5B-40E8-8B58-22F68401CEFA}" dt="2025-02-10T17:42:52.170" v="2676" actId="20577"/>
      <pc:docMkLst>
        <pc:docMk/>
      </pc:docMkLst>
      <pc:sldChg chg="add">
        <pc:chgData name="Laura Casadio" userId="66d3dc7e-795b-4a92-887c-7e990ee4a717" providerId="ADAL" clId="{A002E1BF-DA5B-40E8-8B58-22F68401CEFA}" dt="2025-02-04T09:54:19.348" v="205"/>
        <pc:sldMkLst>
          <pc:docMk/>
          <pc:sldMk cId="1677506481" sldId="2134804001"/>
        </pc:sldMkLst>
      </pc:sldChg>
      <pc:sldChg chg="add ord">
        <pc:chgData name="Laura Casadio" userId="66d3dc7e-795b-4a92-887c-7e990ee4a717" providerId="ADAL" clId="{A002E1BF-DA5B-40E8-8B58-22F68401CEFA}" dt="2025-02-04T09:53:25.821" v="202"/>
        <pc:sldMkLst>
          <pc:docMk/>
          <pc:sldMk cId="1049635499" sldId="2134804004"/>
        </pc:sldMkLst>
      </pc:sldChg>
      <pc:sldChg chg="add">
        <pc:chgData name="Laura Casadio" userId="66d3dc7e-795b-4a92-887c-7e990ee4a717" providerId="ADAL" clId="{A002E1BF-DA5B-40E8-8B58-22F68401CEFA}" dt="2025-02-04T09:33:25.504" v="9"/>
        <pc:sldMkLst>
          <pc:docMk/>
          <pc:sldMk cId="4002605280" sldId="2134804005"/>
        </pc:sldMkLst>
      </pc:sldChg>
      <pc:sldChg chg="add">
        <pc:chgData name="Laura Casadio" userId="66d3dc7e-795b-4a92-887c-7e990ee4a717" providerId="ADAL" clId="{A002E1BF-DA5B-40E8-8B58-22F68401CEFA}" dt="2025-02-04T12:39:54.336" v="690"/>
        <pc:sldMkLst>
          <pc:docMk/>
          <pc:sldMk cId="3866377304" sldId="2134804007"/>
        </pc:sldMkLst>
      </pc:sldChg>
      <pc:sldChg chg="add">
        <pc:chgData name="Laura Casadio" userId="66d3dc7e-795b-4a92-887c-7e990ee4a717" providerId="ADAL" clId="{A002E1BF-DA5B-40E8-8B58-22F68401CEFA}" dt="2025-02-04T12:19:38.477" v="507"/>
        <pc:sldMkLst>
          <pc:docMk/>
          <pc:sldMk cId="735567198" sldId="2134804009"/>
        </pc:sldMkLst>
      </pc:sldChg>
      <pc:sldChg chg="add">
        <pc:chgData name="Laura Casadio" userId="66d3dc7e-795b-4a92-887c-7e990ee4a717" providerId="ADAL" clId="{A002E1BF-DA5B-40E8-8B58-22F68401CEFA}" dt="2025-02-04T12:36:46.860" v="657"/>
        <pc:sldMkLst>
          <pc:docMk/>
          <pc:sldMk cId="1539695228" sldId="2134804011"/>
        </pc:sldMkLst>
      </pc:sldChg>
      <pc:sldChg chg="modSp add mod">
        <pc:chgData name="Laura Casadio" userId="66d3dc7e-795b-4a92-887c-7e990ee4a717" providerId="ADAL" clId="{A002E1BF-DA5B-40E8-8B58-22F68401CEFA}" dt="2025-02-04T09:53:55.172" v="203" actId="207"/>
        <pc:sldMkLst>
          <pc:docMk/>
          <pc:sldMk cId="3773474661" sldId="2134804171"/>
        </pc:sldMkLst>
        <pc:spChg chg="mod">
          <ac:chgData name="Laura Casadio" userId="66d3dc7e-795b-4a92-887c-7e990ee4a717" providerId="ADAL" clId="{A002E1BF-DA5B-40E8-8B58-22F68401CEFA}" dt="2025-02-04T09:53:55.172" v="203" actId="207"/>
          <ac:spMkLst>
            <pc:docMk/>
            <pc:sldMk cId="3773474661" sldId="2134804171"/>
            <ac:spMk id="19" creationId="{35ED4F10-2E0B-4C28-B659-55D6669C6FD5}"/>
          </ac:spMkLst>
        </pc:spChg>
      </pc:sldChg>
      <pc:sldChg chg="del">
        <pc:chgData name="Laura Casadio" userId="66d3dc7e-795b-4a92-887c-7e990ee4a717" providerId="ADAL" clId="{A002E1BF-DA5B-40E8-8B58-22F68401CEFA}" dt="2025-02-04T09:32:51.930" v="5" actId="2696"/>
        <pc:sldMkLst>
          <pc:docMk/>
          <pc:sldMk cId="158351933" sldId="2134804521"/>
        </pc:sldMkLst>
      </pc:sldChg>
      <pc:sldChg chg="del">
        <pc:chgData name="Laura Casadio" userId="66d3dc7e-795b-4a92-887c-7e990ee4a717" providerId="ADAL" clId="{A002E1BF-DA5B-40E8-8B58-22F68401CEFA}" dt="2025-02-04T09:32:55.830" v="6" actId="2696"/>
        <pc:sldMkLst>
          <pc:docMk/>
          <pc:sldMk cId="3622459036" sldId="2134805890"/>
        </pc:sldMkLst>
      </pc:sldChg>
      <pc:sldChg chg="del">
        <pc:chgData name="Laura Casadio" userId="66d3dc7e-795b-4a92-887c-7e990ee4a717" providerId="ADAL" clId="{A002E1BF-DA5B-40E8-8B58-22F68401CEFA}" dt="2025-02-04T09:32:55.830" v="6" actId="2696"/>
        <pc:sldMkLst>
          <pc:docMk/>
          <pc:sldMk cId="172050186" sldId="2134805892"/>
        </pc:sldMkLst>
      </pc:sldChg>
      <pc:sldChg chg="del">
        <pc:chgData name="Laura Casadio" userId="66d3dc7e-795b-4a92-887c-7e990ee4a717" providerId="ADAL" clId="{A002E1BF-DA5B-40E8-8B58-22F68401CEFA}" dt="2025-02-04T12:19:26.465" v="506" actId="2696"/>
        <pc:sldMkLst>
          <pc:docMk/>
          <pc:sldMk cId="529104267" sldId="2134805893"/>
        </pc:sldMkLst>
      </pc:sldChg>
      <pc:sldChg chg="del">
        <pc:chgData name="Laura Casadio" userId="66d3dc7e-795b-4a92-887c-7e990ee4a717" providerId="ADAL" clId="{A002E1BF-DA5B-40E8-8B58-22F68401CEFA}" dt="2025-02-04T09:32:55.830" v="6" actId="2696"/>
        <pc:sldMkLst>
          <pc:docMk/>
          <pc:sldMk cId="2033326304" sldId="2134805923"/>
        </pc:sldMkLst>
      </pc:sldChg>
      <pc:sldChg chg="addSp delSp modSp mod">
        <pc:chgData name="Laura Casadio" userId="66d3dc7e-795b-4a92-887c-7e990ee4a717" providerId="ADAL" clId="{A002E1BF-DA5B-40E8-8B58-22F68401CEFA}" dt="2025-02-05T08:36:58.916" v="1703" actId="2711"/>
        <pc:sldMkLst>
          <pc:docMk/>
          <pc:sldMk cId="4248740932" sldId="2134805931"/>
        </pc:sldMkLst>
        <pc:spChg chg="add mod">
          <ac:chgData name="Laura Casadio" userId="66d3dc7e-795b-4a92-887c-7e990ee4a717" providerId="ADAL" clId="{A002E1BF-DA5B-40E8-8B58-22F68401CEFA}" dt="2025-02-05T08:36:58.916" v="1703" actId="2711"/>
          <ac:spMkLst>
            <pc:docMk/>
            <pc:sldMk cId="4248740932" sldId="2134805931"/>
            <ac:spMk id="9" creationId="{1F10601F-5B1C-2A3A-4F1A-07F752E7FF08}"/>
          </ac:spMkLst>
        </pc:spChg>
        <pc:spChg chg="add mod">
          <ac:chgData name="Laura Casadio" userId="66d3dc7e-795b-4a92-887c-7e990ee4a717" providerId="ADAL" clId="{A002E1BF-DA5B-40E8-8B58-22F68401CEFA}" dt="2025-02-05T08:36:58.916" v="1703" actId="2711"/>
          <ac:spMkLst>
            <pc:docMk/>
            <pc:sldMk cId="4248740932" sldId="2134805931"/>
            <ac:spMk id="10" creationId="{91583920-4843-22F4-7AA9-B29F0B3FEEAB}"/>
          </ac:spMkLst>
        </pc:spChg>
        <pc:spChg chg="add mod">
          <ac:chgData name="Laura Casadio" userId="66d3dc7e-795b-4a92-887c-7e990ee4a717" providerId="ADAL" clId="{A002E1BF-DA5B-40E8-8B58-22F68401CEFA}" dt="2025-02-05T08:36:58.916" v="1703" actId="2711"/>
          <ac:spMkLst>
            <pc:docMk/>
            <pc:sldMk cId="4248740932" sldId="2134805931"/>
            <ac:spMk id="11" creationId="{1A70E9E7-EEB1-11D7-1668-1CB766E9F791}"/>
          </ac:spMkLst>
        </pc:spChg>
        <pc:spChg chg="add mod">
          <ac:chgData name="Laura Casadio" userId="66d3dc7e-795b-4a92-887c-7e990ee4a717" providerId="ADAL" clId="{A002E1BF-DA5B-40E8-8B58-22F68401CEFA}" dt="2025-02-05T08:36:58.916" v="1703" actId="2711"/>
          <ac:spMkLst>
            <pc:docMk/>
            <pc:sldMk cId="4248740932" sldId="2134805931"/>
            <ac:spMk id="12" creationId="{7437EF38-191E-6E52-3152-6BEB73174AE0}"/>
          </ac:spMkLst>
        </pc:spChg>
        <pc:spChg chg="mod">
          <ac:chgData name="Laura Casadio" userId="66d3dc7e-795b-4a92-887c-7e990ee4a717" providerId="ADAL" clId="{A002E1BF-DA5B-40E8-8B58-22F68401CEFA}" dt="2025-02-04T09:52:33.451" v="196" actId="403"/>
          <ac:spMkLst>
            <pc:docMk/>
            <pc:sldMk cId="4248740932" sldId="2134805931"/>
            <ac:spMk id="70" creationId="{806B8040-186A-DF35-242B-F6AD41CEFC9B}"/>
          </ac:spMkLst>
        </pc:spChg>
      </pc:sldChg>
      <pc:sldChg chg="addSp delSp modSp mod">
        <pc:chgData name="Laura Casadio" userId="66d3dc7e-795b-4a92-887c-7e990ee4a717" providerId="ADAL" clId="{A002E1BF-DA5B-40E8-8B58-22F68401CEFA}" dt="2025-02-05T08:36:51.693" v="1702" actId="2711"/>
        <pc:sldMkLst>
          <pc:docMk/>
          <pc:sldMk cId="3817347563" sldId="2134805932"/>
        </pc:sldMkLst>
        <pc:spChg chg="mod">
          <ac:chgData name="Laura Casadio" userId="66d3dc7e-795b-4a92-887c-7e990ee4a717" providerId="ADAL" clId="{A002E1BF-DA5B-40E8-8B58-22F68401CEFA}" dt="2025-02-04T09:40:51.250" v="95" actId="20577"/>
          <ac:spMkLst>
            <pc:docMk/>
            <pc:sldMk cId="3817347563" sldId="2134805932"/>
            <ac:spMk id="9" creationId="{6A2ABF00-05D9-5618-2445-7325B9BCC026}"/>
          </ac:spMkLst>
        </pc:spChg>
        <pc:spChg chg="add mod">
          <ac:chgData name="Laura Casadio" userId="66d3dc7e-795b-4a92-887c-7e990ee4a717" providerId="ADAL" clId="{A002E1BF-DA5B-40E8-8B58-22F68401CEFA}" dt="2025-02-05T08:36:51.693" v="1702" actId="2711"/>
          <ac:spMkLst>
            <pc:docMk/>
            <pc:sldMk cId="3817347563" sldId="2134805932"/>
            <ac:spMk id="11" creationId="{FC415F01-CD9A-5CCA-7901-7F1979285645}"/>
          </ac:spMkLst>
        </pc:spChg>
        <pc:spChg chg="add mod">
          <ac:chgData name="Laura Casadio" userId="66d3dc7e-795b-4a92-887c-7e990ee4a717" providerId="ADAL" clId="{A002E1BF-DA5B-40E8-8B58-22F68401CEFA}" dt="2025-02-05T08:36:51.693" v="1702" actId="2711"/>
          <ac:spMkLst>
            <pc:docMk/>
            <pc:sldMk cId="3817347563" sldId="2134805932"/>
            <ac:spMk id="12" creationId="{4BF3E1B1-9A92-7B94-9DC2-64CB15F80404}"/>
          </ac:spMkLst>
        </pc:spChg>
        <pc:spChg chg="mod">
          <ac:chgData name="Laura Casadio" userId="66d3dc7e-795b-4a92-887c-7e990ee4a717" providerId="ADAL" clId="{A002E1BF-DA5B-40E8-8B58-22F68401CEFA}" dt="2025-02-04T09:39:38.401" v="86" actId="20577"/>
          <ac:spMkLst>
            <pc:docMk/>
            <pc:sldMk cId="3817347563" sldId="2134805932"/>
            <ac:spMk id="13" creationId="{9C83B014-365B-CE5F-61B1-D0323B12113D}"/>
          </ac:spMkLst>
        </pc:spChg>
        <pc:spChg chg="add mod">
          <ac:chgData name="Laura Casadio" userId="66d3dc7e-795b-4a92-887c-7e990ee4a717" providerId="ADAL" clId="{A002E1BF-DA5B-40E8-8B58-22F68401CEFA}" dt="2025-02-05T08:36:51.693" v="1702" actId="2711"/>
          <ac:spMkLst>
            <pc:docMk/>
            <pc:sldMk cId="3817347563" sldId="2134805932"/>
            <ac:spMk id="14" creationId="{2AE44A24-991A-D070-842C-955A4F314454}"/>
          </ac:spMkLst>
        </pc:spChg>
        <pc:spChg chg="add mod">
          <ac:chgData name="Laura Casadio" userId="66d3dc7e-795b-4a92-887c-7e990ee4a717" providerId="ADAL" clId="{A002E1BF-DA5B-40E8-8B58-22F68401CEFA}" dt="2025-02-05T08:36:51.693" v="1702" actId="2711"/>
          <ac:spMkLst>
            <pc:docMk/>
            <pc:sldMk cId="3817347563" sldId="2134805932"/>
            <ac:spMk id="15" creationId="{02EBBB62-9D6E-F276-4CD0-E54F2E7452A7}"/>
          </ac:spMkLst>
        </pc:spChg>
        <pc:spChg chg="add mod">
          <ac:chgData name="Laura Casadio" userId="66d3dc7e-795b-4a92-887c-7e990ee4a717" providerId="ADAL" clId="{A002E1BF-DA5B-40E8-8B58-22F68401CEFA}" dt="2025-02-05T08:36:51.693" v="1702" actId="2711"/>
          <ac:spMkLst>
            <pc:docMk/>
            <pc:sldMk cId="3817347563" sldId="2134805932"/>
            <ac:spMk id="16" creationId="{65F58A5C-6893-5830-6722-293DAA279400}"/>
          </ac:spMkLst>
        </pc:spChg>
        <pc:spChg chg="add mod">
          <ac:chgData name="Laura Casadio" userId="66d3dc7e-795b-4a92-887c-7e990ee4a717" providerId="ADAL" clId="{A002E1BF-DA5B-40E8-8B58-22F68401CEFA}" dt="2025-02-05T08:36:51.693" v="1702" actId="2711"/>
          <ac:spMkLst>
            <pc:docMk/>
            <pc:sldMk cId="3817347563" sldId="2134805932"/>
            <ac:spMk id="17" creationId="{DB10C92F-EF5F-7B44-15C6-9439F3675995}"/>
          </ac:spMkLst>
        </pc:spChg>
        <pc:spChg chg="mod">
          <ac:chgData name="Laura Casadio" userId="66d3dc7e-795b-4a92-887c-7e990ee4a717" providerId="ADAL" clId="{A002E1BF-DA5B-40E8-8B58-22F68401CEFA}" dt="2025-02-04T09:52:29.076" v="195" actId="403"/>
          <ac:spMkLst>
            <pc:docMk/>
            <pc:sldMk cId="3817347563" sldId="2134805932"/>
            <ac:spMk id="70" creationId="{806B8040-186A-DF35-242B-F6AD41CEFC9B}"/>
          </ac:spMkLst>
        </pc:spChg>
      </pc:sldChg>
      <pc:sldChg chg="del">
        <pc:chgData name="Laura Casadio" userId="66d3dc7e-795b-4a92-887c-7e990ee4a717" providerId="ADAL" clId="{A002E1BF-DA5B-40E8-8B58-22F68401CEFA}" dt="2025-02-04T09:41:12.108" v="96" actId="2696"/>
        <pc:sldMkLst>
          <pc:docMk/>
          <pc:sldMk cId="2172559528" sldId="2134805935"/>
        </pc:sldMkLst>
      </pc:sldChg>
      <pc:sldChg chg="addSp delSp modSp mod">
        <pc:chgData name="Laura Casadio" userId="66d3dc7e-795b-4a92-887c-7e990ee4a717" providerId="ADAL" clId="{A002E1BF-DA5B-40E8-8B58-22F68401CEFA}" dt="2025-02-05T08:37:22.166" v="1706" actId="2711"/>
        <pc:sldMkLst>
          <pc:docMk/>
          <pc:sldMk cId="3907843048" sldId="2134805937"/>
        </pc:sldMkLst>
        <pc:spChg chg="add mod">
          <ac:chgData name="Laura Casadio" userId="66d3dc7e-795b-4a92-887c-7e990ee4a717" providerId="ADAL" clId="{A002E1BF-DA5B-40E8-8B58-22F68401CEFA}" dt="2025-02-05T08:37:22.166" v="1706" actId="2711"/>
          <ac:spMkLst>
            <pc:docMk/>
            <pc:sldMk cId="3907843048" sldId="2134805937"/>
            <ac:spMk id="3" creationId="{D8CE0E9F-79AB-247D-E8B4-FC7B7CA2BAE2}"/>
          </ac:spMkLst>
        </pc:spChg>
        <pc:spChg chg="add mod">
          <ac:chgData name="Laura Casadio" userId="66d3dc7e-795b-4a92-887c-7e990ee4a717" providerId="ADAL" clId="{A002E1BF-DA5B-40E8-8B58-22F68401CEFA}" dt="2025-02-05T08:37:22.166" v="1706" actId="2711"/>
          <ac:spMkLst>
            <pc:docMk/>
            <pc:sldMk cId="3907843048" sldId="2134805937"/>
            <ac:spMk id="6" creationId="{C8D93D88-947E-2A24-E62D-5CF0AA007F20}"/>
          </ac:spMkLst>
        </pc:spChg>
        <pc:spChg chg="add mod">
          <ac:chgData name="Laura Casadio" userId="66d3dc7e-795b-4a92-887c-7e990ee4a717" providerId="ADAL" clId="{A002E1BF-DA5B-40E8-8B58-22F68401CEFA}" dt="2025-02-05T08:37:22.166" v="1706" actId="2711"/>
          <ac:spMkLst>
            <pc:docMk/>
            <pc:sldMk cId="3907843048" sldId="2134805937"/>
            <ac:spMk id="7" creationId="{E8F83FE1-6FE7-9ED4-F856-8E503BB0BD84}"/>
          </ac:spMkLst>
        </pc:spChg>
        <pc:spChg chg="add mod">
          <ac:chgData name="Laura Casadio" userId="66d3dc7e-795b-4a92-887c-7e990ee4a717" providerId="ADAL" clId="{A002E1BF-DA5B-40E8-8B58-22F68401CEFA}" dt="2025-02-05T08:37:22.166" v="1706" actId="2711"/>
          <ac:spMkLst>
            <pc:docMk/>
            <pc:sldMk cId="3907843048" sldId="2134805937"/>
            <ac:spMk id="8" creationId="{09E32BF5-8C35-337F-4716-838728528483}"/>
          </ac:spMkLst>
        </pc:spChg>
        <pc:spChg chg="add mod">
          <ac:chgData name="Laura Casadio" userId="66d3dc7e-795b-4a92-887c-7e990ee4a717" providerId="ADAL" clId="{A002E1BF-DA5B-40E8-8B58-22F68401CEFA}" dt="2025-02-05T08:37:22.166" v="1706" actId="2711"/>
          <ac:spMkLst>
            <pc:docMk/>
            <pc:sldMk cId="3907843048" sldId="2134805937"/>
            <ac:spMk id="9" creationId="{EB18AF9C-B3B8-520F-7500-E60AFB0862E9}"/>
          </ac:spMkLst>
        </pc:spChg>
        <pc:spChg chg="add mod">
          <ac:chgData name="Laura Casadio" userId="66d3dc7e-795b-4a92-887c-7e990ee4a717" providerId="ADAL" clId="{A002E1BF-DA5B-40E8-8B58-22F68401CEFA}" dt="2025-02-05T08:37:22.166" v="1706" actId="2711"/>
          <ac:spMkLst>
            <pc:docMk/>
            <pc:sldMk cId="3907843048" sldId="2134805937"/>
            <ac:spMk id="11" creationId="{41B41A84-D25E-23EA-5C52-A810058D7319}"/>
          </ac:spMkLst>
        </pc:spChg>
        <pc:spChg chg="mod">
          <ac:chgData name="Laura Casadio" userId="66d3dc7e-795b-4a92-887c-7e990ee4a717" providerId="ADAL" clId="{A002E1BF-DA5B-40E8-8B58-22F68401CEFA}" dt="2025-02-04T09:46:09.396" v="132" actId="20577"/>
          <ac:spMkLst>
            <pc:docMk/>
            <pc:sldMk cId="3907843048" sldId="2134805937"/>
            <ac:spMk id="59" creationId="{461BB04D-9EBC-2D02-A024-A27E6DB8E20A}"/>
          </ac:spMkLst>
        </pc:spChg>
        <pc:spChg chg="mod">
          <ac:chgData name="Laura Casadio" userId="66d3dc7e-795b-4a92-887c-7e990ee4a717" providerId="ADAL" clId="{A002E1BF-DA5B-40E8-8B58-22F68401CEFA}" dt="2025-02-04T09:52:54.602" v="198" actId="403"/>
          <ac:spMkLst>
            <pc:docMk/>
            <pc:sldMk cId="3907843048" sldId="2134805937"/>
            <ac:spMk id="70" creationId="{806B8040-186A-DF35-242B-F6AD41CEFC9B}"/>
          </ac:spMkLst>
        </pc:spChg>
      </pc:sldChg>
      <pc:sldChg chg="addSp delSp modSp mod ord modShow">
        <pc:chgData name="Laura Casadio" userId="66d3dc7e-795b-4a92-887c-7e990ee4a717" providerId="ADAL" clId="{A002E1BF-DA5B-40E8-8B58-22F68401CEFA}" dt="2025-02-07T12:29:06.379" v="1904" actId="1076"/>
        <pc:sldMkLst>
          <pc:docMk/>
          <pc:sldMk cId="4766551" sldId="2134805942"/>
        </pc:sldMkLst>
        <pc:spChg chg="mod">
          <ac:chgData name="Laura Casadio" userId="66d3dc7e-795b-4a92-887c-7e990ee4a717" providerId="ADAL" clId="{A002E1BF-DA5B-40E8-8B58-22F68401CEFA}" dt="2025-02-04T12:58:46.726" v="932" actId="20577"/>
          <ac:spMkLst>
            <pc:docMk/>
            <pc:sldMk cId="4766551" sldId="2134805942"/>
            <ac:spMk id="4" creationId="{49F7AEFC-1990-F011-D7DA-ED9DC825F8EF}"/>
          </ac:spMkLst>
        </pc:spChg>
        <pc:spChg chg="add mod">
          <ac:chgData name="Laura Casadio" userId="66d3dc7e-795b-4a92-887c-7e990ee4a717" providerId="ADAL" clId="{A002E1BF-DA5B-40E8-8B58-22F68401CEFA}" dt="2025-02-05T08:37:59.155" v="1710" actId="2711"/>
          <ac:spMkLst>
            <pc:docMk/>
            <pc:sldMk cId="4766551" sldId="2134805942"/>
            <ac:spMk id="12" creationId="{403C3A8B-EA44-9C3B-0BF3-5315B46254E6}"/>
          </ac:spMkLst>
        </pc:spChg>
        <pc:spChg chg="mod">
          <ac:chgData name="Laura Casadio" userId="66d3dc7e-795b-4a92-887c-7e990ee4a717" providerId="ADAL" clId="{A002E1BF-DA5B-40E8-8B58-22F68401CEFA}" dt="2025-02-04T12:58:36.822" v="928" actId="108"/>
          <ac:spMkLst>
            <pc:docMk/>
            <pc:sldMk cId="4766551" sldId="2134805942"/>
            <ac:spMk id="13" creationId="{9C83B014-365B-CE5F-61B1-D0323B12113D}"/>
          </ac:spMkLst>
        </pc:spChg>
        <pc:spChg chg="add mod">
          <ac:chgData name="Laura Casadio" userId="66d3dc7e-795b-4a92-887c-7e990ee4a717" providerId="ADAL" clId="{A002E1BF-DA5B-40E8-8B58-22F68401CEFA}" dt="2025-02-05T08:37:59.155" v="1710" actId="2711"/>
          <ac:spMkLst>
            <pc:docMk/>
            <pc:sldMk cId="4766551" sldId="2134805942"/>
            <ac:spMk id="14" creationId="{5B292175-1F80-CF6C-38ED-805C5E871E4F}"/>
          </ac:spMkLst>
        </pc:spChg>
        <pc:spChg chg="add mod">
          <ac:chgData name="Laura Casadio" userId="66d3dc7e-795b-4a92-887c-7e990ee4a717" providerId="ADAL" clId="{A002E1BF-DA5B-40E8-8B58-22F68401CEFA}" dt="2025-02-05T08:37:59.155" v="1710" actId="2711"/>
          <ac:spMkLst>
            <pc:docMk/>
            <pc:sldMk cId="4766551" sldId="2134805942"/>
            <ac:spMk id="15" creationId="{E16B71DE-335F-2FCB-4006-F19CCC2CD7CE}"/>
          </ac:spMkLst>
        </pc:spChg>
        <pc:spChg chg="add mod">
          <ac:chgData name="Laura Casadio" userId="66d3dc7e-795b-4a92-887c-7e990ee4a717" providerId="ADAL" clId="{A002E1BF-DA5B-40E8-8B58-22F68401CEFA}" dt="2025-02-04T14:53:49.765" v="1623" actId="20577"/>
          <ac:spMkLst>
            <pc:docMk/>
            <pc:sldMk cId="4766551" sldId="2134805942"/>
            <ac:spMk id="22" creationId="{CCF1893B-3A50-D562-F2A4-82EEDF921474}"/>
          </ac:spMkLst>
        </pc:spChg>
        <pc:spChg chg="add mod">
          <ac:chgData name="Laura Casadio" userId="66d3dc7e-795b-4a92-887c-7e990ee4a717" providerId="ADAL" clId="{A002E1BF-DA5B-40E8-8B58-22F68401CEFA}" dt="2025-02-05T08:37:59.155" v="1710" actId="2711"/>
          <ac:spMkLst>
            <pc:docMk/>
            <pc:sldMk cId="4766551" sldId="2134805942"/>
            <ac:spMk id="32" creationId="{EF0C2937-2150-9AAE-7D87-FEB851E62806}"/>
          </ac:spMkLst>
        </pc:spChg>
        <pc:spChg chg="add mod">
          <ac:chgData name="Laura Casadio" userId="66d3dc7e-795b-4a92-887c-7e990ee4a717" providerId="ADAL" clId="{A002E1BF-DA5B-40E8-8B58-22F68401CEFA}" dt="2025-02-05T08:37:59.155" v="1710" actId="2711"/>
          <ac:spMkLst>
            <pc:docMk/>
            <pc:sldMk cId="4766551" sldId="2134805942"/>
            <ac:spMk id="33" creationId="{2A1B07B1-ABC6-B7FD-8456-F4455903D623}"/>
          </ac:spMkLst>
        </pc:spChg>
        <pc:spChg chg="mod">
          <ac:chgData name="Laura Casadio" userId="66d3dc7e-795b-4a92-887c-7e990ee4a717" providerId="ADAL" clId="{A002E1BF-DA5B-40E8-8B58-22F68401CEFA}" dt="2025-02-04T12:54:52.889" v="886" actId="403"/>
          <ac:spMkLst>
            <pc:docMk/>
            <pc:sldMk cId="4766551" sldId="2134805942"/>
            <ac:spMk id="70" creationId="{806B8040-186A-DF35-242B-F6AD41CEFC9B}"/>
          </ac:spMkLst>
        </pc:spChg>
        <pc:picChg chg="add mod">
          <ac:chgData name="Laura Casadio" userId="66d3dc7e-795b-4a92-887c-7e990ee4a717" providerId="ADAL" clId="{A002E1BF-DA5B-40E8-8B58-22F68401CEFA}" dt="2025-02-07T12:29:06.379" v="1904" actId="1076"/>
          <ac:picMkLst>
            <pc:docMk/>
            <pc:sldMk cId="4766551" sldId="2134805942"/>
            <ac:picMk id="11" creationId="{6FBB9804-557F-9EE8-7B9A-BAC5AB27E164}"/>
          </ac:picMkLst>
        </pc:picChg>
        <pc:cxnChg chg="add mod">
          <ac:chgData name="Laura Casadio" userId="66d3dc7e-795b-4a92-887c-7e990ee4a717" providerId="ADAL" clId="{A002E1BF-DA5B-40E8-8B58-22F68401CEFA}" dt="2025-02-05T13:33:02.717" v="1818" actId="1582"/>
          <ac:cxnSpMkLst>
            <pc:docMk/>
            <pc:sldMk cId="4766551" sldId="2134805942"/>
            <ac:cxnSpMk id="23" creationId="{556D52A0-7871-5A14-95DA-2CAD76A7198A}"/>
          </ac:cxnSpMkLst>
        </pc:cxnChg>
      </pc:sldChg>
      <pc:sldChg chg="del">
        <pc:chgData name="Laura Casadio" userId="66d3dc7e-795b-4a92-887c-7e990ee4a717" providerId="ADAL" clId="{A002E1BF-DA5B-40E8-8B58-22F68401CEFA}" dt="2025-02-04T09:48:13.810" v="157" actId="2696"/>
        <pc:sldMkLst>
          <pc:docMk/>
          <pc:sldMk cId="4027940968" sldId="2134805944"/>
        </pc:sldMkLst>
      </pc:sldChg>
      <pc:sldChg chg="del">
        <pc:chgData name="Laura Casadio" userId="66d3dc7e-795b-4a92-887c-7e990ee4a717" providerId="ADAL" clId="{A002E1BF-DA5B-40E8-8B58-22F68401CEFA}" dt="2025-02-04T09:48:16.213" v="158" actId="2696"/>
        <pc:sldMkLst>
          <pc:docMk/>
          <pc:sldMk cId="924574315" sldId="2134805945"/>
        </pc:sldMkLst>
      </pc:sldChg>
      <pc:sldChg chg="addSp modSp mod">
        <pc:chgData name="Laura Casadio" userId="66d3dc7e-795b-4a92-887c-7e990ee4a717" providerId="ADAL" clId="{A002E1BF-DA5B-40E8-8B58-22F68401CEFA}" dt="2025-02-10T17:42:52.170" v="2676" actId="20577"/>
        <pc:sldMkLst>
          <pc:docMk/>
          <pc:sldMk cId="4166116178" sldId="2134805946"/>
        </pc:sldMkLst>
        <pc:spChg chg="add mod">
          <ac:chgData name="Laura Casadio" userId="66d3dc7e-795b-4a92-887c-7e990ee4a717" providerId="ADAL" clId="{A002E1BF-DA5B-40E8-8B58-22F68401CEFA}" dt="2025-02-05T08:39:05.240" v="1718" actId="2711"/>
          <ac:spMkLst>
            <pc:docMk/>
            <pc:sldMk cId="4166116178" sldId="2134805946"/>
            <ac:spMk id="6" creationId="{89559E3A-48F9-5A61-43DB-FDF6C406D47B}"/>
          </ac:spMkLst>
        </pc:spChg>
        <pc:spChg chg="add mod">
          <ac:chgData name="Laura Casadio" userId="66d3dc7e-795b-4a92-887c-7e990ee4a717" providerId="ADAL" clId="{A002E1BF-DA5B-40E8-8B58-22F68401CEFA}" dt="2025-02-05T08:39:05.240" v="1718" actId="2711"/>
          <ac:spMkLst>
            <pc:docMk/>
            <pc:sldMk cId="4166116178" sldId="2134805946"/>
            <ac:spMk id="7" creationId="{92EB8E33-203C-D49E-40DD-AB5F6E0E9743}"/>
          </ac:spMkLst>
        </pc:spChg>
        <pc:spChg chg="add mod">
          <ac:chgData name="Laura Casadio" userId="66d3dc7e-795b-4a92-887c-7e990ee4a717" providerId="ADAL" clId="{A002E1BF-DA5B-40E8-8B58-22F68401CEFA}" dt="2025-02-05T08:39:05.240" v="1718" actId="2711"/>
          <ac:spMkLst>
            <pc:docMk/>
            <pc:sldMk cId="4166116178" sldId="2134805946"/>
            <ac:spMk id="8" creationId="{8419AFA7-5685-7E4F-DCFD-3DE4C873D585}"/>
          </ac:spMkLst>
        </pc:spChg>
        <pc:spChg chg="add mod">
          <ac:chgData name="Laura Casadio" userId="66d3dc7e-795b-4a92-887c-7e990ee4a717" providerId="ADAL" clId="{A002E1BF-DA5B-40E8-8B58-22F68401CEFA}" dt="2025-02-05T08:39:05.240" v="1718" actId="2711"/>
          <ac:spMkLst>
            <pc:docMk/>
            <pc:sldMk cId="4166116178" sldId="2134805946"/>
            <ac:spMk id="9" creationId="{74B5F310-6700-B38B-939A-8F3AA5DA4D06}"/>
          </ac:spMkLst>
        </pc:spChg>
        <pc:spChg chg="mod">
          <ac:chgData name="Laura Casadio" userId="66d3dc7e-795b-4a92-887c-7e990ee4a717" providerId="ADAL" clId="{A002E1BF-DA5B-40E8-8B58-22F68401CEFA}" dt="2025-02-04T14:11:22.101" v="1419" actId="20577"/>
          <ac:spMkLst>
            <pc:docMk/>
            <pc:sldMk cId="4166116178" sldId="2134805946"/>
            <ac:spMk id="15" creationId="{807CE7CA-85DB-3F11-CD82-ABE9E1422532}"/>
          </ac:spMkLst>
        </pc:spChg>
        <pc:spChg chg="mod">
          <ac:chgData name="Laura Casadio" userId="66d3dc7e-795b-4a92-887c-7e990ee4a717" providerId="ADAL" clId="{A002E1BF-DA5B-40E8-8B58-22F68401CEFA}" dt="2025-02-10T17:42:52.170" v="2676" actId="20577"/>
          <ac:spMkLst>
            <pc:docMk/>
            <pc:sldMk cId="4166116178" sldId="2134805946"/>
            <ac:spMk id="70" creationId="{806B8040-186A-DF35-242B-F6AD41CEFC9B}"/>
          </ac:spMkLst>
        </pc:spChg>
      </pc:sldChg>
      <pc:sldChg chg="addSp modSp mod">
        <pc:chgData name="Laura Casadio" userId="66d3dc7e-795b-4a92-887c-7e990ee4a717" providerId="ADAL" clId="{A002E1BF-DA5B-40E8-8B58-22F68401CEFA}" dt="2025-02-05T08:39:32.872" v="1721" actId="2711"/>
        <pc:sldMkLst>
          <pc:docMk/>
          <pc:sldMk cId="1802627569" sldId="2134805949"/>
        </pc:sldMkLst>
        <pc:spChg chg="add mod">
          <ac:chgData name="Laura Casadio" userId="66d3dc7e-795b-4a92-887c-7e990ee4a717" providerId="ADAL" clId="{A002E1BF-DA5B-40E8-8B58-22F68401CEFA}" dt="2025-02-05T08:39:32.872" v="1721" actId="2711"/>
          <ac:spMkLst>
            <pc:docMk/>
            <pc:sldMk cId="1802627569" sldId="2134805949"/>
            <ac:spMk id="3" creationId="{ED79FEBC-B96C-4B24-A145-EFC26FEB11CD}"/>
          </ac:spMkLst>
        </pc:spChg>
        <pc:spChg chg="add mod">
          <ac:chgData name="Laura Casadio" userId="66d3dc7e-795b-4a92-887c-7e990ee4a717" providerId="ADAL" clId="{A002E1BF-DA5B-40E8-8B58-22F68401CEFA}" dt="2025-02-05T08:39:32.872" v="1721" actId="2711"/>
          <ac:spMkLst>
            <pc:docMk/>
            <pc:sldMk cId="1802627569" sldId="2134805949"/>
            <ac:spMk id="5" creationId="{0BCF57F0-689B-7F46-6CB7-B65073E5D6AD}"/>
          </ac:spMkLst>
        </pc:spChg>
        <pc:spChg chg="add mod">
          <ac:chgData name="Laura Casadio" userId="66d3dc7e-795b-4a92-887c-7e990ee4a717" providerId="ADAL" clId="{A002E1BF-DA5B-40E8-8B58-22F68401CEFA}" dt="2025-02-05T08:39:32.872" v="1721" actId="2711"/>
          <ac:spMkLst>
            <pc:docMk/>
            <pc:sldMk cId="1802627569" sldId="2134805949"/>
            <ac:spMk id="8" creationId="{C48ACF64-BAD9-B686-7D02-DDF3ABD62BE1}"/>
          </ac:spMkLst>
        </pc:spChg>
        <pc:spChg chg="mod">
          <ac:chgData name="Laura Casadio" userId="66d3dc7e-795b-4a92-887c-7e990ee4a717" providerId="ADAL" clId="{A002E1BF-DA5B-40E8-8B58-22F68401CEFA}" dt="2025-02-04T11:53:37.587" v="293" actId="108"/>
          <ac:spMkLst>
            <pc:docMk/>
            <pc:sldMk cId="1802627569" sldId="2134805949"/>
            <ac:spMk id="9" creationId="{9994BE79-D2E0-7843-0C00-0CA2F19A5A70}"/>
          </ac:spMkLst>
        </pc:spChg>
        <pc:spChg chg="add mod">
          <ac:chgData name="Laura Casadio" userId="66d3dc7e-795b-4a92-887c-7e990ee4a717" providerId="ADAL" clId="{A002E1BF-DA5B-40E8-8B58-22F68401CEFA}" dt="2025-02-05T08:39:32.872" v="1721" actId="2711"/>
          <ac:spMkLst>
            <pc:docMk/>
            <pc:sldMk cId="1802627569" sldId="2134805949"/>
            <ac:spMk id="10" creationId="{357B088F-8E33-C7B0-609B-26F61DD28F01}"/>
          </ac:spMkLst>
        </pc:spChg>
        <pc:spChg chg="add mod">
          <ac:chgData name="Laura Casadio" userId="66d3dc7e-795b-4a92-887c-7e990ee4a717" providerId="ADAL" clId="{A002E1BF-DA5B-40E8-8B58-22F68401CEFA}" dt="2025-02-05T08:39:32.872" v="1721" actId="2711"/>
          <ac:spMkLst>
            <pc:docMk/>
            <pc:sldMk cId="1802627569" sldId="2134805949"/>
            <ac:spMk id="11" creationId="{A67FC90F-ED34-AB1B-7437-A8153FA743D9}"/>
          </ac:spMkLst>
        </pc:spChg>
        <pc:spChg chg="add mod">
          <ac:chgData name="Laura Casadio" userId="66d3dc7e-795b-4a92-887c-7e990ee4a717" providerId="ADAL" clId="{A002E1BF-DA5B-40E8-8B58-22F68401CEFA}" dt="2025-02-05T08:39:32.872" v="1721" actId="2711"/>
          <ac:spMkLst>
            <pc:docMk/>
            <pc:sldMk cId="1802627569" sldId="2134805949"/>
            <ac:spMk id="12" creationId="{676D3714-1A48-50C7-2705-32F6C2045049}"/>
          </ac:spMkLst>
        </pc:spChg>
        <pc:spChg chg="add mod">
          <ac:chgData name="Laura Casadio" userId="66d3dc7e-795b-4a92-887c-7e990ee4a717" providerId="ADAL" clId="{A002E1BF-DA5B-40E8-8B58-22F68401CEFA}" dt="2025-02-05T08:39:32.872" v="1721" actId="2711"/>
          <ac:spMkLst>
            <pc:docMk/>
            <pc:sldMk cId="1802627569" sldId="2134805949"/>
            <ac:spMk id="13" creationId="{EDDD5A82-CF9B-50A3-0A8B-31320414D4AA}"/>
          </ac:spMkLst>
        </pc:spChg>
        <pc:spChg chg="add mod">
          <ac:chgData name="Laura Casadio" userId="66d3dc7e-795b-4a92-887c-7e990ee4a717" providerId="ADAL" clId="{A002E1BF-DA5B-40E8-8B58-22F68401CEFA}" dt="2025-02-05T08:39:32.872" v="1721" actId="2711"/>
          <ac:spMkLst>
            <pc:docMk/>
            <pc:sldMk cId="1802627569" sldId="2134805949"/>
            <ac:spMk id="14" creationId="{458A86BF-5A9D-EEB0-F68C-D165C3EE01FE}"/>
          </ac:spMkLst>
        </pc:spChg>
        <pc:spChg chg="add mod">
          <ac:chgData name="Laura Casadio" userId="66d3dc7e-795b-4a92-887c-7e990ee4a717" providerId="ADAL" clId="{A002E1BF-DA5B-40E8-8B58-22F68401CEFA}" dt="2025-02-05T08:39:32.872" v="1721" actId="2711"/>
          <ac:spMkLst>
            <pc:docMk/>
            <pc:sldMk cId="1802627569" sldId="2134805949"/>
            <ac:spMk id="15" creationId="{88973DAB-0370-5FC8-5047-B78767AEBEA3}"/>
          </ac:spMkLst>
        </pc:spChg>
        <pc:spChg chg="add mod">
          <ac:chgData name="Laura Casadio" userId="66d3dc7e-795b-4a92-887c-7e990ee4a717" providerId="ADAL" clId="{A002E1BF-DA5B-40E8-8B58-22F68401CEFA}" dt="2025-02-05T08:39:32.872" v="1721" actId="2711"/>
          <ac:spMkLst>
            <pc:docMk/>
            <pc:sldMk cId="1802627569" sldId="2134805949"/>
            <ac:spMk id="16" creationId="{352800C5-9EA5-E03C-C853-0DC9B0AD9C40}"/>
          </ac:spMkLst>
        </pc:spChg>
        <pc:spChg chg="mod">
          <ac:chgData name="Laura Casadio" userId="66d3dc7e-795b-4a92-887c-7e990ee4a717" providerId="ADAL" clId="{A002E1BF-DA5B-40E8-8B58-22F68401CEFA}" dt="2025-02-04T11:54:02.151" v="300" actId="403"/>
          <ac:spMkLst>
            <pc:docMk/>
            <pc:sldMk cId="1802627569" sldId="2134805949"/>
            <ac:spMk id="70" creationId="{806B8040-186A-DF35-242B-F6AD41CEFC9B}"/>
          </ac:spMkLst>
        </pc:spChg>
        <pc:spChg chg="mod">
          <ac:chgData name="Laura Casadio" userId="66d3dc7e-795b-4a92-887c-7e990ee4a717" providerId="ADAL" clId="{A002E1BF-DA5B-40E8-8B58-22F68401CEFA}" dt="2025-02-04T11:54:07.880" v="301" actId="403"/>
          <ac:spMkLst>
            <pc:docMk/>
            <pc:sldMk cId="1802627569" sldId="2134805949"/>
            <ac:spMk id="71" creationId="{2AD15FC7-13C1-7EAF-160A-6AFB645E257B}"/>
          </ac:spMkLst>
        </pc:spChg>
      </pc:sldChg>
      <pc:sldChg chg="addSp delSp modSp add del mod">
        <pc:chgData name="Laura Casadio" userId="66d3dc7e-795b-4a92-887c-7e990ee4a717" providerId="ADAL" clId="{A002E1BF-DA5B-40E8-8B58-22F68401CEFA}" dt="2025-02-04T12:04:38.415" v="375" actId="2696"/>
        <pc:sldMkLst>
          <pc:docMk/>
          <pc:sldMk cId="1234410767" sldId="2134805951"/>
        </pc:sldMkLst>
      </pc:sldChg>
      <pc:sldChg chg="del">
        <pc:chgData name="Laura Casadio" userId="66d3dc7e-795b-4a92-887c-7e990ee4a717" providerId="ADAL" clId="{A002E1BF-DA5B-40E8-8B58-22F68401CEFA}" dt="2025-02-04T12:06:09.903" v="393" actId="2696"/>
        <pc:sldMkLst>
          <pc:docMk/>
          <pc:sldMk cId="327601946" sldId="2134805953"/>
        </pc:sldMkLst>
      </pc:sldChg>
      <pc:sldChg chg="addSp delSp modSp mod">
        <pc:chgData name="Laura Casadio" userId="66d3dc7e-795b-4a92-887c-7e990ee4a717" providerId="ADAL" clId="{A002E1BF-DA5B-40E8-8B58-22F68401CEFA}" dt="2025-02-05T08:40:19.122" v="1727" actId="2711"/>
        <pc:sldMkLst>
          <pc:docMk/>
          <pc:sldMk cId="1883618646" sldId="2134805954"/>
        </pc:sldMkLst>
        <pc:spChg chg="add mod">
          <ac:chgData name="Laura Casadio" userId="66d3dc7e-795b-4a92-887c-7e990ee4a717" providerId="ADAL" clId="{A002E1BF-DA5B-40E8-8B58-22F68401CEFA}" dt="2025-02-05T08:40:19.122" v="1727" actId="2711"/>
          <ac:spMkLst>
            <pc:docMk/>
            <pc:sldMk cId="1883618646" sldId="2134805954"/>
            <ac:spMk id="4" creationId="{F2168652-6EC2-84CF-5724-4A32080F15F6}"/>
          </ac:spMkLst>
        </pc:spChg>
        <pc:spChg chg="add mod">
          <ac:chgData name="Laura Casadio" userId="66d3dc7e-795b-4a92-887c-7e990ee4a717" providerId="ADAL" clId="{A002E1BF-DA5B-40E8-8B58-22F68401CEFA}" dt="2025-02-05T08:40:19.122" v="1727" actId="2711"/>
          <ac:spMkLst>
            <pc:docMk/>
            <pc:sldMk cId="1883618646" sldId="2134805954"/>
            <ac:spMk id="7" creationId="{E5025AA0-0096-AEA7-E0C0-AC882788B998}"/>
          </ac:spMkLst>
        </pc:spChg>
        <pc:spChg chg="mod">
          <ac:chgData name="Laura Casadio" userId="66d3dc7e-795b-4a92-887c-7e990ee4a717" providerId="ADAL" clId="{A002E1BF-DA5B-40E8-8B58-22F68401CEFA}" dt="2025-02-04T12:06:58.650" v="419" actId="108"/>
          <ac:spMkLst>
            <pc:docMk/>
            <pc:sldMk cId="1883618646" sldId="2134805954"/>
            <ac:spMk id="8" creationId="{0121463F-5A3D-BEA4-034B-BAD1E6F1E330}"/>
          </ac:spMkLst>
        </pc:spChg>
        <pc:spChg chg="add mod">
          <ac:chgData name="Laura Casadio" userId="66d3dc7e-795b-4a92-887c-7e990ee4a717" providerId="ADAL" clId="{A002E1BF-DA5B-40E8-8B58-22F68401CEFA}" dt="2025-02-05T08:40:19.122" v="1727" actId="2711"/>
          <ac:spMkLst>
            <pc:docMk/>
            <pc:sldMk cId="1883618646" sldId="2134805954"/>
            <ac:spMk id="9" creationId="{C1594D49-B12F-FB6A-E668-1EEFC811FF3E}"/>
          </ac:spMkLst>
        </pc:spChg>
        <pc:spChg chg="add mod">
          <ac:chgData name="Laura Casadio" userId="66d3dc7e-795b-4a92-887c-7e990ee4a717" providerId="ADAL" clId="{A002E1BF-DA5B-40E8-8B58-22F68401CEFA}" dt="2025-02-05T08:40:19.122" v="1727" actId="2711"/>
          <ac:spMkLst>
            <pc:docMk/>
            <pc:sldMk cId="1883618646" sldId="2134805954"/>
            <ac:spMk id="11" creationId="{C43A7E09-E19F-C91E-BFED-7D7011F97F9E}"/>
          </ac:spMkLst>
        </pc:spChg>
        <pc:spChg chg="add mod">
          <ac:chgData name="Laura Casadio" userId="66d3dc7e-795b-4a92-887c-7e990ee4a717" providerId="ADAL" clId="{A002E1BF-DA5B-40E8-8B58-22F68401CEFA}" dt="2025-02-05T08:40:19.122" v="1727" actId="2711"/>
          <ac:spMkLst>
            <pc:docMk/>
            <pc:sldMk cId="1883618646" sldId="2134805954"/>
            <ac:spMk id="12" creationId="{044ADC9A-BB62-458E-D23A-ABD8EEDC45E2}"/>
          </ac:spMkLst>
        </pc:spChg>
        <pc:spChg chg="add mod">
          <ac:chgData name="Laura Casadio" userId="66d3dc7e-795b-4a92-887c-7e990ee4a717" providerId="ADAL" clId="{A002E1BF-DA5B-40E8-8B58-22F68401CEFA}" dt="2025-02-05T08:40:19.122" v="1727" actId="2711"/>
          <ac:spMkLst>
            <pc:docMk/>
            <pc:sldMk cId="1883618646" sldId="2134805954"/>
            <ac:spMk id="13" creationId="{5F7B4BB8-79DD-EB14-7B27-1196210563D7}"/>
          </ac:spMkLst>
        </pc:spChg>
        <pc:spChg chg="mod">
          <ac:chgData name="Laura Casadio" userId="66d3dc7e-795b-4a92-887c-7e990ee4a717" providerId="ADAL" clId="{A002E1BF-DA5B-40E8-8B58-22F68401CEFA}" dt="2025-02-04T12:07:19.966" v="423" actId="20577"/>
          <ac:spMkLst>
            <pc:docMk/>
            <pc:sldMk cId="1883618646" sldId="2134805954"/>
            <ac:spMk id="71" creationId="{2AD15FC7-13C1-7EAF-160A-6AFB645E257B}"/>
          </ac:spMkLst>
        </pc:spChg>
      </pc:sldChg>
      <pc:sldChg chg="addSp delSp modSp mod">
        <pc:chgData name="Laura Casadio" userId="66d3dc7e-795b-4a92-887c-7e990ee4a717" providerId="ADAL" clId="{A002E1BF-DA5B-40E8-8B58-22F68401CEFA}" dt="2025-02-10T17:39:56.915" v="2587" actId="20577"/>
        <pc:sldMkLst>
          <pc:docMk/>
          <pc:sldMk cId="3432998705" sldId="2134805960"/>
        </pc:sldMkLst>
        <pc:spChg chg="mod">
          <ac:chgData name="Laura Casadio" userId="66d3dc7e-795b-4a92-887c-7e990ee4a717" providerId="ADAL" clId="{A002E1BF-DA5B-40E8-8B58-22F68401CEFA}" dt="2025-02-10T17:39:56.915" v="2587" actId="20577"/>
          <ac:spMkLst>
            <pc:docMk/>
            <pc:sldMk cId="3432998705" sldId="2134805960"/>
            <ac:spMk id="4" creationId="{3BAFC924-A612-207D-A152-A77541CBE872}"/>
          </ac:spMkLst>
        </pc:spChg>
        <pc:spChg chg="add mod">
          <ac:chgData name="Laura Casadio" userId="66d3dc7e-795b-4a92-887c-7e990ee4a717" providerId="ADAL" clId="{A002E1BF-DA5B-40E8-8B58-22F68401CEFA}" dt="2025-02-05T08:41:53.394" v="1741" actId="2711"/>
          <ac:spMkLst>
            <pc:docMk/>
            <pc:sldMk cId="3432998705" sldId="2134805960"/>
            <ac:spMk id="7" creationId="{1B6E7B55-6D7F-C714-27A3-A9D509F67A50}"/>
          </ac:spMkLst>
        </pc:spChg>
        <pc:spChg chg="add mod">
          <ac:chgData name="Laura Casadio" userId="66d3dc7e-795b-4a92-887c-7e990ee4a717" providerId="ADAL" clId="{A002E1BF-DA5B-40E8-8B58-22F68401CEFA}" dt="2025-02-05T08:41:53.394" v="1741" actId="2711"/>
          <ac:spMkLst>
            <pc:docMk/>
            <pc:sldMk cId="3432998705" sldId="2134805960"/>
            <ac:spMk id="9" creationId="{1A31205D-EFC2-C2D8-62AD-81ABF79DD233}"/>
          </ac:spMkLst>
        </pc:spChg>
        <pc:spChg chg="add mod">
          <ac:chgData name="Laura Casadio" userId="66d3dc7e-795b-4a92-887c-7e990ee4a717" providerId="ADAL" clId="{A002E1BF-DA5B-40E8-8B58-22F68401CEFA}" dt="2025-02-05T08:41:53.394" v="1741" actId="2711"/>
          <ac:spMkLst>
            <pc:docMk/>
            <pc:sldMk cId="3432998705" sldId="2134805960"/>
            <ac:spMk id="10" creationId="{F3E8258D-BBA1-4FF1-8821-7BC5EFF53184}"/>
          </ac:spMkLst>
        </pc:spChg>
        <pc:spChg chg="add mod">
          <ac:chgData name="Laura Casadio" userId="66d3dc7e-795b-4a92-887c-7e990ee4a717" providerId="ADAL" clId="{A002E1BF-DA5B-40E8-8B58-22F68401CEFA}" dt="2025-02-05T08:41:53.394" v="1741" actId="2711"/>
          <ac:spMkLst>
            <pc:docMk/>
            <pc:sldMk cId="3432998705" sldId="2134805960"/>
            <ac:spMk id="11" creationId="{3F602D60-B41E-DFB4-1BEB-D0DAA6200E0E}"/>
          </ac:spMkLst>
        </pc:spChg>
        <pc:spChg chg="add mod">
          <ac:chgData name="Laura Casadio" userId="66d3dc7e-795b-4a92-887c-7e990ee4a717" providerId="ADAL" clId="{A002E1BF-DA5B-40E8-8B58-22F68401CEFA}" dt="2025-02-05T08:41:53.394" v="1741" actId="2711"/>
          <ac:spMkLst>
            <pc:docMk/>
            <pc:sldMk cId="3432998705" sldId="2134805960"/>
            <ac:spMk id="12" creationId="{614053B4-3CF1-3F48-38B8-F2EA433BC7D1}"/>
          </ac:spMkLst>
        </pc:spChg>
        <pc:spChg chg="mod">
          <ac:chgData name="Laura Casadio" userId="66d3dc7e-795b-4a92-887c-7e990ee4a717" providerId="ADAL" clId="{A002E1BF-DA5B-40E8-8B58-22F68401CEFA}" dt="2025-02-04T12:36:16.904" v="651" actId="20577"/>
          <ac:spMkLst>
            <pc:docMk/>
            <pc:sldMk cId="3432998705" sldId="2134805960"/>
            <ac:spMk id="13" creationId="{9C83B014-365B-CE5F-61B1-D0323B12113D}"/>
          </ac:spMkLst>
        </pc:spChg>
        <pc:spChg chg="add mod">
          <ac:chgData name="Laura Casadio" userId="66d3dc7e-795b-4a92-887c-7e990ee4a717" providerId="ADAL" clId="{A002E1BF-DA5B-40E8-8B58-22F68401CEFA}" dt="2025-02-05T08:41:53.394" v="1741" actId="2711"/>
          <ac:spMkLst>
            <pc:docMk/>
            <pc:sldMk cId="3432998705" sldId="2134805960"/>
            <ac:spMk id="14" creationId="{9EF0CDD1-9434-E590-5390-A4026AD3C145}"/>
          </ac:spMkLst>
        </pc:spChg>
        <pc:spChg chg="mod">
          <ac:chgData name="Laura Casadio" userId="66d3dc7e-795b-4a92-887c-7e990ee4a717" providerId="ADAL" clId="{A002E1BF-DA5B-40E8-8B58-22F68401CEFA}" dt="2025-02-04T12:36:30.791" v="654"/>
          <ac:spMkLst>
            <pc:docMk/>
            <pc:sldMk cId="3432998705" sldId="2134805960"/>
            <ac:spMk id="70" creationId="{806B8040-186A-DF35-242B-F6AD41CEFC9B}"/>
          </ac:spMkLst>
        </pc:spChg>
      </pc:sldChg>
      <pc:sldChg chg="addSp delSp modSp mod">
        <pc:chgData name="Laura Casadio" userId="66d3dc7e-795b-4a92-887c-7e990ee4a717" providerId="ADAL" clId="{A002E1BF-DA5B-40E8-8B58-22F68401CEFA}" dt="2025-02-05T08:42:22.220" v="1742" actId="2711"/>
        <pc:sldMkLst>
          <pc:docMk/>
          <pc:sldMk cId="334095102" sldId="2134805962"/>
        </pc:sldMkLst>
        <pc:spChg chg="mod">
          <ac:chgData name="Laura Casadio" userId="66d3dc7e-795b-4a92-887c-7e990ee4a717" providerId="ADAL" clId="{A002E1BF-DA5B-40E8-8B58-22F68401CEFA}" dt="2025-02-04T12:37:11.095" v="665" actId="20577"/>
          <ac:spMkLst>
            <pc:docMk/>
            <pc:sldMk cId="334095102" sldId="2134805962"/>
            <ac:spMk id="13" creationId="{9C83B014-365B-CE5F-61B1-D0323B12113D}"/>
          </ac:spMkLst>
        </pc:spChg>
        <pc:spChg chg="add mod">
          <ac:chgData name="Laura Casadio" userId="66d3dc7e-795b-4a92-887c-7e990ee4a717" providerId="ADAL" clId="{A002E1BF-DA5B-40E8-8B58-22F68401CEFA}" dt="2025-02-05T08:42:22.220" v="1742" actId="2711"/>
          <ac:spMkLst>
            <pc:docMk/>
            <pc:sldMk cId="334095102" sldId="2134805962"/>
            <ac:spMk id="14" creationId="{47C04586-0C2B-DA28-87F6-7B142DECEE4D}"/>
          </ac:spMkLst>
        </pc:spChg>
        <pc:spChg chg="add mod">
          <ac:chgData name="Laura Casadio" userId="66d3dc7e-795b-4a92-887c-7e990ee4a717" providerId="ADAL" clId="{A002E1BF-DA5B-40E8-8B58-22F68401CEFA}" dt="2025-02-05T08:42:22.220" v="1742" actId="2711"/>
          <ac:spMkLst>
            <pc:docMk/>
            <pc:sldMk cId="334095102" sldId="2134805962"/>
            <ac:spMk id="15" creationId="{4FB2DDEA-FE25-B4E0-FC1C-D819719A06DA}"/>
          </ac:spMkLst>
        </pc:spChg>
        <pc:spChg chg="add mod">
          <ac:chgData name="Laura Casadio" userId="66d3dc7e-795b-4a92-887c-7e990ee4a717" providerId="ADAL" clId="{A002E1BF-DA5B-40E8-8B58-22F68401CEFA}" dt="2025-02-05T08:42:22.220" v="1742" actId="2711"/>
          <ac:spMkLst>
            <pc:docMk/>
            <pc:sldMk cId="334095102" sldId="2134805962"/>
            <ac:spMk id="16" creationId="{9142638C-C16C-43BC-1104-335600E3D220}"/>
          </ac:spMkLst>
        </pc:spChg>
        <pc:spChg chg="add mod">
          <ac:chgData name="Laura Casadio" userId="66d3dc7e-795b-4a92-887c-7e990ee4a717" providerId="ADAL" clId="{A002E1BF-DA5B-40E8-8B58-22F68401CEFA}" dt="2025-02-05T08:42:22.220" v="1742" actId="2711"/>
          <ac:spMkLst>
            <pc:docMk/>
            <pc:sldMk cId="334095102" sldId="2134805962"/>
            <ac:spMk id="17" creationId="{275CE400-FC1E-DF6E-DEC3-0027EEB1D649}"/>
          </ac:spMkLst>
        </pc:spChg>
        <pc:spChg chg="add mod">
          <ac:chgData name="Laura Casadio" userId="66d3dc7e-795b-4a92-887c-7e990ee4a717" providerId="ADAL" clId="{A002E1BF-DA5B-40E8-8B58-22F68401CEFA}" dt="2025-02-05T08:42:22.220" v="1742" actId="2711"/>
          <ac:spMkLst>
            <pc:docMk/>
            <pc:sldMk cId="334095102" sldId="2134805962"/>
            <ac:spMk id="18" creationId="{6C970711-6A3D-8DF7-D6F2-0511083DF266}"/>
          </ac:spMkLst>
        </pc:spChg>
        <pc:spChg chg="mod">
          <ac:chgData name="Laura Casadio" userId="66d3dc7e-795b-4a92-887c-7e990ee4a717" providerId="ADAL" clId="{A002E1BF-DA5B-40E8-8B58-22F68401CEFA}" dt="2025-02-04T12:39:41.722" v="689" actId="403"/>
          <ac:spMkLst>
            <pc:docMk/>
            <pc:sldMk cId="334095102" sldId="2134805962"/>
            <ac:spMk id="70" creationId="{806B8040-186A-DF35-242B-F6AD41CEFC9B}"/>
          </ac:spMkLst>
        </pc:spChg>
        <pc:picChg chg="add mod">
          <ac:chgData name="Laura Casadio" userId="66d3dc7e-795b-4a92-887c-7e990ee4a717" providerId="ADAL" clId="{A002E1BF-DA5B-40E8-8B58-22F68401CEFA}" dt="2025-02-04T12:39:25.137" v="687" actId="1076"/>
          <ac:picMkLst>
            <pc:docMk/>
            <pc:sldMk cId="334095102" sldId="2134805962"/>
            <ac:picMk id="8" creationId="{3E8AA242-8C0A-1C2A-611D-B0B09630531C}"/>
          </ac:picMkLst>
        </pc:picChg>
      </pc:sldChg>
      <pc:sldChg chg="addSp delSp modSp mod ord">
        <pc:chgData name="Laura Casadio" userId="66d3dc7e-795b-4a92-887c-7e990ee4a717" providerId="ADAL" clId="{A002E1BF-DA5B-40E8-8B58-22F68401CEFA}" dt="2025-02-10T17:40:36.227" v="2619" actId="20577"/>
        <pc:sldMkLst>
          <pc:docMk/>
          <pc:sldMk cId="2441259515" sldId="2134805964"/>
        </pc:sldMkLst>
        <pc:spChg chg="add mod">
          <ac:chgData name="Laura Casadio" userId="66d3dc7e-795b-4a92-887c-7e990ee4a717" providerId="ADAL" clId="{A002E1BF-DA5B-40E8-8B58-22F68401CEFA}" dt="2025-02-04T12:30:51.832" v="573" actId="14100"/>
          <ac:spMkLst>
            <pc:docMk/>
            <pc:sldMk cId="2441259515" sldId="2134805964"/>
            <ac:spMk id="8" creationId="{E18D0AFC-040A-98BC-CAEC-0A8FAFABBB42}"/>
          </ac:spMkLst>
        </pc:spChg>
        <pc:spChg chg="add mod">
          <ac:chgData name="Laura Casadio" userId="66d3dc7e-795b-4a92-887c-7e990ee4a717" providerId="ADAL" clId="{A002E1BF-DA5B-40E8-8B58-22F68401CEFA}" dt="2025-02-10T17:40:36.227" v="2619" actId="20577"/>
          <ac:spMkLst>
            <pc:docMk/>
            <pc:sldMk cId="2441259515" sldId="2134805964"/>
            <ac:spMk id="9" creationId="{53EDFE26-4B1A-3E09-BE3D-FDF2AE8F979F}"/>
          </ac:spMkLst>
        </pc:spChg>
        <pc:spChg chg="add mod">
          <ac:chgData name="Laura Casadio" userId="66d3dc7e-795b-4a92-887c-7e990ee4a717" providerId="ADAL" clId="{A002E1BF-DA5B-40E8-8B58-22F68401CEFA}" dt="2025-02-05T08:41:33.687" v="1738" actId="2711"/>
          <ac:spMkLst>
            <pc:docMk/>
            <pc:sldMk cId="2441259515" sldId="2134805964"/>
            <ac:spMk id="11" creationId="{5EE863F7-B3BC-904B-FCB2-FE7645A9A272}"/>
          </ac:spMkLst>
        </pc:spChg>
        <pc:spChg chg="mod">
          <ac:chgData name="Laura Casadio" userId="66d3dc7e-795b-4a92-887c-7e990ee4a717" providerId="ADAL" clId="{A002E1BF-DA5B-40E8-8B58-22F68401CEFA}" dt="2025-02-04T12:29:48.171" v="569" actId="20577"/>
          <ac:spMkLst>
            <pc:docMk/>
            <pc:sldMk cId="2441259515" sldId="2134805964"/>
            <ac:spMk id="13" creationId="{9C83B014-365B-CE5F-61B1-D0323B12113D}"/>
          </ac:spMkLst>
        </pc:spChg>
        <pc:spChg chg="add mod">
          <ac:chgData name="Laura Casadio" userId="66d3dc7e-795b-4a92-887c-7e990ee4a717" providerId="ADAL" clId="{A002E1BF-DA5B-40E8-8B58-22F68401CEFA}" dt="2025-02-05T08:41:33.687" v="1738" actId="2711"/>
          <ac:spMkLst>
            <pc:docMk/>
            <pc:sldMk cId="2441259515" sldId="2134805964"/>
            <ac:spMk id="14" creationId="{A8735301-017B-9C10-F7FC-1FE4A48039C4}"/>
          </ac:spMkLst>
        </pc:spChg>
        <pc:spChg chg="add mod">
          <ac:chgData name="Laura Casadio" userId="66d3dc7e-795b-4a92-887c-7e990ee4a717" providerId="ADAL" clId="{A002E1BF-DA5B-40E8-8B58-22F68401CEFA}" dt="2025-02-05T08:41:33.687" v="1738" actId="2711"/>
          <ac:spMkLst>
            <pc:docMk/>
            <pc:sldMk cId="2441259515" sldId="2134805964"/>
            <ac:spMk id="15" creationId="{45A79056-2A00-3D16-E856-352AF5F0DC16}"/>
          </ac:spMkLst>
        </pc:spChg>
        <pc:spChg chg="add mod">
          <ac:chgData name="Laura Casadio" userId="66d3dc7e-795b-4a92-887c-7e990ee4a717" providerId="ADAL" clId="{A002E1BF-DA5B-40E8-8B58-22F68401CEFA}" dt="2025-02-05T08:41:33.687" v="1738" actId="2711"/>
          <ac:spMkLst>
            <pc:docMk/>
            <pc:sldMk cId="2441259515" sldId="2134805964"/>
            <ac:spMk id="16" creationId="{FF7758A1-9AF7-27A5-3D49-9F0D652C74D2}"/>
          </ac:spMkLst>
        </pc:spChg>
        <pc:spChg chg="add mod">
          <ac:chgData name="Laura Casadio" userId="66d3dc7e-795b-4a92-887c-7e990ee4a717" providerId="ADAL" clId="{A002E1BF-DA5B-40E8-8B58-22F68401CEFA}" dt="2025-02-05T08:41:33.687" v="1738" actId="2711"/>
          <ac:spMkLst>
            <pc:docMk/>
            <pc:sldMk cId="2441259515" sldId="2134805964"/>
            <ac:spMk id="17" creationId="{B1079729-4FAE-C284-E3B3-9543CE650973}"/>
          </ac:spMkLst>
        </pc:spChg>
        <pc:spChg chg="add mod">
          <ac:chgData name="Laura Casadio" userId="66d3dc7e-795b-4a92-887c-7e990ee4a717" providerId="ADAL" clId="{A002E1BF-DA5B-40E8-8B58-22F68401CEFA}" dt="2025-02-05T08:41:33.687" v="1738" actId="2711"/>
          <ac:spMkLst>
            <pc:docMk/>
            <pc:sldMk cId="2441259515" sldId="2134805964"/>
            <ac:spMk id="18" creationId="{50EB1482-08E2-BC23-CC10-DD1871B84CC7}"/>
          </ac:spMkLst>
        </pc:spChg>
        <pc:spChg chg="mod">
          <ac:chgData name="Laura Casadio" userId="66d3dc7e-795b-4a92-887c-7e990ee4a717" providerId="ADAL" clId="{A002E1BF-DA5B-40E8-8B58-22F68401CEFA}" dt="2025-02-10T17:40:30.500" v="2609" actId="20577"/>
          <ac:spMkLst>
            <pc:docMk/>
            <pc:sldMk cId="2441259515" sldId="2134805964"/>
            <ac:spMk id="70" creationId="{806B8040-186A-DF35-242B-F6AD41CEFC9B}"/>
          </ac:spMkLst>
        </pc:spChg>
      </pc:sldChg>
      <pc:sldChg chg="addSp delSp modSp mod ord">
        <pc:chgData name="Laura Casadio" userId="66d3dc7e-795b-4a92-887c-7e990ee4a717" providerId="ADAL" clId="{A002E1BF-DA5B-40E8-8B58-22F68401CEFA}" dt="2025-02-10T17:40:19.682" v="2602" actId="20577"/>
        <pc:sldMkLst>
          <pc:docMk/>
          <pc:sldMk cId="303064869" sldId="2134805967"/>
        </pc:sldMkLst>
        <pc:spChg chg="mod">
          <ac:chgData name="Laura Casadio" userId="66d3dc7e-795b-4a92-887c-7e990ee4a717" providerId="ADAL" clId="{A002E1BF-DA5B-40E8-8B58-22F68401CEFA}" dt="2025-02-04T12:34:58.559" v="638" actId="14100"/>
          <ac:spMkLst>
            <pc:docMk/>
            <pc:sldMk cId="303064869" sldId="2134805967"/>
            <ac:spMk id="4" creationId="{03EB79B8-7BB2-7CB3-FBF7-FB4256C2976C}"/>
          </ac:spMkLst>
        </pc:spChg>
        <pc:spChg chg="mod">
          <ac:chgData name="Laura Casadio" userId="66d3dc7e-795b-4a92-887c-7e990ee4a717" providerId="ADAL" clId="{A002E1BF-DA5B-40E8-8B58-22F68401CEFA}" dt="2025-02-04T12:34:26.183" v="633" actId="20577"/>
          <ac:spMkLst>
            <pc:docMk/>
            <pc:sldMk cId="303064869" sldId="2134805967"/>
            <ac:spMk id="5" creationId="{09C9BBC7-2223-23FE-7CD4-59A77239621D}"/>
          </ac:spMkLst>
        </pc:spChg>
        <pc:spChg chg="mod">
          <ac:chgData name="Laura Casadio" userId="66d3dc7e-795b-4a92-887c-7e990ee4a717" providerId="ADAL" clId="{A002E1BF-DA5B-40E8-8B58-22F68401CEFA}" dt="2025-02-10T17:40:11.208" v="2592" actId="20577"/>
          <ac:spMkLst>
            <pc:docMk/>
            <pc:sldMk cId="303064869" sldId="2134805967"/>
            <ac:spMk id="11" creationId="{C7514DD6-C27E-93BF-FAF4-723309D293D2}"/>
          </ac:spMkLst>
        </pc:spChg>
        <pc:spChg chg="add mod">
          <ac:chgData name="Laura Casadio" userId="66d3dc7e-795b-4a92-887c-7e990ee4a717" providerId="ADAL" clId="{A002E1BF-DA5B-40E8-8B58-22F68401CEFA}" dt="2025-02-10T17:40:16.654" v="2597" actId="20577"/>
          <ac:spMkLst>
            <pc:docMk/>
            <pc:sldMk cId="303064869" sldId="2134805967"/>
            <ac:spMk id="19" creationId="{CA68A935-EEF4-3919-3D73-802715DEE7A8}"/>
          </ac:spMkLst>
        </pc:spChg>
        <pc:spChg chg="add mod">
          <ac:chgData name="Laura Casadio" userId="66d3dc7e-795b-4a92-887c-7e990ee4a717" providerId="ADAL" clId="{A002E1BF-DA5B-40E8-8B58-22F68401CEFA}" dt="2025-02-05T08:41:47.243" v="1740" actId="2711"/>
          <ac:spMkLst>
            <pc:docMk/>
            <pc:sldMk cId="303064869" sldId="2134805967"/>
            <ac:spMk id="22" creationId="{D9D37F92-0090-5CEA-7793-08EF38A1ECAF}"/>
          </ac:spMkLst>
        </pc:spChg>
        <pc:spChg chg="add mod">
          <ac:chgData name="Laura Casadio" userId="66d3dc7e-795b-4a92-887c-7e990ee4a717" providerId="ADAL" clId="{A002E1BF-DA5B-40E8-8B58-22F68401CEFA}" dt="2025-02-05T08:41:47.243" v="1740" actId="2711"/>
          <ac:spMkLst>
            <pc:docMk/>
            <pc:sldMk cId="303064869" sldId="2134805967"/>
            <ac:spMk id="23" creationId="{3E00B2CB-CFD4-2BC8-9776-7F9539B86BCC}"/>
          </ac:spMkLst>
        </pc:spChg>
        <pc:spChg chg="add mod">
          <ac:chgData name="Laura Casadio" userId="66d3dc7e-795b-4a92-887c-7e990ee4a717" providerId="ADAL" clId="{A002E1BF-DA5B-40E8-8B58-22F68401CEFA}" dt="2025-02-04T12:35:08.955" v="639"/>
          <ac:spMkLst>
            <pc:docMk/>
            <pc:sldMk cId="303064869" sldId="2134805967"/>
            <ac:spMk id="24" creationId="{DF527AF4-5245-98B7-FD0F-D1FF39E1E46C}"/>
          </ac:spMkLst>
        </pc:spChg>
        <pc:spChg chg="add mod">
          <ac:chgData name="Laura Casadio" userId="66d3dc7e-795b-4a92-887c-7e990ee4a717" providerId="ADAL" clId="{A002E1BF-DA5B-40E8-8B58-22F68401CEFA}" dt="2025-02-10T17:40:19.682" v="2602" actId="20577"/>
          <ac:spMkLst>
            <pc:docMk/>
            <pc:sldMk cId="303064869" sldId="2134805967"/>
            <ac:spMk id="25" creationId="{BFAF9F89-BED5-C6EF-6667-DF51A4BB678B}"/>
          </ac:spMkLst>
        </pc:spChg>
        <pc:spChg chg="add mod">
          <ac:chgData name="Laura Casadio" userId="66d3dc7e-795b-4a92-887c-7e990ee4a717" providerId="ADAL" clId="{A002E1BF-DA5B-40E8-8B58-22F68401CEFA}" dt="2025-02-05T08:41:47.243" v="1740" actId="2711"/>
          <ac:spMkLst>
            <pc:docMk/>
            <pc:sldMk cId="303064869" sldId="2134805967"/>
            <ac:spMk id="27" creationId="{3F430095-8A7B-5927-6893-098255E50E77}"/>
          </ac:spMkLst>
        </pc:spChg>
        <pc:spChg chg="add mod">
          <ac:chgData name="Laura Casadio" userId="66d3dc7e-795b-4a92-887c-7e990ee4a717" providerId="ADAL" clId="{A002E1BF-DA5B-40E8-8B58-22F68401CEFA}" dt="2025-02-05T08:41:47.243" v="1740" actId="2711"/>
          <ac:spMkLst>
            <pc:docMk/>
            <pc:sldMk cId="303064869" sldId="2134805967"/>
            <ac:spMk id="28" creationId="{FAB55ED9-EFB2-DCBF-D8F9-C04AFF984DC7}"/>
          </ac:spMkLst>
        </pc:spChg>
        <pc:spChg chg="add mod">
          <ac:chgData name="Laura Casadio" userId="66d3dc7e-795b-4a92-887c-7e990ee4a717" providerId="ADAL" clId="{A002E1BF-DA5B-40E8-8B58-22F68401CEFA}" dt="2025-02-05T08:41:47.243" v="1740" actId="2711"/>
          <ac:spMkLst>
            <pc:docMk/>
            <pc:sldMk cId="303064869" sldId="2134805967"/>
            <ac:spMk id="29" creationId="{89586E76-4860-A139-9B41-D887449F4DDF}"/>
          </ac:spMkLst>
        </pc:spChg>
        <pc:spChg chg="add mod">
          <ac:chgData name="Laura Casadio" userId="66d3dc7e-795b-4a92-887c-7e990ee4a717" providerId="ADAL" clId="{A002E1BF-DA5B-40E8-8B58-22F68401CEFA}" dt="2025-02-05T08:41:47.243" v="1740" actId="2711"/>
          <ac:spMkLst>
            <pc:docMk/>
            <pc:sldMk cId="303064869" sldId="2134805967"/>
            <ac:spMk id="30" creationId="{75E5BCA3-0441-C4B0-EF17-0E677F6FC86A}"/>
          </ac:spMkLst>
        </pc:spChg>
        <pc:spChg chg="add mod">
          <ac:chgData name="Laura Casadio" userId="66d3dc7e-795b-4a92-887c-7e990ee4a717" providerId="ADAL" clId="{A002E1BF-DA5B-40E8-8B58-22F68401CEFA}" dt="2025-02-05T08:41:47.243" v="1740" actId="2711"/>
          <ac:spMkLst>
            <pc:docMk/>
            <pc:sldMk cId="303064869" sldId="2134805967"/>
            <ac:spMk id="31" creationId="{D9342EF1-E4A7-31ED-1C5B-8758C852EC16}"/>
          </ac:spMkLst>
        </pc:spChg>
        <pc:picChg chg="mod">
          <ac:chgData name="Laura Casadio" userId="66d3dc7e-795b-4a92-887c-7e990ee4a717" providerId="ADAL" clId="{A002E1BF-DA5B-40E8-8B58-22F68401CEFA}" dt="2025-02-04T12:34:36.783" v="635" actId="1076"/>
          <ac:picMkLst>
            <pc:docMk/>
            <pc:sldMk cId="303064869" sldId="2134805967"/>
            <ac:picMk id="13" creationId="{3D556011-FCC0-5475-06D1-FB21C47228B1}"/>
          </ac:picMkLst>
        </pc:picChg>
        <pc:picChg chg="mod">
          <ac:chgData name="Laura Casadio" userId="66d3dc7e-795b-4a92-887c-7e990ee4a717" providerId="ADAL" clId="{A002E1BF-DA5B-40E8-8B58-22F68401CEFA}" dt="2025-02-04T12:34:36.783" v="635" actId="1076"/>
          <ac:picMkLst>
            <pc:docMk/>
            <pc:sldMk cId="303064869" sldId="2134805967"/>
            <ac:picMk id="15" creationId="{ABD476D8-01E2-CAF9-3007-C6333135D865}"/>
          </ac:picMkLst>
        </pc:picChg>
        <pc:picChg chg="mod">
          <ac:chgData name="Laura Casadio" userId="66d3dc7e-795b-4a92-887c-7e990ee4a717" providerId="ADAL" clId="{A002E1BF-DA5B-40E8-8B58-22F68401CEFA}" dt="2025-02-04T12:34:36.783" v="635" actId="1076"/>
          <ac:picMkLst>
            <pc:docMk/>
            <pc:sldMk cId="303064869" sldId="2134805967"/>
            <ac:picMk id="16" creationId="{59F996BB-21B6-AFAE-4199-D0543D8A55F0}"/>
          </ac:picMkLst>
        </pc:picChg>
        <pc:picChg chg="mod">
          <ac:chgData name="Laura Casadio" userId="66d3dc7e-795b-4a92-887c-7e990ee4a717" providerId="ADAL" clId="{A002E1BF-DA5B-40E8-8B58-22F68401CEFA}" dt="2025-02-04T12:34:36.783" v="635" actId="1076"/>
          <ac:picMkLst>
            <pc:docMk/>
            <pc:sldMk cId="303064869" sldId="2134805967"/>
            <ac:picMk id="18" creationId="{ADAE1DC9-B3A2-DD67-7197-DBC1C4933FE1}"/>
          </ac:picMkLst>
        </pc:picChg>
      </pc:sldChg>
      <pc:sldChg chg="addSp modSp mod">
        <pc:chgData name="Laura Casadio" userId="66d3dc7e-795b-4a92-887c-7e990ee4a717" providerId="ADAL" clId="{A002E1BF-DA5B-40E8-8B58-22F68401CEFA}" dt="2025-02-05T08:42:47.744" v="1746" actId="2711"/>
        <pc:sldMkLst>
          <pc:docMk/>
          <pc:sldMk cId="1587636284" sldId="2134805969"/>
        </pc:sldMkLst>
        <pc:spChg chg="add mod">
          <ac:chgData name="Laura Casadio" userId="66d3dc7e-795b-4a92-887c-7e990ee4a717" providerId="ADAL" clId="{A002E1BF-DA5B-40E8-8B58-22F68401CEFA}" dt="2025-02-05T08:42:47.744" v="1746" actId="2711"/>
          <ac:spMkLst>
            <pc:docMk/>
            <pc:sldMk cId="1587636284" sldId="2134805969"/>
            <ac:spMk id="5" creationId="{8D88A48C-FCBC-D007-736A-D6413DD0A860}"/>
          </ac:spMkLst>
        </pc:spChg>
        <pc:spChg chg="add mod">
          <ac:chgData name="Laura Casadio" userId="66d3dc7e-795b-4a92-887c-7e990ee4a717" providerId="ADAL" clId="{A002E1BF-DA5B-40E8-8B58-22F68401CEFA}" dt="2025-02-05T08:42:47.744" v="1746" actId="2711"/>
          <ac:spMkLst>
            <pc:docMk/>
            <pc:sldMk cId="1587636284" sldId="2134805969"/>
            <ac:spMk id="6" creationId="{C9CDD2E0-1ED4-CA1C-8A4F-2EE25F667912}"/>
          </ac:spMkLst>
        </pc:spChg>
        <pc:spChg chg="add mod">
          <ac:chgData name="Laura Casadio" userId="66d3dc7e-795b-4a92-887c-7e990ee4a717" providerId="ADAL" clId="{A002E1BF-DA5B-40E8-8B58-22F68401CEFA}" dt="2025-02-05T08:42:47.744" v="1746" actId="2711"/>
          <ac:spMkLst>
            <pc:docMk/>
            <pc:sldMk cId="1587636284" sldId="2134805969"/>
            <ac:spMk id="7" creationId="{DA3C713B-CD0F-0A7F-CBFE-194B5147FB08}"/>
          </ac:spMkLst>
        </pc:spChg>
        <pc:spChg chg="add mod">
          <ac:chgData name="Laura Casadio" userId="66d3dc7e-795b-4a92-887c-7e990ee4a717" providerId="ADAL" clId="{A002E1BF-DA5B-40E8-8B58-22F68401CEFA}" dt="2025-02-05T08:42:47.744" v="1746" actId="2711"/>
          <ac:spMkLst>
            <pc:docMk/>
            <pc:sldMk cId="1587636284" sldId="2134805969"/>
            <ac:spMk id="8" creationId="{F0E9382C-1ABD-66C8-5C2E-EBA014611264}"/>
          </ac:spMkLst>
        </pc:spChg>
        <pc:spChg chg="add mod">
          <ac:chgData name="Laura Casadio" userId="66d3dc7e-795b-4a92-887c-7e990ee4a717" providerId="ADAL" clId="{A002E1BF-DA5B-40E8-8B58-22F68401CEFA}" dt="2025-02-05T08:42:47.744" v="1746" actId="2711"/>
          <ac:spMkLst>
            <pc:docMk/>
            <pc:sldMk cId="1587636284" sldId="2134805969"/>
            <ac:spMk id="9" creationId="{4A258156-67B0-9221-917D-87A76BA4E02E}"/>
          </ac:spMkLst>
        </pc:spChg>
        <pc:spChg chg="add mod">
          <ac:chgData name="Laura Casadio" userId="66d3dc7e-795b-4a92-887c-7e990ee4a717" providerId="ADAL" clId="{A002E1BF-DA5B-40E8-8B58-22F68401CEFA}" dt="2025-02-05T08:42:47.744" v="1746" actId="2711"/>
          <ac:spMkLst>
            <pc:docMk/>
            <pc:sldMk cId="1587636284" sldId="2134805969"/>
            <ac:spMk id="11" creationId="{9E8E12E2-447B-EC24-DB8D-259EF93DC2C7}"/>
          </ac:spMkLst>
        </pc:spChg>
        <pc:spChg chg="add mod">
          <ac:chgData name="Laura Casadio" userId="66d3dc7e-795b-4a92-887c-7e990ee4a717" providerId="ADAL" clId="{A002E1BF-DA5B-40E8-8B58-22F68401CEFA}" dt="2025-02-05T08:42:47.744" v="1746" actId="2711"/>
          <ac:spMkLst>
            <pc:docMk/>
            <pc:sldMk cId="1587636284" sldId="2134805969"/>
            <ac:spMk id="12" creationId="{8290FA7E-4940-E39C-78B4-49337F8D8D1D}"/>
          </ac:spMkLst>
        </pc:spChg>
        <pc:spChg chg="mod">
          <ac:chgData name="Laura Casadio" userId="66d3dc7e-795b-4a92-887c-7e990ee4a717" providerId="ADAL" clId="{A002E1BF-DA5B-40E8-8B58-22F68401CEFA}" dt="2025-02-04T12:43:39.321" v="732" actId="20577"/>
          <ac:spMkLst>
            <pc:docMk/>
            <pc:sldMk cId="1587636284" sldId="2134805969"/>
            <ac:spMk id="13" creationId="{8D55EACC-EB88-90E6-6812-7A35B4BD985F}"/>
          </ac:spMkLst>
        </pc:spChg>
        <pc:spChg chg="add mod">
          <ac:chgData name="Laura Casadio" userId="66d3dc7e-795b-4a92-887c-7e990ee4a717" providerId="ADAL" clId="{A002E1BF-DA5B-40E8-8B58-22F68401CEFA}" dt="2025-02-05T08:42:47.744" v="1746" actId="2711"/>
          <ac:spMkLst>
            <pc:docMk/>
            <pc:sldMk cId="1587636284" sldId="2134805969"/>
            <ac:spMk id="20" creationId="{F5A4B03C-0E02-C198-7E6B-910B3384BA98}"/>
          </ac:spMkLst>
        </pc:spChg>
        <pc:spChg chg="mod">
          <ac:chgData name="Laura Casadio" userId="66d3dc7e-795b-4a92-887c-7e990ee4a717" providerId="ADAL" clId="{A002E1BF-DA5B-40E8-8B58-22F68401CEFA}" dt="2025-02-04T12:43:07.364" v="723"/>
          <ac:spMkLst>
            <pc:docMk/>
            <pc:sldMk cId="1587636284" sldId="2134805969"/>
            <ac:spMk id="70" creationId="{806B8040-186A-DF35-242B-F6AD41CEFC9B}"/>
          </ac:spMkLst>
        </pc:spChg>
        <pc:spChg chg="mod">
          <ac:chgData name="Laura Casadio" userId="66d3dc7e-795b-4a92-887c-7e990ee4a717" providerId="ADAL" clId="{A002E1BF-DA5B-40E8-8B58-22F68401CEFA}" dt="2025-02-04T12:43:14.472" v="727" actId="20577"/>
          <ac:spMkLst>
            <pc:docMk/>
            <pc:sldMk cId="1587636284" sldId="2134805969"/>
            <ac:spMk id="71" creationId="{2AD15FC7-13C1-7EAF-160A-6AFB645E257B}"/>
          </ac:spMkLst>
        </pc:spChg>
      </pc:sldChg>
      <pc:sldChg chg="addSp delSp modSp mod">
        <pc:chgData name="Laura Casadio" userId="66d3dc7e-795b-4a92-887c-7e990ee4a717" providerId="ADAL" clId="{A002E1BF-DA5B-40E8-8B58-22F68401CEFA}" dt="2025-02-05T08:43:57.754" v="1755" actId="2711"/>
        <pc:sldMkLst>
          <pc:docMk/>
          <pc:sldMk cId="452919708" sldId="2134805970"/>
        </pc:sldMkLst>
        <pc:spChg chg="add mod">
          <ac:chgData name="Laura Casadio" userId="66d3dc7e-795b-4a92-887c-7e990ee4a717" providerId="ADAL" clId="{A002E1BF-DA5B-40E8-8B58-22F68401CEFA}" dt="2025-02-05T08:43:57.754" v="1755" actId="2711"/>
          <ac:spMkLst>
            <pc:docMk/>
            <pc:sldMk cId="452919708" sldId="2134805970"/>
            <ac:spMk id="4" creationId="{8BD7CA86-92B6-32A6-6DA7-2FA4C8E77A20}"/>
          </ac:spMkLst>
        </pc:spChg>
        <pc:spChg chg="mod">
          <ac:chgData name="Laura Casadio" userId="66d3dc7e-795b-4a92-887c-7e990ee4a717" providerId="ADAL" clId="{A002E1BF-DA5B-40E8-8B58-22F68401CEFA}" dt="2025-02-04T12:43:49.385" v="739" actId="20577"/>
          <ac:spMkLst>
            <pc:docMk/>
            <pc:sldMk cId="452919708" sldId="2134805970"/>
            <ac:spMk id="5" creationId="{09C9BBC7-2223-23FE-7CD4-59A77239621D}"/>
          </ac:spMkLst>
        </pc:spChg>
        <pc:spChg chg="add mod">
          <ac:chgData name="Laura Casadio" userId="66d3dc7e-795b-4a92-887c-7e990ee4a717" providerId="ADAL" clId="{A002E1BF-DA5B-40E8-8B58-22F68401CEFA}" dt="2025-02-05T08:43:57.754" v="1755" actId="2711"/>
          <ac:spMkLst>
            <pc:docMk/>
            <pc:sldMk cId="452919708" sldId="2134805970"/>
            <ac:spMk id="6" creationId="{8AABDF00-DDF5-8292-8AC1-58D119D0B8F6}"/>
          </ac:spMkLst>
        </pc:spChg>
        <pc:spChg chg="add mod">
          <ac:chgData name="Laura Casadio" userId="66d3dc7e-795b-4a92-887c-7e990ee4a717" providerId="ADAL" clId="{A002E1BF-DA5B-40E8-8B58-22F68401CEFA}" dt="2025-02-05T08:43:57.754" v="1755" actId="2711"/>
          <ac:spMkLst>
            <pc:docMk/>
            <pc:sldMk cId="452919708" sldId="2134805970"/>
            <ac:spMk id="10" creationId="{DDA94640-D2AC-993C-6465-2F324FD867DB}"/>
          </ac:spMkLst>
        </pc:spChg>
        <pc:spChg chg="mod">
          <ac:chgData name="Laura Casadio" userId="66d3dc7e-795b-4a92-887c-7e990ee4a717" providerId="ADAL" clId="{A002E1BF-DA5B-40E8-8B58-22F68401CEFA}" dt="2025-02-04T12:44:46.917" v="771" actId="403"/>
          <ac:spMkLst>
            <pc:docMk/>
            <pc:sldMk cId="452919708" sldId="2134805970"/>
            <ac:spMk id="11" creationId="{C7514DD6-C27E-93BF-FAF4-723309D293D2}"/>
          </ac:spMkLst>
        </pc:spChg>
        <pc:spChg chg="add mod">
          <ac:chgData name="Laura Casadio" userId="66d3dc7e-795b-4a92-887c-7e990ee4a717" providerId="ADAL" clId="{A002E1BF-DA5B-40E8-8B58-22F68401CEFA}" dt="2025-02-05T08:43:57.754" v="1755" actId="2711"/>
          <ac:spMkLst>
            <pc:docMk/>
            <pc:sldMk cId="452919708" sldId="2134805970"/>
            <ac:spMk id="13" creationId="{A0EDC668-4A98-309E-B8A6-19208CBB18AB}"/>
          </ac:spMkLst>
        </pc:spChg>
        <pc:spChg chg="mod">
          <ac:chgData name="Laura Casadio" userId="66d3dc7e-795b-4a92-887c-7e990ee4a717" providerId="ADAL" clId="{A002E1BF-DA5B-40E8-8B58-22F68401CEFA}" dt="2025-02-04T12:44:46.917" v="771" actId="403"/>
          <ac:spMkLst>
            <pc:docMk/>
            <pc:sldMk cId="452919708" sldId="2134805970"/>
            <ac:spMk id="70" creationId="{806B8040-186A-DF35-242B-F6AD41CEFC9B}"/>
          </ac:spMkLst>
        </pc:spChg>
      </pc:sldChg>
      <pc:sldChg chg="addSp modSp add mod">
        <pc:chgData name="Laura Casadio" userId="66d3dc7e-795b-4a92-887c-7e990ee4a717" providerId="ADAL" clId="{A002E1BF-DA5B-40E8-8B58-22F68401CEFA}" dt="2025-02-05T08:37:05.581" v="1704" actId="2711"/>
        <pc:sldMkLst>
          <pc:docMk/>
          <pc:sldMk cId="4289745805" sldId="2134805971"/>
        </pc:sldMkLst>
        <pc:spChg chg="add mod">
          <ac:chgData name="Laura Casadio" userId="66d3dc7e-795b-4a92-887c-7e990ee4a717" providerId="ADAL" clId="{A002E1BF-DA5B-40E8-8B58-22F68401CEFA}" dt="2025-02-04T14:47:48.033" v="1602"/>
          <ac:spMkLst>
            <pc:docMk/>
            <pc:sldMk cId="4289745805" sldId="2134805971"/>
            <ac:spMk id="2" creationId="{9B52F934-FCFB-B2A8-7053-95A7E5C06B8B}"/>
          </ac:spMkLst>
        </pc:spChg>
        <pc:spChg chg="mod">
          <ac:chgData name="Laura Casadio" userId="66d3dc7e-795b-4a92-887c-7e990ee4a717" providerId="ADAL" clId="{A002E1BF-DA5B-40E8-8B58-22F68401CEFA}" dt="2025-02-05T08:37:05.581" v="1704" actId="2711"/>
          <ac:spMkLst>
            <pc:docMk/>
            <pc:sldMk cId="4289745805" sldId="2134805971"/>
            <ac:spMk id="11" creationId="{09A96D01-8670-B028-8329-7AF20A48FCF9}"/>
          </ac:spMkLst>
        </pc:spChg>
        <pc:spChg chg="mod">
          <ac:chgData name="Laura Casadio" userId="66d3dc7e-795b-4a92-887c-7e990ee4a717" providerId="ADAL" clId="{A002E1BF-DA5B-40E8-8B58-22F68401CEFA}" dt="2025-02-05T08:37:05.581" v="1704" actId="2711"/>
          <ac:spMkLst>
            <pc:docMk/>
            <pc:sldMk cId="4289745805" sldId="2134805971"/>
            <ac:spMk id="19" creationId="{E6657F9F-2C0E-8F55-15E0-1E0485CE19AE}"/>
          </ac:spMkLst>
        </pc:spChg>
        <pc:spChg chg="mod">
          <ac:chgData name="Laura Casadio" userId="66d3dc7e-795b-4a92-887c-7e990ee4a717" providerId="ADAL" clId="{A002E1BF-DA5B-40E8-8B58-22F68401CEFA}" dt="2025-02-05T08:37:05.581" v="1704" actId="2711"/>
          <ac:spMkLst>
            <pc:docMk/>
            <pc:sldMk cId="4289745805" sldId="2134805971"/>
            <ac:spMk id="22" creationId="{A00529B8-7A83-CA35-2A81-918DA4C6A647}"/>
          </ac:spMkLst>
        </pc:spChg>
      </pc:sldChg>
      <pc:sldChg chg="addSp delSp modSp add mod">
        <pc:chgData name="Laura Casadio" userId="66d3dc7e-795b-4a92-887c-7e990ee4a717" providerId="ADAL" clId="{A002E1BF-DA5B-40E8-8B58-22F68401CEFA}" dt="2025-02-10T17:18:55.376" v="2525" actId="20577"/>
        <pc:sldMkLst>
          <pc:docMk/>
          <pc:sldMk cId="2835748674" sldId="2134805972"/>
        </pc:sldMkLst>
        <pc:spChg chg="add mod ord">
          <ac:chgData name="Laura Casadio" userId="66d3dc7e-795b-4a92-887c-7e990ee4a717" providerId="ADAL" clId="{A002E1BF-DA5B-40E8-8B58-22F68401CEFA}" dt="2025-02-05T15:48:21.904" v="1871" actId="14100"/>
          <ac:spMkLst>
            <pc:docMk/>
            <pc:sldMk cId="2835748674" sldId="2134805972"/>
            <ac:spMk id="3" creationId="{C3CCBAA7-2C38-5CB8-6C38-870D3C8D27A7}"/>
          </ac:spMkLst>
        </pc:spChg>
        <pc:spChg chg="mod">
          <ac:chgData name="Laura Casadio" userId="66d3dc7e-795b-4a92-887c-7e990ee4a717" providerId="ADAL" clId="{A002E1BF-DA5B-40E8-8B58-22F68401CEFA}" dt="2025-02-05T08:37:42.152" v="1708" actId="2711"/>
          <ac:spMkLst>
            <pc:docMk/>
            <pc:sldMk cId="2835748674" sldId="2134805972"/>
            <ac:spMk id="4" creationId="{23C2B27E-4909-E39D-7B5B-91ED5D021789}"/>
          </ac:spMkLst>
        </pc:spChg>
        <pc:spChg chg="mod">
          <ac:chgData name="Laura Casadio" userId="66d3dc7e-795b-4a92-887c-7e990ee4a717" providerId="ADAL" clId="{A002E1BF-DA5B-40E8-8B58-22F68401CEFA}" dt="2025-02-04T14:45:50.151" v="1573" actId="20577"/>
          <ac:spMkLst>
            <pc:docMk/>
            <pc:sldMk cId="2835748674" sldId="2134805972"/>
            <ac:spMk id="6" creationId="{71DD7162-8BE6-D95D-E3F5-B36021300E3A}"/>
          </ac:spMkLst>
        </pc:spChg>
        <pc:spChg chg="mod">
          <ac:chgData name="Laura Casadio" userId="66d3dc7e-795b-4a92-887c-7e990ee4a717" providerId="ADAL" clId="{A002E1BF-DA5B-40E8-8B58-22F68401CEFA}" dt="2025-02-05T08:32:56.220" v="1685" actId="14100"/>
          <ac:spMkLst>
            <pc:docMk/>
            <pc:sldMk cId="2835748674" sldId="2134805972"/>
            <ac:spMk id="10" creationId="{4AC399DE-D4E4-C4AF-59E7-215433152576}"/>
          </ac:spMkLst>
        </pc:spChg>
        <pc:spChg chg="add mod">
          <ac:chgData name="Laura Casadio" userId="66d3dc7e-795b-4a92-887c-7e990ee4a717" providerId="ADAL" clId="{A002E1BF-DA5B-40E8-8B58-22F68401CEFA}" dt="2025-02-04T15:07:41.415" v="1641" actId="207"/>
          <ac:spMkLst>
            <pc:docMk/>
            <pc:sldMk cId="2835748674" sldId="2134805972"/>
            <ac:spMk id="11" creationId="{D48DA210-A952-090B-38B4-803DF04EE103}"/>
          </ac:spMkLst>
        </pc:spChg>
        <pc:spChg chg="add mod">
          <ac:chgData name="Laura Casadio" userId="66d3dc7e-795b-4a92-887c-7e990ee4a717" providerId="ADAL" clId="{A002E1BF-DA5B-40E8-8B58-22F68401CEFA}" dt="2025-02-05T08:37:42.152" v="1708" actId="2711"/>
          <ac:spMkLst>
            <pc:docMk/>
            <pc:sldMk cId="2835748674" sldId="2134805972"/>
            <ac:spMk id="14" creationId="{2E1CB903-FC43-C9C9-9908-FB9C393BDE04}"/>
          </ac:spMkLst>
        </pc:spChg>
        <pc:spChg chg="add mod">
          <ac:chgData name="Laura Casadio" userId="66d3dc7e-795b-4a92-887c-7e990ee4a717" providerId="ADAL" clId="{A002E1BF-DA5B-40E8-8B58-22F68401CEFA}" dt="2025-02-05T08:37:42.152" v="1708" actId="2711"/>
          <ac:spMkLst>
            <pc:docMk/>
            <pc:sldMk cId="2835748674" sldId="2134805972"/>
            <ac:spMk id="15" creationId="{77BFBF74-C863-B0D3-6F68-8F007325139B}"/>
          </ac:spMkLst>
        </pc:spChg>
        <pc:spChg chg="add mod">
          <ac:chgData name="Laura Casadio" userId="66d3dc7e-795b-4a92-887c-7e990ee4a717" providerId="ADAL" clId="{A002E1BF-DA5B-40E8-8B58-22F68401CEFA}" dt="2025-02-04T14:47:45.243" v="1601"/>
          <ac:spMkLst>
            <pc:docMk/>
            <pc:sldMk cId="2835748674" sldId="2134805972"/>
            <ac:spMk id="16" creationId="{27FC2A49-F8BA-D033-D6D4-10AF7C7392AB}"/>
          </ac:spMkLst>
        </pc:spChg>
        <pc:spChg chg="mod">
          <ac:chgData name="Laura Casadio" userId="66d3dc7e-795b-4a92-887c-7e990ee4a717" providerId="ADAL" clId="{A002E1BF-DA5B-40E8-8B58-22F68401CEFA}" dt="2025-02-05T15:48:14.812" v="1870" actId="1038"/>
          <ac:spMkLst>
            <pc:docMk/>
            <pc:sldMk cId="2835748674" sldId="2134805972"/>
            <ac:spMk id="36" creationId="{2D139AAF-0BE5-2D76-25FB-BFB9F37520B9}"/>
          </ac:spMkLst>
        </pc:spChg>
        <pc:spChg chg="mod">
          <ac:chgData name="Laura Casadio" userId="66d3dc7e-795b-4a92-887c-7e990ee4a717" providerId="ADAL" clId="{A002E1BF-DA5B-40E8-8B58-22F68401CEFA}" dt="2025-02-10T17:18:55.376" v="2525" actId="20577"/>
          <ac:spMkLst>
            <pc:docMk/>
            <pc:sldMk cId="2835748674" sldId="2134805972"/>
            <ac:spMk id="39" creationId="{95D27816-4B53-D7A4-807C-FB7A693E4FF3}"/>
          </ac:spMkLst>
        </pc:spChg>
        <pc:spChg chg="mod">
          <ac:chgData name="Laura Casadio" userId="66d3dc7e-795b-4a92-887c-7e990ee4a717" providerId="ADAL" clId="{A002E1BF-DA5B-40E8-8B58-22F68401CEFA}" dt="2025-02-05T08:37:42.152" v="1708" actId="2711"/>
          <ac:spMkLst>
            <pc:docMk/>
            <pc:sldMk cId="2835748674" sldId="2134805972"/>
            <ac:spMk id="51" creationId="{8D8BDA2F-65BC-52D7-9D5A-6ECC000E7CE3}"/>
          </ac:spMkLst>
        </pc:spChg>
        <pc:spChg chg="mod">
          <ac:chgData name="Laura Casadio" userId="66d3dc7e-795b-4a92-887c-7e990ee4a717" providerId="ADAL" clId="{A002E1BF-DA5B-40E8-8B58-22F68401CEFA}" dt="2025-02-05T08:37:42.152" v="1708" actId="2711"/>
          <ac:spMkLst>
            <pc:docMk/>
            <pc:sldMk cId="2835748674" sldId="2134805972"/>
            <ac:spMk id="52" creationId="{964A01FC-E46E-1D78-9E4F-D6CFEACE8CDF}"/>
          </ac:spMkLst>
        </pc:spChg>
        <pc:spChg chg="mod">
          <ac:chgData name="Laura Casadio" userId="66d3dc7e-795b-4a92-887c-7e990ee4a717" providerId="ADAL" clId="{A002E1BF-DA5B-40E8-8B58-22F68401CEFA}" dt="2025-02-04T14:46:31.877" v="1588" actId="1035"/>
          <ac:spMkLst>
            <pc:docMk/>
            <pc:sldMk cId="2835748674" sldId="2134805972"/>
            <ac:spMk id="69" creationId="{87B2F0A4-DD55-EC50-B919-62AC8F14EF43}"/>
          </ac:spMkLst>
        </pc:spChg>
        <pc:spChg chg="mod">
          <ac:chgData name="Laura Casadio" userId="66d3dc7e-795b-4a92-887c-7e990ee4a717" providerId="ADAL" clId="{A002E1BF-DA5B-40E8-8B58-22F68401CEFA}" dt="2025-02-04T14:45:16.173" v="1555" actId="1076"/>
          <ac:spMkLst>
            <pc:docMk/>
            <pc:sldMk cId="2835748674" sldId="2134805972"/>
            <ac:spMk id="70" creationId="{806B8040-186A-DF35-242B-F6AD41CEFC9B}"/>
          </ac:spMkLst>
        </pc:spChg>
      </pc:sldChg>
      <pc:sldChg chg="addSp delSp modSp add del mod">
        <pc:chgData name="Laura Casadio" userId="66d3dc7e-795b-4a92-887c-7e990ee4a717" providerId="ADAL" clId="{A002E1BF-DA5B-40E8-8B58-22F68401CEFA}" dt="2025-02-10T17:42:01.103" v="2663" actId="20577"/>
        <pc:sldMkLst>
          <pc:docMk/>
          <pc:sldMk cId="533282322" sldId="2134805973"/>
        </pc:sldMkLst>
        <pc:spChg chg="mod">
          <ac:chgData name="Laura Casadio" userId="66d3dc7e-795b-4a92-887c-7e990ee4a717" providerId="ADAL" clId="{A002E1BF-DA5B-40E8-8B58-22F68401CEFA}" dt="2025-02-10T16:35:00.414" v="2249" actId="1076"/>
          <ac:spMkLst>
            <pc:docMk/>
            <pc:sldMk cId="533282322" sldId="2134805973"/>
            <ac:spMk id="2" creationId="{97A083D5-E424-93D2-38B8-0FFB91EF25D3}"/>
          </ac:spMkLst>
        </pc:spChg>
        <pc:spChg chg="add mod">
          <ac:chgData name="Laura Casadio" userId="66d3dc7e-795b-4a92-887c-7e990ee4a717" providerId="ADAL" clId="{A002E1BF-DA5B-40E8-8B58-22F68401CEFA}" dt="2025-02-10T16:35:05.196" v="2250" actId="1076"/>
          <ac:spMkLst>
            <pc:docMk/>
            <pc:sldMk cId="533282322" sldId="2134805973"/>
            <ac:spMk id="3" creationId="{B3AB1603-731D-B611-8AA4-6D4DDA1C0D25}"/>
          </ac:spMkLst>
        </pc:spChg>
        <pc:spChg chg="mod">
          <ac:chgData name="Laura Casadio" userId="66d3dc7e-795b-4a92-887c-7e990ee4a717" providerId="ADAL" clId="{A002E1BF-DA5B-40E8-8B58-22F68401CEFA}" dt="2025-02-10T16:41:00.729" v="2345" actId="20577"/>
          <ac:spMkLst>
            <pc:docMk/>
            <pc:sldMk cId="533282322" sldId="2134805973"/>
            <ac:spMk id="4" creationId="{CA238D8E-C0F3-C97C-A09E-6553CC183D5A}"/>
          </ac:spMkLst>
        </pc:spChg>
        <pc:spChg chg="add mod">
          <ac:chgData name="Laura Casadio" userId="66d3dc7e-795b-4a92-887c-7e990ee4a717" providerId="ADAL" clId="{A002E1BF-DA5B-40E8-8B58-22F68401CEFA}" dt="2025-02-10T16:35:21.723" v="2252" actId="1076"/>
          <ac:spMkLst>
            <pc:docMk/>
            <pc:sldMk cId="533282322" sldId="2134805973"/>
            <ac:spMk id="7" creationId="{E7270841-1DC2-9947-A2AA-281F493E704F}"/>
          </ac:spMkLst>
        </pc:spChg>
        <pc:spChg chg="add mod">
          <ac:chgData name="Laura Casadio" userId="66d3dc7e-795b-4a92-887c-7e990ee4a717" providerId="ADAL" clId="{A002E1BF-DA5B-40E8-8B58-22F68401CEFA}" dt="2025-02-05T08:24:18.012" v="1647"/>
          <ac:spMkLst>
            <pc:docMk/>
            <pc:sldMk cId="533282322" sldId="2134805973"/>
            <ac:spMk id="8" creationId="{E5C9D565-DCDC-B540-33C5-ED5524BE6012}"/>
          </ac:spMkLst>
        </pc:spChg>
        <pc:spChg chg="add mod">
          <ac:chgData name="Laura Casadio" userId="66d3dc7e-795b-4a92-887c-7e990ee4a717" providerId="ADAL" clId="{A002E1BF-DA5B-40E8-8B58-22F68401CEFA}" dt="2025-02-10T16:35:00.414" v="2249" actId="1076"/>
          <ac:spMkLst>
            <pc:docMk/>
            <pc:sldMk cId="533282322" sldId="2134805973"/>
            <ac:spMk id="13" creationId="{5F654C22-13E5-6314-80BA-7E6CF588C758}"/>
          </ac:spMkLst>
        </pc:spChg>
        <pc:spChg chg="add mod">
          <ac:chgData name="Laura Casadio" userId="66d3dc7e-795b-4a92-887c-7e990ee4a717" providerId="ADAL" clId="{A002E1BF-DA5B-40E8-8B58-22F68401CEFA}" dt="2025-02-10T16:35:00.414" v="2249" actId="1076"/>
          <ac:spMkLst>
            <pc:docMk/>
            <pc:sldMk cId="533282322" sldId="2134805973"/>
            <ac:spMk id="14" creationId="{F02C9D62-807A-E616-A7B9-577DC916223C}"/>
          </ac:spMkLst>
        </pc:spChg>
        <pc:spChg chg="add mod">
          <ac:chgData name="Laura Casadio" userId="66d3dc7e-795b-4a92-887c-7e990ee4a717" providerId="ADAL" clId="{A002E1BF-DA5B-40E8-8B58-22F68401CEFA}" dt="2025-02-10T16:35:00.414" v="2249" actId="1076"/>
          <ac:spMkLst>
            <pc:docMk/>
            <pc:sldMk cId="533282322" sldId="2134805973"/>
            <ac:spMk id="16" creationId="{2125490C-635C-F1C3-1DF4-D0011CF1952E}"/>
          </ac:spMkLst>
        </pc:spChg>
        <pc:spChg chg="add mod">
          <ac:chgData name="Laura Casadio" userId="66d3dc7e-795b-4a92-887c-7e990ee4a717" providerId="ADAL" clId="{A002E1BF-DA5B-40E8-8B58-22F68401CEFA}" dt="2025-02-10T16:35:00.414" v="2249" actId="1076"/>
          <ac:spMkLst>
            <pc:docMk/>
            <pc:sldMk cId="533282322" sldId="2134805973"/>
            <ac:spMk id="17" creationId="{34BE8FDE-4A40-73F0-6D96-FE91B0879DE1}"/>
          </ac:spMkLst>
        </pc:spChg>
        <pc:spChg chg="add mod">
          <ac:chgData name="Laura Casadio" userId="66d3dc7e-795b-4a92-887c-7e990ee4a717" providerId="ADAL" clId="{A002E1BF-DA5B-40E8-8B58-22F68401CEFA}" dt="2025-02-10T16:35:00.414" v="2249" actId="1076"/>
          <ac:spMkLst>
            <pc:docMk/>
            <pc:sldMk cId="533282322" sldId="2134805973"/>
            <ac:spMk id="18" creationId="{24A4AC62-78F7-AFEE-CDE7-29171374152D}"/>
          </ac:spMkLst>
        </pc:spChg>
        <pc:spChg chg="add mod">
          <ac:chgData name="Laura Casadio" userId="66d3dc7e-795b-4a92-887c-7e990ee4a717" providerId="ADAL" clId="{A002E1BF-DA5B-40E8-8B58-22F68401CEFA}" dt="2025-02-10T16:35:21.723" v="2252" actId="1076"/>
          <ac:spMkLst>
            <pc:docMk/>
            <pc:sldMk cId="533282322" sldId="2134805973"/>
            <ac:spMk id="19" creationId="{02CCBD12-3159-4950-BF1B-38C427A91F18}"/>
          </ac:spMkLst>
        </pc:spChg>
        <pc:spChg chg="mod">
          <ac:chgData name="Laura Casadio" userId="66d3dc7e-795b-4a92-887c-7e990ee4a717" providerId="ADAL" clId="{A002E1BF-DA5B-40E8-8B58-22F68401CEFA}" dt="2025-02-10T17:42:01.103" v="2663" actId="20577"/>
          <ac:spMkLst>
            <pc:docMk/>
            <pc:sldMk cId="533282322" sldId="2134805973"/>
            <ac:spMk id="20" creationId="{28A2BBB2-B5C0-9295-5E8E-7810B16B443D}"/>
          </ac:spMkLst>
        </pc:spChg>
        <pc:spChg chg="add mod">
          <ac:chgData name="Laura Casadio" userId="66d3dc7e-795b-4a92-887c-7e990ee4a717" providerId="ADAL" clId="{A002E1BF-DA5B-40E8-8B58-22F68401CEFA}" dt="2025-02-10T16:35:21.723" v="2252" actId="1076"/>
          <ac:spMkLst>
            <pc:docMk/>
            <pc:sldMk cId="533282322" sldId="2134805973"/>
            <ac:spMk id="21" creationId="{D1FB4527-F1BF-87BD-B0AF-A7A4C758A5F2}"/>
          </ac:spMkLst>
        </pc:spChg>
        <pc:spChg chg="add mod ord">
          <ac:chgData name="Laura Casadio" userId="66d3dc7e-795b-4a92-887c-7e990ee4a717" providerId="ADAL" clId="{A002E1BF-DA5B-40E8-8B58-22F68401CEFA}" dt="2025-02-10T16:35:52.514" v="2256" actId="167"/>
          <ac:spMkLst>
            <pc:docMk/>
            <pc:sldMk cId="533282322" sldId="2134805973"/>
            <ac:spMk id="23" creationId="{BC7917C9-9109-433A-5107-4E114FA84D46}"/>
          </ac:spMkLst>
        </pc:spChg>
        <pc:spChg chg="mod">
          <ac:chgData name="Laura Casadio" userId="66d3dc7e-795b-4a92-887c-7e990ee4a717" providerId="ADAL" clId="{A002E1BF-DA5B-40E8-8B58-22F68401CEFA}" dt="2025-02-04T13:37:17.680" v="1175" actId="1076"/>
          <ac:spMkLst>
            <pc:docMk/>
            <pc:sldMk cId="533282322" sldId="2134805973"/>
            <ac:spMk id="66" creationId="{E3D66219-C056-79DF-43B6-AD9C57CCEB15}"/>
          </ac:spMkLst>
        </pc:spChg>
        <pc:picChg chg="add mod">
          <ac:chgData name="Laura Casadio" userId="66d3dc7e-795b-4a92-887c-7e990ee4a717" providerId="ADAL" clId="{A002E1BF-DA5B-40E8-8B58-22F68401CEFA}" dt="2025-02-10T16:35:00.414" v="2249" actId="1076"/>
          <ac:picMkLst>
            <pc:docMk/>
            <pc:sldMk cId="533282322" sldId="2134805973"/>
            <ac:picMk id="11" creationId="{B1C64315-4DA0-1E14-2BE4-62EF51E08121}"/>
          </ac:picMkLst>
        </pc:picChg>
        <pc:picChg chg="mod">
          <ac:chgData name="Laura Casadio" userId="66d3dc7e-795b-4a92-887c-7e990ee4a717" providerId="ADAL" clId="{A002E1BF-DA5B-40E8-8B58-22F68401CEFA}" dt="2025-02-10T16:35:00.414" v="2249" actId="1076"/>
          <ac:picMkLst>
            <pc:docMk/>
            <pc:sldMk cId="533282322" sldId="2134805973"/>
            <ac:picMk id="22" creationId="{66C67632-7EC2-5E1A-E290-D0DAAE0C3F4E}"/>
          </ac:picMkLst>
        </pc:picChg>
      </pc:sldChg>
      <pc:sldChg chg="addSp modSp mod">
        <pc:chgData name="Laura Casadio" userId="66d3dc7e-795b-4a92-887c-7e990ee4a717" providerId="ADAL" clId="{A002E1BF-DA5B-40E8-8B58-22F68401CEFA}" dt="2025-02-05T15:42:32.302" v="1858" actId="1076"/>
        <pc:sldMkLst>
          <pc:docMk/>
          <pc:sldMk cId="2129768714" sldId="2134805975"/>
        </pc:sldMkLst>
        <pc:spChg chg="add mod">
          <ac:chgData name="Laura Casadio" userId="66d3dc7e-795b-4a92-887c-7e990ee4a717" providerId="ADAL" clId="{A002E1BF-DA5B-40E8-8B58-22F68401CEFA}" dt="2025-02-05T15:42:32.302" v="1858" actId="1076"/>
          <ac:spMkLst>
            <pc:docMk/>
            <pc:sldMk cId="2129768714" sldId="2134805975"/>
            <ac:spMk id="3" creationId="{9FF2C42B-1ACF-5612-B48C-F21F1FF671BD}"/>
          </ac:spMkLst>
        </pc:spChg>
        <pc:spChg chg="add mod">
          <ac:chgData name="Laura Casadio" userId="66d3dc7e-795b-4a92-887c-7e990ee4a717" providerId="ADAL" clId="{A002E1BF-DA5B-40E8-8B58-22F68401CEFA}" dt="2025-02-05T15:42:32.302" v="1858" actId="1076"/>
          <ac:spMkLst>
            <pc:docMk/>
            <pc:sldMk cId="2129768714" sldId="2134805975"/>
            <ac:spMk id="4" creationId="{DFC98069-7EC7-529B-0A6C-33009A814FF4}"/>
          </ac:spMkLst>
        </pc:spChg>
        <pc:spChg chg="add mod">
          <ac:chgData name="Laura Casadio" userId="66d3dc7e-795b-4a92-887c-7e990ee4a717" providerId="ADAL" clId="{A002E1BF-DA5B-40E8-8B58-22F68401CEFA}" dt="2025-02-05T08:36:38.766" v="1700" actId="2711"/>
          <ac:spMkLst>
            <pc:docMk/>
            <pc:sldMk cId="2129768714" sldId="2134805975"/>
            <ac:spMk id="7" creationId="{7E1D18A1-335B-624F-598A-76FAE47DE080}"/>
          </ac:spMkLst>
        </pc:spChg>
        <pc:spChg chg="add mod">
          <ac:chgData name="Laura Casadio" userId="66d3dc7e-795b-4a92-887c-7e990ee4a717" providerId="ADAL" clId="{A002E1BF-DA5B-40E8-8B58-22F68401CEFA}" dt="2025-02-05T08:36:38.766" v="1700" actId="2711"/>
          <ac:spMkLst>
            <pc:docMk/>
            <pc:sldMk cId="2129768714" sldId="2134805975"/>
            <ac:spMk id="8" creationId="{1D4B70AD-A506-80E9-ED88-1C46CE7D330C}"/>
          </ac:spMkLst>
        </pc:spChg>
        <pc:spChg chg="add mod">
          <ac:chgData name="Laura Casadio" userId="66d3dc7e-795b-4a92-887c-7e990ee4a717" providerId="ADAL" clId="{A002E1BF-DA5B-40E8-8B58-22F68401CEFA}" dt="2025-02-05T08:36:38.766" v="1700" actId="2711"/>
          <ac:spMkLst>
            <pc:docMk/>
            <pc:sldMk cId="2129768714" sldId="2134805975"/>
            <ac:spMk id="9" creationId="{F01684FF-63AD-5E16-4D61-C05AAFEB844C}"/>
          </ac:spMkLst>
        </pc:spChg>
        <pc:spChg chg="mod">
          <ac:chgData name="Laura Casadio" userId="66d3dc7e-795b-4a92-887c-7e990ee4a717" providerId="ADAL" clId="{A002E1BF-DA5B-40E8-8B58-22F68401CEFA}" dt="2025-02-04T09:37:38.017" v="66" actId="20577"/>
          <ac:spMkLst>
            <pc:docMk/>
            <pc:sldMk cId="2129768714" sldId="2134805975"/>
            <ac:spMk id="10" creationId="{4AC399DE-D4E4-C4AF-59E7-215433152576}"/>
          </ac:spMkLst>
        </pc:spChg>
        <pc:spChg chg="mod">
          <ac:chgData name="Laura Casadio" userId="66d3dc7e-795b-4a92-887c-7e990ee4a717" providerId="ADAL" clId="{A002E1BF-DA5B-40E8-8B58-22F68401CEFA}" dt="2025-02-04T09:49:59.446" v="170" actId="403"/>
          <ac:spMkLst>
            <pc:docMk/>
            <pc:sldMk cId="2129768714" sldId="2134805975"/>
            <ac:spMk id="13" creationId="{CACBACCC-D137-8751-49B8-2D9A17A097AF}"/>
          </ac:spMkLst>
        </pc:spChg>
        <pc:spChg chg="add mod">
          <ac:chgData name="Laura Casadio" userId="66d3dc7e-795b-4a92-887c-7e990ee4a717" providerId="ADAL" clId="{A002E1BF-DA5B-40E8-8B58-22F68401CEFA}" dt="2025-02-05T08:36:38.766" v="1700" actId="2711"/>
          <ac:spMkLst>
            <pc:docMk/>
            <pc:sldMk cId="2129768714" sldId="2134805975"/>
            <ac:spMk id="16" creationId="{154420BE-8975-CD09-27AC-373DA88B055F}"/>
          </ac:spMkLst>
        </pc:spChg>
        <pc:spChg chg="add mod">
          <ac:chgData name="Laura Casadio" userId="66d3dc7e-795b-4a92-887c-7e990ee4a717" providerId="ADAL" clId="{A002E1BF-DA5B-40E8-8B58-22F68401CEFA}" dt="2025-02-05T08:36:38.766" v="1700" actId="2711"/>
          <ac:spMkLst>
            <pc:docMk/>
            <pc:sldMk cId="2129768714" sldId="2134805975"/>
            <ac:spMk id="17" creationId="{ED303A84-E051-F28A-5DBC-461E82BE4C2E}"/>
          </ac:spMkLst>
        </pc:spChg>
        <pc:spChg chg="add mod">
          <ac:chgData name="Laura Casadio" userId="66d3dc7e-795b-4a92-887c-7e990ee4a717" providerId="ADAL" clId="{A002E1BF-DA5B-40E8-8B58-22F68401CEFA}" dt="2025-02-05T08:36:38.766" v="1700" actId="2711"/>
          <ac:spMkLst>
            <pc:docMk/>
            <pc:sldMk cId="2129768714" sldId="2134805975"/>
            <ac:spMk id="18" creationId="{878627B9-0791-68B2-8DA4-02EE7AE62371}"/>
          </ac:spMkLst>
        </pc:spChg>
        <pc:spChg chg="add mod">
          <ac:chgData name="Laura Casadio" userId="66d3dc7e-795b-4a92-887c-7e990ee4a717" providerId="ADAL" clId="{A002E1BF-DA5B-40E8-8B58-22F68401CEFA}" dt="2025-02-05T08:36:38.766" v="1700" actId="2711"/>
          <ac:spMkLst>
            <pc:docMk/>
            <pc:sldMk cId="2129768714" sldId="2134805975"/>
            <ac:spMk id="19" creationId="{DBCA78F3-70A9-BE0B-8977-ED3BE14D0D10}"/>
          </ac:spMkLst>
        </pc:spChg>
        <pc:spChg chg="add mod">
          <ac:chgData name="Laura Casadio" userId="66d3dc7e-795b-4a92-887c-7e990ee4a717" providerId="ADAL" clId="{A002E1BF-DA5B-40E8-8B58-22F68401CEFA}" dt="2025-02-05T08:36:38.766" v="1700" actId="2711"/>
          <ac:spMkLst>
            <pc:docMk/>
            <pc:sldMk cId="2129768714" sldId="2134805975"/>
            <ac:spMk id="20" creationId="{4532A52D-1BE2-307A-06F0-96FE0E329088}"/>
          </ac:spMkLst>
        </pc:spChg>
        <pc:spChg chg="mod">
          <ac:chgData name="Laura Casadio" userId="66d3dc7e-795b-4a92-887c-7e990ee4a717" providerId="ADAL" clId="{A002E1BF-DA5B-40E8-8B58-22F68401CEFA}" dt="2025-02-05T15:42:25.094" v="1857" actId="14100"/>
          <ac:spMkLst>
            <pc:docMk/>
            <pc:sldMk cId="2129768714" sldId="2134805975"/>
            <ac:spMk id="66" creationId="{E3D66219-C056-79DF-43B6-AD9C57CCEB15}"/>
          </ac:spMkLst>
        </pc:spChg>
        <pc:spChg chg="mod">
          <ac:chgData name="Laura Casadio" userId="66d3dc7e-795b-4a92-887c-7e990ee4a717" providerId="ADAL" clId="{A002E1BF-DA5B-40E8-8B58-22F68401CEFA}" dt="2025-02-05T13:32:29.021" v="1817" actId="20577"/>
          <ac:spMkLst>
            <pc:docMk/>
            <pc:sldMk cId="2129768714" sldId="2134805975"/>
            <ac:spMk id="71" creationId="{2AD15FC7-13C1-7EAF-160A-6AFB645E257B}"/>
          </ac:spMkLst>
        </pc:spChg>
        <pc:spChg chg="mod">
          <ac:chgData name="Laura Casadio" userId="66d3dc7e-795b-4a92-887c-7e990ee4a717" providerId="ADAL" clId="{A002E1BF-DA5B-40E8-8B58-22F68401CEFA}" dt="2025-02-05T15:42:32.302" v="1858" actId="1076"/>
          <ac:spMkLst>
            <pc:docMk/>
            <pc:sldMk cId="2129768714" sldId="2134805975"/>
            <ac:spMk id="73" creationId="{4FFBFA79-A448-EF20-411A-AAD17C0172F9}"/>
          </ac:spMkLst>
        </pc:spChg>
      </pc:sldChg>
      <pc:sldChg chg="addSp delSp modSp mod">
        <pc:chgData name="Laura Casadio" userId="66d3dc7e-795b-4a92-887c-7e990ee4a717" providerId="ADAL" clId="{A002E1BF-DA5B-40E8-8B58-22F68401CEFA}" dt="2025-02-07T11:41:42.708" v="1903" actId="20577"/>
        <pc:sldMkLst>
          <pc:docMk/>
          <pc:sldMk cId="3546854409" sldId="2134805976"/>
        </pc:sldMkLst>
        <pc:spChg chg="mod">
          <ac:chgData name="Laura Casadio" userId="66d3dc7e-795b-4a92-887c-7e990ee4a717" providerId="ADAL" clId="{A002E1BF-DA5B-40E8-8B58-22F68401CEFA}" dt="2025-02-04T13:16:07.893" v="1058" actId="14100"/>
          <ac:spMkLst>
            <pc:docMk/>
            <pc:sldMk cId="3546854409" sldId="2134805976"/>
            <ac:spMk id="3" creationId="{F2A53B5D-84D0-7C03-4003-32B46816EB75}"/>
          </ac:spMkLst>
        </pc:spChg>
        <pc:spChg chg="mod">
          <ac:chgData name="Laura Casadio" userId="66d3dc7e-795b-4a92-887c-7e990ee4a717" providerId="ADAL" clId="{A002E1BF-DA5B-40E8-8B58-22F68401CEFA}" dt="2025-02-04T13:15:46.855" v="1057" actId="1076"/>
          <ac:spMkLst>
            <pc:docMk/>
            <pc:sldMk cId="3546854409" sldId="2134805976"/>
            <ac:spMk id="5" creationId="{348DC8FD-AA96-A5D1-C9E2-8164D78A9707}"/>
          </ac:spMkLst>
        </pc:spChg>
        <pc:spChg chg="mod">
          <ac:chgData name="Laura Casadio" userId="66d3dc7e-795b-4a92-887c-7e990ee4a717" providerId="ADAL" clId="{A002E1BF-DA5B-40E8-8B58-22F68401CEFA}" dt="2025-02-04T09:35:46.718" v="45" actId="20577"/>
          <ac:spMkLst>
            <pc:docMk/>
            <pc:sldMk cId="3546854409" sldId="2134805976"/>
            <ac:spMk id="10" creationId="{4AC399DE-D4E4-C4AF-59E7-215433152576}"/>
          </ac:spMkLst>
        </pc:spChg>
        <pc:spChg chg="add mod">
          <ac:chgData name="Laura Casadio" userId="66d3dc7e-795b-4a92-887c-7e990ee4a717" providerId="ADAL" clId="{A002E1BF-DA5B-40E8-8B58-22F68401CEFA}" dt="2025-02-07T11:41:42.708" v="1903" actId="20577"/>
          <ac:spMkLst>
            <pc:docMk/>
            <pc:sldMk cId="3546854409" sldId="2134805976"/>
            <ac:spMk id="18" creationId="{F355C05F-B0EE-04A7-195A-B56483D8E056}"/>
          </ac:spMkLst>
        </pc:spChg>
        <pc:spChg chg="add mod">
          <ac:chgData name="Laura Casadio" userId="66d3dc7e-795b-4a92-887c-7e990ee4a717" providerId="ADAL" clId="{A002E1BF-DA5B-40E8-8B58-22F68401CEFA}" dt="2025-02-05T08:35:55.543" v="1697" actId="2711"/>
          <ac:spMkLst>
            <pc:docMk/>
            <pc:sldMk cId="3546854409" sldId="2134805976"/>
            <ac:spMk id="26" creationId="{6A6D65D2-5108-D171-531A-37D1A01308FE}"/>
          </ac:spMkLst>
        </pc:spChg>
        <pc:spChg chg="add mod">
          <ac:chgData name="Laura Casadio" userId="66d3dc7e-795b-4a92-887c-7e990ee4a717" providerId="ADAL" clId="{A002E1BF-DA5B-40E8-8B58-22F68401CEFA}" dt="2025-02-05T08:35:55.543" v="1697" actId="2711"/>
          <ac:spMkLst>
            <pc:docMk/>
            <pc:sldMk cId="3546854409" sldId="2134805976"/>
            <ac:spMk id="27" creationId="{7B056E59-BC08-4318-3864-1F578096A608}"/>
          </ac:spMkLst>
        </pc:spChg>
        <pc:spChg chg="add mod">
          <ac:chgData name="Laura Casadio" userId="66d3dc7e-795b-4a92-887c-7e990ee4a717" providerId="ADAL" clId="{A002E1BF-DA5B-40E8-8B58-22F68401CEFA}" dt="2025-02-05T08:35:55.543" v="1697" actId="2711"/>
          <ac:spMkLst>
            <pc:docMk/>
            <pc:sldMk cId="3546854409" sldId="2134805976"/>
            <ac:spMk id="28" creationId="{E60AFB76-E8B6-F37B-7D06-B351317C8EE7}"/>
          </ac:spMkLst>
        </pc:spChg>
        <pc:spChg chg="add mod">
          <ac:chgData name="Laura Casadio" userId="66d3dc7e-795b-4a92-887c-7e990ee4a717" providerId="ADAL" clId="{A002E1BF-DA5B-40E8-8B58-22F68401CEFA}" dt="2025-02-05T08:35:55.543" v="1697" actId="2711"/>
          <ac:spMkLst>
            <pc:docMk/>
            <pc:sldMk cId="3546854409" sldId="2134805976"/>
            <ac:spMk id="29" creationId="{8E37EBFC-F1ED-BBD1-7E83-95B1546A8835}"/>
          </ac:spMkLst>
        </pc:spChg>
        <pc:spChg chg="add mod">
          <ac:chgData name="Laura Casadio" userId="66d3dc7e-795b-4a92-887c-7e990ee4a717" providerId="ADAL" clId="{A002E1BF-DA5B-40E8-8B58-22F68401CEFA}" dt="2025-02-05T08:35:55.543" v="1697" actId="2711"/>
          <ac:spMkLst>
            <pc:docMk/>
            <pc:sldMk cId="3546854409" sldId="2134805976"/>
            <ac:spMk id="30" creationId="{BB60C2C2-344E-192B-20D2-159F6943468C}"/>
          </ac:spMkLst>
        </pc:spChg>
        <pc:spChg chg="add mod">
          <ac:chgData name="Laura Casadio" userId="66d3dc7e-795b-4a92-887c-7e990ee4a717" providerId="ADAL" clId="{A002E1BF-DA5B-40E8-8B58-22F68401CEFA}" dt="2025-02-05T08:35:55.543" v="1697" actId="2711"/>
          <ac:spMkLst>
            <pc:docMk/>
            <pc:sldMk cId="3546854409" sldId="2134805976"/>
            <ac:spMk id="31" creationId="{1C2B7B96-AFD8-87CC-2286-B167B487525B}"/>
          </ac:spMkLst>
        </pc:spChg>
        <pc:spChg chg="add mod">
          <ac:chgData name="Laura Casadio" userId="66d3dc7e-795b-4a92-887c-7e990ee4a717" providerId="ADAL" clId="{A002E1BF-DA5B-40E8-8B58-22F68401CEFA}" dt="2025-02-05T08:35:55.543" v="1697" actId="2711"/>
          <ac:spMkLst>
            <pc:docMk/>
            <pc:sldMk cId="3546854409" sldId="2134805976"/>
            <ac:spMk id="32" creationId="{6CF40186-CC54-B626-2FAE-FB82C8473FC6}"/>
          </ac:spMkLst>
        </pc:spChg>
        <pc:spChg chg="add mod">
          <ac:chgData name="Laura Casadio" userId="66d3dc7e-795b-4a92-887c-7e990ee4a717" providerId="ADAL" clId="{A002E1BF-DA5B-40E8-8B58-22F68401CEFA}" dt="2025-02-05T08:35:55.543" v="1697" actId="2711"/>
          <ac:spMkLst>
            <pc:docMk/>
            <pc:sldMk cId="3546854409" sldId="2134805976"/>
            <ac:spMk id="33" creationId="{B1441AE2-53BF-1638-F9C1-C28A604F3ABE}"/>
          </ac:spMkLst>
        </pc:spChg>
        <pc:spChg chg="add mod">
          <ac:chgData name="Laura Casadio" userId="66d3dc7e-795b-4a92-887c-7e990ee4a717" providerId="ADAL" clId="{A002E1BF-DA5B-40E8-8B58-22F68401CEFA}" dt="2025-02-05T08:35:55.543" v="1697" actId="2711"/>
          <ac:spMkLst>
            <pc:docMk/>
            <pc:sldMk cId="3546854409" sldId="2134805976"/>
            <ac:spMk id="34" creationId="{CCFA02BA-3554-665E-D7AB-2BFAFF68100D}"/>
          </ac:spMkLst>
        </pc:spChg>
        <pc:spChg chg="add mod">
          <ac:chgData name="Laura Casadio" userId="66d3dc7e-795b-4a92-887c-7e990ee4a717" providerId="ADAL" clId="{A002E1BF-DA5B-40E8-8B58-22F68401CEFA}" dt="2025-02-05T08:35:55.543" v="1697" actId="2711"/>
          <ac:spMkLst>
            <pc:docMk/>
            <pc:sldMk cId="3546854409" sldId="2134805976"/>
            <ac:spMk id="35" creationId="{0704FA1A-5BEF-9486-3823-022773B51449}"/>
          </ac:spMkLst>
        </pc:spChg>
        <pc:spChg chg="add mod">
          <ac:chgData name="Laura Casadio" userId="66d3dc7e-795b-4a92-887c-7e990ee4a717" providerId="ADAL" clId="{A002E1BF-DA5B-40E8-8B58-22F68401CEFA}" dt="2025-02-05T08:35:55.543" v="1697" actId="2711"/>
          <ac:spMkLst>
            <pc:docMk/>
            <pc:sldMk cId="3546854409" sldId="2134805976"/>
            <ac:spMk id="36" creationId="{B364CF69-E157-F154-73C2-4B6503FAD169}"/>
          </ac:spMkLst>
        </pc:spChg>
        <pc:spChg chg="mod">
          <ac:chgData name="Laura Casadio" userId="66d3dc7e-795b-4a92-887c-7e990ee4a717" providerId="ADAL" clId="{A002E1BF-DA5B-40E8-8B58-22F68401CEFA}" dt="2025-02-04T09:49:42.171" v="167" actId="255"/>
          <ac:spMkLst>
            <pc:docMk/>
            <pc:sldMk cId="3546854409" sldId="2134805976"/>
            <ac:spMk id="70" creationId="{806B8040-186A-DF35-242B-F6AD41CEFC9B}"/>
          </ac:spMkLst>
        </pc:spChg>
        <pc:picChg chg="add mod">
          <ac:chgData name="Laura Casadio" userId="66d3dc7e-795b-4a92-887c-7e990ee4a717" providerId="ADAL" clId="{A002E1BF-DA5B-40E8-8B58-22F68401CEFA}" dt="2025-02-04T13:18:10.773" v="1082" actId="1076"/>
          <ac:picMkLst>
            <pc:docMk/>
            <pc:sldMk cId="3546854409" sldId="2134805976"/>
            <ac:picMk id="21" creationId="{D376ED00-368C-A0F3-1982-5D96385335DD}"/>
          </ac:picMkLst>
        </pc:picChg>
        <pc:picChg chg="add mod">
          <ac:chgData name="Laura Casadio" userId="66d3dc7e-795b-4a92-887c-7e990ee4a717" providerId="ADAL" clId="{A002E1BF-DA5B-40E8-8B58-22F68401CEFA}" dt="2025-02-04T13:18:15.966" v="1084" actId="1076"/>
          <ac:picMkLst>
            <pc:docMk/>
            <pc:sldMk cId="3546854409" sldId="2134805976"/>
            <ac:picMk id="23" creationId="{39B6273F-E08B-F715-339C-B82E32E52979}"/>
          </ac:picMkLst>
        </pc:picChg>
      </pc:sldChg>
      <pc:sldChg chg="addSp delSp modSp mod">
        <pc:chgData name="Laura Casadio" userId="66d3dc7e-795b-4a92-887c-7e990ee4a717" providerId="ADAL" clId="{A002E1BF-DA5B-40E8-8B58-22F68401CEFA}" dt="2025-02-10T16:33:12.487" v="2244" actId="20577"/>
        <pc:sldMkLst>
          <pc:docMk/>
          <pc:sldMk cId="1005058865" sldId="2134805977"/>
        </pc:sldMkLst>
        <pc:spChg chg="mod">
          <ac:chgData name="Laura Casadio" userId="66d3dc7e-795b-4a92-887c-7e990ee4a717" providerId="ADAL" clId="{A002E1BF-DA5B-40E8-8B58-22F68401CEFA}" dt="2025-02-10T16:33:12.487" v="2244" actId="20577"/>
          <ac:spMkLst>
            <pc:docMk/>
            <pc:sldMk cId="1005058865" sldId="2134805977"/>
            <ac:spMk id="5" creationId="{CD77C823-4212-562D-9818-BB3A5BF9E5E5}"/>
          </ac:spMkLst>
        </pc:spChg>
        <pc:spChg chg="add mod">
          <ac:chgData name="Laura Casadio" userId="66d3dc7e-795b-4a92-887c-7e990ee4a717" providerId="ADAL" clId="{A002E1BF-DA5B-40E8-8B58-22F68401CEFA}" dt="2025-02-10T16:32:28.981" v="2225" actId="1076"/>
          <ac:spMkLst>
            <pc:docMk/>
            <pc:sldMk cId="1005058865" sldId="2134805977"/>
            <ac:spMk id="7" creationId="{2E995693-47C1-0A34-F32F-236EA1524FC5}"/>
          </ac:spMkLst>
        </pc:spChg>
        <pc:spChg chg="add mod">
          <ac:chgData name="Laura Casadio" userId="66d3dc7e-795b-4a92-887c-7e990ee4a717" providerId="ADAL" clId="{A002E1BF-DA5B-40E8-8B58-22F68401CEFA}" dt="2025-02-10T16:32:28.981" v="2225" actId="1076"/>
          <ac:spMkLst>
            <pc:docMk/>
            <pc:sldMk cId="1005058865" sldId="2134805977"/>
            <ac:spMk id="10" creationId="{D7B099B0-2991-CE04-F7E5-95282FF17D5A}"/>
          </ac:spMkLst>
        </pc:spChg>
        <pc:spChg chg="add mod">
          <ac:chgData name="Laura Casadio" userId="66d3dc7e-795b-4a92-887c-7e990ee4a717" providerId="ADAL" clId="{A002E1BF-DA5B-40E8-8B58-22F68401CEFA}" dt="2025-02-10T16:32:28.981" v="2225" actId="1076"/>
          <ac:spMkLst>
            <pc:docMk/>
            <pc:sldMk cId="1005058865" sldId="2134805977"/>
            <ac:spMk id="12" creationId="{0909BFDD-3758-2E28-D7C7-3A3621E849CE}"/>
          </ac:spMkLst>
        </pc:spChg>
        <pc:spChg chg="add mod">
          <ac:chgData name="Laura Casadio" userId="66d3dc7e-795b-4a92-887c-7e990ee4a717" providerId="ADAL" clId="{A002E1BF-DA5B-40E8-8B58-22F68401CEFA}" dt="2025-02-10T16:32:33.543" v="2226" actId="14100"/>
          <ac:spMkLst>
            <pc:docMk/>
            <pc:sldMk cId="1005058865" sldId="2134805977"/>
            <ac:spMk id="13" creationId="{2038051F-B4C5-BC20-A19A-C1E4609913EF}"/>
          </ac:spMkLst>
        </pc:spChg>
        <pc:spChg chg="add mod">
          <ac:chgData name="Laura Casadio" userId="66d3dc7e-795b-4a92-887c-7e990ee4a717" providerId="ADAL" clId="{A002E1BF-DA5B-40E8-8B58-22F68401CEFA}" dt="2025-02-10T16:31:45.363" v="2219" actId="1076"/>
          <ac:spMkLst>
            <pc:docMk/>
            <pc:sldMk cId="1005058865" sldId="2134805977"/>
            <ac:spMk id="14" creationId="{65888CCB-5B59-38CD-3AA3-896E445D14F8}"/>
          </ac:spMkLst>
        </pc:spChg>
        <pc:spChg chg="add mod">
          <ac:chgData name="Laura Casadio" userId="66d3dc7e-795b-4a92-887c-7e990ee4a717" providerId="ADAL" clId="{A002E1BF-DA5B-40E8-8B58-22F68401CEFA}" dt="2025-02-10T16:31:45.363" v="2219" actId="1076"/>
          <ac:spMkLst>
            <pc:docMk/>
            <pc:sldMk cId="1005058865" sldId="2134805977"/>
            <ac:spMk id="15" creationId="{C1E316CC-DEC5-E582-7531-1A35EAA15FE4}"/>
          </ac:spMkLst>
        </pc:spChg>
        <pc:spChg chg="add mod">
          <ac:chgData name="Laura Casadio" userId="66d3dc7e-795b-4a92-887c-7e990ee4a717" providerId="ADAL" clId="{A002E1BF-DA5B-40E8-8B58-22F68401CEFA}" dt="2025-02-10T16:31:45.363" v="2219" actId="1076"/>
          <ac:spMkLst>
            <pc:docMk/>
            <pc:sldMk cId="1005058865" sldId="2134805977"/>
            <ac:spMk id="16" creationId="{2C945890-94DC-3A8C-6912-239AACE3E129}"/>
          </ac:spMkLst>
        </pc:spChg>
        <pc:spChg chg="add mod">
          <ac:chgData name="Laura Casadio" userId="66d3dc7e-795b-4a92-887c-7e990ee4a717" providerId="ADAL" clId="{A002E1BF-DA5B-40E8-8B58-22F68401CEFA}" dt="2025-02-10T16:31:45.363" v="2219" actId="1076"/>
          <ac:spMkLst>
            <pc:docMk/>
            <pc:sldMk cId="1005058865" sldId="2134805977"/>
            <ac:spMk id="17" creationId="{36FFB85C-44C5-7566-13CC-DBC4EBFCE7E4}"/>
          </ac:spMkLst>
        </pc:spChg>
        <pc:spChg chg="add mod">
          <ac:chgData name="Laura Casadio" userId="66d3dc7e-795b-4a92-887c-7e990ee4a717" providerId="ADAL" clId="{A002E1BF-DA5B-40E8-8B58-22F68401CEFA}" dt="2025-02-10T16:31:45.363" v="2219" actId="1076"/>
          <ac:spMkLst>
            <pc:docMk/>
            <pc:sldMk cId="1005058865" sldId="2134805977"/>
            <ac:spMk id="18" creationId="{19C9EBC3-B88F-D176-917C-58AFD6164B83}"/>
          </ac:spMkLst>
        </pc:spChg>
        <pc:spChg chg="add mod">
          <ac:chgData name="Laura Casadio" userId="66d3dc7e-795b-4a92-887c-7e990ee4a717" providerId="ADAL" clId="{A002E1BF-DA5B-40E8-8B58-22F68401CEFA}" dt="2025-02-10T16:31:45.363" v="2219" actId="1076"/>
          <ac:spMkLst>
            <pc:docMk/>
            <pc:sldMk cId="1005058865" sldId="2134805977"/>
            <ac:spMk id="19" creationId="{B99D296E-9ED5-0EB3-2193-CE604BD1755B}"/>
          </ac:spMkLst>
        </pc:spChg>
        <pc:spChg chg="add mod">
          <ac:chgData name="Laura Casadio" userId="66d3dc7e-795b-4a92-887c-7e990ee4a717" providerId="ADAL" clId="{A002E1BF-DA5B-40E8-8B58-22F68401CEFA}" dt="2025-02-10T16:31:45.363" v="2219" actId="1076"/>
          <ac:spMkLst>
            <pc:docMk/>
            <pc:sldMk cId="1005058865" sldId="2134805977"/>
            <ac:spMk id="20" creationId="{D8CEB08C-6488-8809-D7AD-701C4E23F0DA}"/>
          </ac:spMkLst>
        </pc:spChg>
        <pc:spChg chg="add mod">
          <ac:chgData name="Laura Casadio" userId="66d3dc7e-795b-4a92-887c-7e990ee4a717" providerId="ADAL" clId="{A002E1BF-DA5B-40E8-8B58-22F68401CEFA}" dt="2025-02-10T16:31:45.363" v="2219" actId="1076"/>
          <ac:spMkLst>
            <pc:docMk/>
            <pc:sldMk cId="1005058865" sldId="2134805977"/>
            <ac:spMk id="21" creationId="{C9D1CC8C-F76C-2070-7CA7-E2EBC309C125}"/>
          </ac:spMkLst>
        </pc:spChg>
        <pc:spChg chg="add mod">
          <ac:chgData name="Laura Casadio" userId="66d3dc7e-795b-4a92-887c-7e990ee4a717" providerId="ADAL" clId="{A002E1BF-DA5B-40E8-8B58-22F68401CEFA}" dt="2025-02-10T16:33:01.617" v="2240" actId="1076"/>
          <ac:spMkLst>
            <pc:docMk/>
            <pc:sldMk cId="1005058865" sldId="2134805977"/>
            <ac:spMk id="25" creationId="{055ECDC4-C58E-0EB0-2387-B6A63E6A4F32}"/>
          </ac:spMkLst>
        </pc:spChg>
        <pc:spChg chg="mod">
          <ac:chgData name="Laura Casadio" userId="66d3dc7e-795b-4a92-887c-7e990ee4a717" providerId="ADAL" clId="{A002E1BF-DA5B-40E8-8B58-22F68401CEFA}" dt="2025-02-10T16:31:25.391" v="2213" actId="14100"/>
          <ac:spMkLst>
            <pc:docMk/>
            <pc:sldMk cId="1005058865" sldId="2134805977"/>
            <ac:spMk id="54" creationId="{4568DC2C-13A6-CFBF-4D07-7EF0F6B00876}"/>
          </ac:spMkLst>
        </pc:spChg>
        <pc:spChg chg="add del mod">
          <ac:chgData name="Laura Casadio" userId="66d3dc7e-795b-4a92-887c-7e990ee4a717" providerId="ADAL" clId="{A002E1BF-DA5B-40E8-8B58-22F68401CEFA}" dt="2025-02-10T16:31:06.835" v="2210" actId="478"/>
          <ac:spMkLst>
            <pc:docMk/>
            <pc:sldMk cId="1005058865" sldId="2134805977"/>
            <ac:spMk id="71" creationId="{2AD15FC7-13C1-7EAF-160A-6AFB645E257B}"/>
          </ac:spMkLst>
        </pc:spChg>
        <pc:picChg chg="add mod">
          <ac:chgData name="Laura Casadio" userId="66d3dc7e-795b-4a92-887c-7e990ee4a717" providerId="ADAL" clId="{A002E1BF-DA5B-40E8-8B58-22F68401CEFA}" dt="2025-02-10T16:32:28.981" v="2225" actId="1076"/>
          <ac:picMkLst>
            <pc:docMk/>
            <pc:sldMk cId="1005058865" sldId="2134805977"/>
            <ac:picMk id="6" creationId="{3ED7EBE3-DD29-6B51-CC8C-95E3732DCE37}"/>
          </ac:picMkLst>
        </pc:picChg>
        <pc:picChg chg="add mod">
          <ac:chgData name="Laura Casadio" userId="66d3dc7e-795b-4a92-887c-7e990ee4a717" providerId="ADAL" clId="{A002E1BF-DA5B-40E8-8B58-22F68401CEFA}" dt="2025-02-10T16:32:45.735" v="2230" actId="1076"/>
          <ac:picMkLst>
            <pc:docMk/>
            <pc:sldMk cId="1005058865" sldId="2134805977"/>
            <ac:picMk id="24" creationId="{14D1DB47-4B19-4C3B-BB6E-2256DE70B102}"/>
          </ac:picMkLst>
        </pc:picChg>
      </pc:sldChg>
      <pc:sldChg chg="del">
        <pc:chgData name="Laura Casadio" userId="66d3dc7e-795b-4a92-887c-7e990ee4a717" providerId="ADAL" clId="{A002E1BF-DA5B-40E8-8B58-22F68401CEFA}" dt="2025-02-04T09:41:12.108" v="96" actId="2696"/>
        <pc:sldMkLst>
          <pc:docMk/>
          <pc:sldMk cId="408676665" sldId="2134805978"/>
        </pc:sldMkLst>
      </pc:sldChg>
      <pc:sldChg chg="addSp delSp modSp mod ord">
        <pc:chgData name="Laura Casadio" userId="66d3dc7e-795b-4a92-887c-7e990ee4a717" providerId="ADAL" clId="{A002E1BF-DA5B-40E8-8B58-22F68401CEFA}" dt="2025-02-10T13:23:41.342" v="1909" actId="478"/>
        <pc:sldMkLst>
          <pc:docMk/>
          <pc:sldMk cId="2364281794" sldId="2134805979"/>
        </pc:sldMkLst>
        <pc:spChg chg="add mod">
          <ac:chgData name="Laura Casadio" userId="66d3dc7e-795b-4a92-887c-7e990ee4a717" providerId="ADAL" clId="{A002E1BF-DA5B-40E8-8B58-22F68401CEFA}" dt="2025-02-05T08:38:49.769" v="1716" actId="2711"/>
          <ac:spMkLst>
            <pc:docMk/>
            <pc:sldMk cId="2364281794" sldId="2134805979"/>
            <ac:spMk id="5" creationId="{C2EC2384-6CFA-EFCE-6EA8-2EF1C61E60C6}"/>
          </ac:spMkLst>
        </pc:spChg>
        <pc:spChg chg="add mod">
          <ac:chgData name="Laura Casadio" userId="66d3dc7e-795b-4a92-887c-7e990ee4a717" providerId="ADAL" clId="{A002E1BF-DA5B-40E8-8B58-22F68401CEFA}" dt="2025-02-05T08:38:49.769" v="1716" actId="2711"/>
          <ac:spMkLst>
            <pc:docMk/>
            <pc:sldMk cId="2364281794" sldId="2134805979"/>
            <ac:spMk id="9" creationId="{2B2BC842-20B8-3A9F-DEDC-0FCF2AAB2A5B}"/>
          </ac:spMkLst>
        </pc:spChg>
        <pc:spChg chg="mod">
          <ac:chgData name="Laura Casadio" userId="66d3dc7e-795b-4a92-887c-7e990ee4a717" providerId="ADAL" clId="{A002E1BF-DA5B-40E8-8B58-22F68401CEFA}" dt="2025-02-04T09:44:41.535" v="119" actId="20577"/>
          <ac:spMkLst>
            <pc:docMk/>
            <pc:sldMk cId="2364281794" sldId="2134805979"/>
            <ac:spMk id="10" creationId="{4AC399DE-D4E4-C4AF-59E7-215433152576}"/>
          </ac:spMkLst>
        </pc:spChg>
        <pc:spChg chg="add mod">
          <ac:chgData name="Laura Casadio" userId="66d3dc7e-795b-4a92-887c-7e990ee4a717" providerId="ADAL" clId="{A002E1BF-DA5B-40E8-8B58-22F68401CEFA}" dt="2025-02-05T08:38:49.769" v="1716" actId="2711"/>
          <ac:spMkLst>
            <pc:docMk/>
            <pc:sldMk cId="2364281794" sldId="2134805979"/>
            <ac:spMk id="12" creationId="{8104ACB1-5F29-09AB-4527-8EACD2F2C399}"/>
          </ac:spMkLst>
        </pc:spChg>
        <pc:spChg chg="add mod">
          <ac:chgData name="Laura Casadio" userId="66d3dc7e-795b-4a92-887c-7e990ee4a717" providerId="ADAL" clId="{A002E1BF-DA5B-40E8-8B58-22F68401CEFA}" dt="2025-02-05T08:38:49.769" v="1716" actId="2711"/>
          <ac:spMkLst>
            <pc:docMk/>
            <pc:sldMk cId="2364281794" sldId="2134805979"/>
            <ac:spMk id="14" creationId="{A784AE07-A3E2-0B65-9640-DB486D1163D3}"/>
          </ac:spMkLst>
        </pc:spChg>
        <pc:spChg chg="add mod">
          <ac:chgData name="Laura Casadio" userId="66d3dc7e-795b-4a92-887c-7e990ee4a717" providerId="ADAL" clId="{A002E1BF-DA5B-40E8-8B58-22F68401CEFA}" dt="2025-02-05T08:38:49.769" v="1716" actId="2711"/>
          <ac:spMkLst>
            <pc:docMk/>
            <pc:sldMk cId="2364281794" sldId="2134805979"/>
            <ac:spMk id="15" creationId="{A36CABAC-9262-EAC8-4CE5-B2DE2C981329}"/>
          </ac:spMkLst>
        </pc:spChg>
        <pc:spChg chg="add mod">
          <ac:chgData name="Laura Casadio" userId="66d3dc7e-795b-4a92-887c-7e990ee4a717" providerId="ADAL" clId="{A002E1BF-DA5B-40E8-8B58-22F68401CEFA}" dt="2025-02-05T08:38:49.769" v="1716" actId="2711"/>
          <ac:spMkLst>
            <pc:docMk/>
            <pc:sldMk cId="2364281794" sldId="2134805979"/>
            <ac:spMk id="16" creationId="{E429BA8F-4FDB-42AA-DDB3-4E785B6CB7C3}"/>
          </ac:spMkLst>
        </pc:spChg>
        <pc:spChg chg="add mod">
          <ac:chgData name="Laura Casadio" userId="66d3dc7e-795b-4a92-887c-7e990ee4a717" providerId="ADAL" clId="{A002E1BF-DA5B-40E8-8B58-22F68401CEFA}" dt="2025-02-04T14:42:23.173" v="1540" actId="1076"/>
          <ac:spMkLst>
            <pc:docMk/>
            <pc:sldMk cId="2364281794" sldId="2134805979"/>
            <ac:spMk id="17" creationId="{155700E6-B229-4050-E335-54C819A32897}"/>
          </ac:spMkLst>
        </pc:spChg>
        <pc:spChg chg="add mod">
          <ac:chgData name="Laura Casadio" userId="66d3dc7e-795b-4a92-887c-7e990ee4a717" providerId="ADAL" clId="{A002E1BF-DA5B-40E8-8B58-22F68401CEFA}" dt="2025-02-04T14:42:23.173" v="1540" actId="1076"/>
          <ac:spMkLst>
            <pc:docMk/>
            <pc:sldMk cId="2364281794" sldId="2134805979"/>
            <ac:spMk id="18" creationId="{1EEFDDCA-19D3-174E-A5AA-67067AA2262F}"/>
          </ac:spMkLst>
        </pc:spChg>
        <pc:spChg chg="mod">
          <ac:chgData name="Laura Casadio" userId="66d3dc7e-795b-4a92-887c-7e990ee4a717" providerId="ADAL" clId="{A002E1BF-DA5B-40E8-8B58-22F68401CEFA}" dt="2025-02-05T15:54:05.910" v="1890" actId="20577"/>
          <ac:spMkLst>
            <pc:docMk/>
            <pc:sldMk cId="2364281794" sldId="2134805979"/>
            <ac:spMk id="70" creationId="{806B8040-186A-DF35-242B-F6AD41CEFC9B}"/>
          </ac:spMkLst>
        </pc:spChg>
        <pc:spChg chg="mod">
          <ac:chgData name="Laura Casadio" userId="66d3dc7e-795b-4a92-887c-7e990ee4a717" providerId="ADAL" clId="{A002E1BF-DA5B-40E8-8B58-22F68401CEFA}" dt="2025-02-04T09:52:47.590" v="197" actId="403"/>
          <ac:spMkLst>
            <pc:docMk/>
            <pc:sldMk cId="2364281794" sldId="2134805979"/>
            <ac:spMk id="71" creationId="{2AD15FC7-13C1-7EAF-160A-6AFB645E257B}"/>
          </ac:spMkLst>
        </pc:spChg>
        <pc:picChg chg="mod">
          <ac:chgData name="Laura Casadio" userId="66d3dc7e-795b-4a92-887c-7e990ee4a717" providerId="ADAL" clId="{A002E1BF-DA5B-40E8-8B58-22F68401CEFA}" dt="2025-02-04T14:42:23.173" v="1540" actId="1076"/>
          <ac:picMkLst>
            <pc:docMk/>
            <pc:sldMk cId="2364281794" sldId="2134805979"/>
            <ac:picMk id="38" creationId="{32F63A19-6B03-0F56-A590-8AC067DAA236}"/>
          </ac:picMkLst>
        </pc:picChg>
      </pc:sldChg>
      <pc:sldChg chg="addSp delSp modSp mod setBg">
        <pc:chgData name="Laura Casadio" userId="66d3dc7e-795b-4a92-887c-7e990ee4a717" providerId="ADAL" clId="{A002E1BF-DA5B-40E8-8B58-22F68401CEFA}" dt="2025-02-05T08:39:15.099" v="1719" actId="2711"/>
        <pc:sldMkLst>
          <pc:docMk/>
          <pc:sldMk cId="3964233397" sldId="2134805980"/>
        </pc:sldMkLst>
        <pc:spChg chg="mod">
          <ac:chgData name="Laura Casadio" userId="66d3dc7e-795b-4a92-887c-7e990ee4a717" providerId="ADAL" clId="{A002E1BF-DA5B-40E8-8B58-22F68401CEFA}" dt="2025-02-04T10:58:30.027" v="249" actId="14100"/>
          <ac:spMkLst>
            <pc:docMk/>
            <pc:sldMk cId="3964233397" sldId="2134805980"/>
            <ac:spMk id="9" creationId="{9994BE79-D2E0-7843-0C00-0CA2F19A5A70}"/>
          </ac:spMkLst>
        </pc:spChg>
        <pc:spChg chg="mod">
          <ac:chgData name="Laura Casadio" userId="66d3dc7e-795b-4a92-887c-7e990ee4a717" providerId="ADAL" clId="{A002E1BF-DA5B-40E8-8B58-22F68401CEFA}" dt="2025-02-04T10:58:33.968" v="250" actId="14100"/>
          <ac:spMkLst>
            <pc:docMk/>
            <pc:sldMk cId="3964233397" sldId="2134805980"/>
            <ac:spMk id="10" creationId="{4AC399DE-D4E4-C4AF-59E7-215433152576}"/>
          </ac:spMkLst>
        </pc:spChg>
        <pc:spChg chg="mod ord">
          <ac:chgData name="Laura Casadio" userId="66d3dc7e-795b-4a92-887c-7e990ee4a717" providerId="ADAL" clId="{A002E1BF-DA5B-40E8-8B58-22F68401CEFA}" dt="2025-02-04T14:48:38.309" v="1608" actId="167"/>
          <ac:spMkLst>
            <pc:docMk/>
            <pc:sldMk cId="3964233397" sldId="2134805980"/>
            <ac:spMk id="11" creationId="{98392D4A-E041-7E1F-EF3D-6CB99BC30EA3}"/>
          </ac:spMkLst>
        </pc:spChg>
        <pc:spChg chg="add mod">
          <ac:chgData name="Laura Casadio" userId="66d3dc7e-795b-4a92-887c-7e990ee4a717" providerId="ADAL" clId="{A002E1BF-DA5B-40E8-8B58-22F68401CEFA}" dt="2025-02-05T08:39:15.099" v="1719" actId="2711"/>
          <ac:spMkLst>
            <pc:docMk/>
            <pc:sldMk cId="3964233397" sldId="2134805980"/>
            <ac:spMk id="14" creationId="{1D365FCA-CD1B-9B70-F8CF-510929DD1237}"/>
          </ac:spMkLst>
        </pc:spChg>
        <pc:spChg chg="add mod">
          <ac:chgData name="Laura Casadio" userId="66d3dc7e-795b-4a92-887c-7e990ee4a717" providerId="ADAL" clId="{A002E1BF-DA5B-40E8-8B58-22F68401CEFA}" dt="2025-02-05T08:39:15.099" v="1719" actId="2711"/>
          <ac:spMkLst>
            <pc:docMk/>
            <pc:sldMk cId="3964233397" sldId="2134805980"/>
            <ac:spMk id="16" creationId="{F6660846-EEAB-3357-4467-D5046D08C238}"/>
          </ac:spMkLst>
        </pc:spChg>
        <pc:spChg chg="add mod">
          <ac:chgData name="Laura Casadio" userId="66d3dc7e-795b-4a92-887c-7e990ee4a717" providerId="ADAL" clId="{A002E1BF-DA5B-40E8-8B58-22F68401CEFA}" dt="2025-02-05T08:39:15.099" v="1719" actId="2711"/>
          <ac:spMkLst>
            <pc:docMk/>
            <pc:sldMk cId="3964233397" sldId="2134805980"/>
            <ac:spMk id="20" creationId="{4DF470D2-A451-2DA4-C8B9-80CAD037405B}"/>
          </ac:spMkLst>
        </pc:spChg>
        <pc:spChg chg="add mod">
          <ac:chgData name="Laura Casadio" userId="66d3dc7e-795b-4a92-887c-7e990ee4a717" providerId="ADAL" clId="{A002E1BF-DA5B-40E8-8B58-22F68401CEFA}" dt="2025-02-05T08:39:15.099" v="1719" actId="2711"/>
          <ac:spMkLst>
            <pc:docMk/>
            <pc:sldMk cId="3964233397" sldId="2134805980"/>
            <ac:spMk id="21" creationId="{4F0BFE79-AD9B-3204-27A2-EFA8F2511BB2}"/>
          </ac:spMkLst>
        </pc:spChg>
        <pc:spChg chg="add mod">
          <ac:chgData name="Laura Casadio" userId="66d3dc7e-795b-4a92-887c-7e990ee4a717" providerId="ADAL" clId="{A002E1BF-DA5B-40E8-8B58-22F68401CEFA}" dt="2025-02-05T08:39:15.099" v="1719" actId="2711"/>
          <ac:spMkLst>
            <pc:docMk/>
            <pc:sldMk cId="3964233397" sldId="2134805980"/>
            <ac:spMk id="22" creationId="{E4EBC5F8-92D0-DC4D-4DCD-E3B6B54F6131}"/>
          </ac:spMkLst>
        </pc:spChg>
        <pc:spChg chg="add mod">
          <ac:chgData name="Laura Casadio" userId="66d3dc7e-795b-4a92-887c-7e990ee4a717" providerId="ADAL" clId="{A002E1BF-DA5B-40E8-8B58-22F68401CEFA}" dt="2025-02-05T08:39:15.099" v="1719" actId="2711"/>
          <ac:spMkLst>
            <pc:docMk/>
            <pc:sldMk cId="3964233397" sldId="2134805980"/>
            <ac:spMk id="23" creationId="{65BDF182-7D91-99B2-7F58-E6DB6E153A5A}"/>
          </ac:spMkLst>
        </pc:spChg>
        <pc:spChg chg="add mod">
          <ac:chgData name="Laura Casadio" userId="66d3dc7e-795b-4a92-887c-7e990ee4a717" providerId="ADAL" clId="{A002E1BF-DA5B-40E8-8B58-22F68401CEFA}" dt="2025-02-05T08:39:15.099" v="1719" actId="2711"/>
          <ac:spMkLst>
            <pc:docMk/>
            <pc:sldMk cId="3964233397" sldId="2134805980"/>
            <ac:spMk id="24" creationId="{40E8D209-84A8-7DC6-8030-1E43A5C846C9}"/>
          </ac:spMkLst>
        </pc:spChg>
        <pc:spChg chg="add mod">
          <ac:chgData name="Laura Casadio" userId="66d3dc7e-795b-4a92-887c-7e990ee4a717" providerId="ADAL" clId="{A002E1BF-DA5B-40E8-8B58-22F68401CEFA}" dt="2025-02-05T08:39:15.099" v="1719" actId="2711"/>
          <ac:spMkLst>
            <pc:docMk/>
            <pc:sldMk cId="3964233397" sldId="2134805980"/>
            <ac:spMk id="25" creationId="{01DAC9CA-8E2D-A706-5416-D243E5B2B7F4}"/>
          </ac:spMkLst>
        </pc:spChg>
        <pc:spChg chg="add mod">
          <ac:chgData name="Laura Casadio" userId="66d3dc7e-795b-4a92-887c-7e990ee4a717" providerId="ADAL" clId="{A002E1BF-DA5B-40E8-8B58-22F68401CEFA}" dt="2025-02-05T08:39:15.099" v="1719" actId="2711"/>
          <ac:spMkLst>
            <pc:docMk/>
            <pc:sldMk cId="3964233397" sldId="2134805980"/>
            <ac:spMk id="26" creationId="{EB592C4B-A4BC-0FA7-F9C1-B4C2390F368B}"/>
          </ac:spMkLst>
        </pc:spChg>
        <pc:spChg chg="add mod">
          <ac:chgData name="Laura Casadio" userId="66d3dc7e-795b-4a92-887c-7e990ee4a717" providerId="ADAL" clId="{A002E1BF-DA5B-40E8-8B58-22F68401CEFA}" dt="2025-02-05T08:39:15.099" v="1719" actId="2711"/>
          <ac:spMkLst>
            <pc:docMk/>
            <pc:sldMk cId="3964233397" sldId="2134805980"/>
            <ac:spMk id="27" creationId="{F6033711-2BFC-C284-C58C-D52A02012F8F}"/>
          </ac:spMkLst>
        </pc:spChg>
        <pc:spChg chg="mod">
          <ac:chgData name="Laura Casadio" userId="66d3dc7e-795b-4a92-887c-7e990ee4a717" providerId="ADAL" clId="{A002E1BF-DA5B-40E8-8B58-22F68401CEFA}" dt="2025-02-04T10:57:14.655" v="227" actId="403"/>
          <ac:spMkLst>
            <pc:docMk/>
            <pc:sldMk cId="3964233397" sldId="2134805980"/>
            <ac:spMk id="70" creationId="{806B8040-186A-DF35-242B-F6AD41CEFC9B}"/>
          </ac:spMkLst>
        </pc:spChg>
        <pc:spChg chg="mod">
          <ac:chgData name="Laura Casadio" userId="66d3dc7e-795b-4a92-887c-7e990ee4a717" providerId="ADAL" clId="{A002E1BF-DA5B-40E8-8B58-22F68401CEFA}" dt="2025-02-04T10:59:14.298" v="270" actId="20577"/>
          <ac:spMkLst>
            <pc:docMk/>
            <pc:sldMk cId="3964233397" sldId="2134805980"/>
            <ac:spMk id="71" creationId="{2AD15FC7-13C1-7EAF-160A-6AFB645E257B}"/>
          </ac:spMkLst>
        </pc:spChg>
        <pc:picChg chg="mod">
          <ac:chgData name="Laura Casadio" userId="66d3dc7e-795b-4a92-887c-7e990ee4a717" providerId="ADAL" clId="{A002E1BF-DA5B-40E8-8B58-22F68401CEFA}" dt="2025-02-04T10:58:55.948" v="264" actId="1076"/>
          <ac:picMkLst>
            <pc:docMk/>
            <pc:sldMk cId="3964233397" sldId="2134805980"/>
            <ac:picMk id="3" creationId="{3137ACB8-AFCB-96A7-EAEC-CE5E418B1121}"/>
          </ac:picMkLst>
        </pc:picChg>
        <pc:picChg chg="add mod">
          <ac:chgData name="Laura Casadio" userId="66d3dc7e-795b-4a92-887c-7e990ee4a717" providerId="ADAL" clId="{A002E1BF-DA5B-40E8-8B58-22F68401CEFA}" dt="2025-02-04T10:58:55.948" v="264" actId="1076"/>
          <ac:picMkLst>
            <pc:docMk/>
            <pc:sldMk cId="3964233397" sldId="2134805980"/>
            <ac:picMk id="4" creationId="{472734A7-6F5B-25AF-0AB9-E2CC4B0D07CA}"/>
          </ac:picMkLst>
        </pc:picChg>
        <pc:picChg chg="mod">
          <ac:chgData name="Laura Casadio" userId="66d3dc7e-795b-4a92-887c-7e990ee4a717" providerId="ADAL" clId="{A002E1BF-DA5B-40E8-8B58-22F68401CEFA}" dt="2025-02-04T10:58:55.948" v="264" actId="1076"/>
          <ac:picMkLst>
            <pc:docMk/>
            <pc:sldMk cId="3964233397" sldId="2134805980"/>
            <ac:picMk id="6" creationId="{1CB1D092-4F50-3019-62FF-0E9523CF3624}"/>
          </ac:picMkLst>
        </pc:picChg>
        <pc:picChg chg="mod">
          <ac:chgData name="Laura Casadio" userId="66d3dc7e-795b-4a92-887c-7e990ee4a717" providerId="ADAL" clId="{A002E1BF-DA5B-40E8-8B58-22F68401CEFA}" dt="2025-02-04T10:58:55.948" v="264" actId="1076"/>
          <ac:picMkLst>
            <pc:docMk/>
            <pc:sldMk cId="3964233397" sldId="2134805980"/>
            <ac:picMk id="7" creationId="{A6CFB719-0CDA-E2A9-9192-9A2C474396B8}"/>
          </ac:picMkLst>
        </pc:picChg>
        <pc:picChg chg="add mod">
          <ac:chgData name="Laura Casadio" userId="66d3dc7e-795b-4a92-887c-7e990ee4a717" providerId="ADAL" clId="{A002E1BF-DA5B-40E8-8B58-22F68401CEFA}" dt="2025-02-04T11:00:20.602" v="271" actId="1076"/>
          <ac:picMkLst>
            <pc:docMk/>
            <pc:sldMk cId="3964233397" sldId="2134805980"/>
            <ac:picMk id="8" creationId="{D24A2E13-C904-2D8B-C6F8-E32B51407BA9}"/>
          </ac:picMkLst>
        </pc:picChg>
        <pc:picChg chg="mod">
          <ac:chgData name="Laura Casadio" userId="66d3dc7e-795b-4a92-887c-7e990ee4a717" providerId="ADAL" clId="{A002E1BF-DA5B-40E8-8B58-22F68401CEFA}" dt="2025-02-04T10:58:55.948" v="264" actId="1076"/>
          <ac:picMkLst>
            <pc:docMk/>
            <pc:sldMk cId="3964233397" sldId="2134805980"/>
            <ac:picMk id="30" creationId="{211331C7-4C8E-EC6B-9499-336BED4FA3C0}"/>
          </ac:picMkLst>
        </pc:picChg>
      </pc:sldChg>
      <pc:sldChg chg="delSp modSp del mod">
        <pc:chgData name="Laura Casadio" userId="66d3dc7e-795b-4a92-887c-7e990ee4a717" providerId="ADAL" clId="{A002E1BF-DA5B-40E8-8B58-22F68401CEFA}" dt="2025-02-04T13:34:20.168" v="1154" actId="2696"/>
        <pc:sldMkLst>
          <pc:docMk/>
          <pc:sldMk cId="3768302413" sldId="2134805981"/>
        </pc:sldMkLst>
      </pc:sldChg>
      <pc:sldChg chg="addSp modSp mod">
        <pc:chgData name="Laura Casadio" userId="66d3dc7e-795b-4a92-887c-7e990ee4a717" providerId="ADAL" clId="{A002E1BF-DA5B-40E8-8B58-22F68401CEFA}" dt="2025-02-05T08:41:00.367" v="1733" actId="2711"/>
        <pc:sldMkLst>
          <pc:docMk/>
          <pc:sldMk cId="1458180138" sldId="2134805982"/>
        </pc:sldMkLst>
        <pc:spChg chg="add mod">
          <ac:chgData name="Laura Casadio" userId="66d3dc7e-795b-4a92-887c-7e990ee4a717" providerId="ADAL" clId="{A002E1BF-DA5B-40E8-8B58-22F68401CEFA}" dt="2025-02-05T08:41:00.367" v="1733" actId="2711"/>
          <ac:spMkLst>
            <pc:docMk/>
            <pc:sldMk cId="1458180138" sldId="2134805982"/>
            <ac:spMk id="5" creationId="{E6A5A5C3-69C3-A2DD-B0E4-390820419793}"/>
          </ac:spMkLst>
        </pc:spChg>
        <pc:spChg chg="add mod">
          <ac:chgData name="Laura Casadio" userId="66d3dc7e-795b-4a92-887c-7e990ee4a717" providerId="ADAL" clId="{A002E1BF-DA5B-40E8-8B58-22F68401CEFA}" dt="2025-02-05T08:41:00.367" v="1733" actId="2711"/>
          <ac:spMkLst>
            <pc:docMk/>
            <pc:sldMk cId="1458180138" sldId="2134805982"/>
            <ac:spMk id="6" creationId="{5734371D-B4A8-54D6-E0A0-F87AC2571B50}"/>
          </ac:spMkLst>
        </pc:spChg>
        <pc:spChg chg="mod">
          <ac:chgData name="Laura Casadio" userId="66d3dc7e-795b-4a92-887c-7e990ee4a717" providerId="ADAL" clId="{A002E1BF-DA5B-40E8-8B58-22F68401CEFA}" dt="2025-02-04T12:21:27.656" v="531" actId="20577"/>
          <ac:spMkLst>
            <pc:docMk/>
            <pc:sldMk cId="1458180138" sldId="2134805982"/>
            <ac:spMk id="8" creationId="{B4ECB390-398C-CD36-5996-F412134D736D}"/>
          </ac:spMkLst>
        </pc:spChg>
        <pc:spChg chg="mod">
          <ac:chgData name="Laura Casadio" userId="66d3dc7e-795b-4a92-887c-7e990ee4a717" providerId="ADAL" clId="{A002E1BF-DA5B-40E8-8B58-22F68401CEFA}" dt="2025-02-04T12:22:02.432" v="539" actId="20577"/>
          <ac:spMkLst>
            <pc:docMk/>
            <pc:sldMk cId="1458180138" sldId="2134805982"/>
            <ac:spMk id="70" creationId="{806B8040-186A-DF35-242B-F6AD41CEFC9B}"/>
          </ac:spMkLst>
        </pc:spChg>
      </pc:sldChg>
      <pc:sldChg chg="add del">
        <pc:chgData name="Laura Casadio" userId="66d3dc7e-795b-4a92-887c-7e990ee4a717" providerId="ADAL" clId="{A002E1BF-DA5B-40E8-8B58-22F68401CEFA}" dt="2025-02-04T13:52:57.954" v="1335" actId="2696"/>
        <pc:sldMkLst>
          <pc:docMk/>
          <pc:sldMk cId="1837191842" sldId="2134805983"/>
        </pc:sldMkLst>
      </pc:sldChg>
      <pc:sldChg chg="addSp delSp modSp mod ord">
        <pc:chgData name="Laura Casadio" userId="66d3dc7e-795b-4a92-887c-7e990ee4a717" providerId="ADAL" clId="{A002E1BF-DA5B-40E8-8B58-22F68401CEFA}" dt="2025-02-10T17:05:03.288" v="2511" actId="167"/>
        <pc:sldMkLst>
          <pc:docMk/>
          <pc:sldMk cId="354827328" sldId="2134805984"/>
        </pc:sldMkLst>
        <pc:spChg chg="mod">
          <ac:chgData name="Laura Casadio" userId="66d3dc7e-795b-4a92-887c-7e990ee4a717" providerId="ADAL" clId="{A002E1BF-DA5B-40E8-8B58-22F68401CEFA}" dt="2025-02-10T16:46:15.072" v="2419" actId="20577"/>
          <ac:spMkLst>
            <pc:docMk/>
            <pc:sldMk cId="354827328" sldId="2134805984"/>
            <ac:spMk id="7" creationId="{0D31998C-DC92-0406-77F5-0DD01E540F7B}"/>
          </ac:spMkLst>
        </pc:spChg>
        <pc:spChg chg="mod">
          <ac:chgData name="Laura Casadio" userId="66d3dc7e-795b-4a92-887c-7e990ee4a717" providerId="ADAL" clId="{A002E1BF-DA5B-40E8-8B58-22F68401CEFA}" dt="2025-02-10T16:44:09.216" v="2364" actId="14100"/>
          <ac:spMkLst>
            <pc:docMk/>
            <pc:sldMk cId="354827328" sldId="2134805984"/>
            <ac:spMk id="9" creationId="{F70E7C81-6952-E07F-5AAA-E349B3C64A35}"/>
          </ac:spMkLst>
        </pc:spChg>
        <pc:spChg chg="add mod">
          <ac:chgData name="Laura Casadio" userId="66d3dc7e-795b-4a92-887c-7e990ee4a717" providerId="ADAL" clId="{A002E1BF-DA5B-40E8-8B58-22F68401CEFA}" dt="2025-02-10T16:46:02.177" v="2403" actId="1076"/>
          <ac:spMkLst>
            <pc:docMk/>
            <pc:sldMk cId="354827328" sldId="2134805984"/>
            <ac:spMk id="13" creationId="{B67E44BC-92C6-34B9-3B55-554AF7A43599}"/>
          </ac:spMkLst>
        </pc:spChg>
        <pc:spChg chg="add mod">
          <ac:chgData name="Laura Casadio" userId="66d3dc7e-795b-4a92-887c-7e990ee4a717" providerId="ADAL" clId="{A002E1BF-DA5B-40E8-8B58-22F68401CEFA}" dt="2025-02-05T08:41:11.167" v="1736" actId="2711"/>
          <ac:spMkLst>
            <pc:docMk/>
            <pc:sldMk cId="354827328" sldId="2134805984"/>
            <ac:spMk id="17" creationId="{F6D2460D-3CE2-9581-9FC8-5539AB0DDE3F}"/>
          </ac:spMkLst>
        </pc:spChg>
        <pc:spChg chg="add mod">
          <ac:chgData name="Laura Casadio" userId="66d3dc7e-795b-4a92-887c-7e990ee4a717" providerId="ADAL" clId="{A002E1BF-DA5B-40E8-8B58-22F68401CEFA}" dt="2025-02-10T16:45:58.626" v="2402" actId="1076"/>
          <ac:spMkLst>
            <pc:docMk/>
            <pc:sldMk cId="354827328" sldId="2134805984"/>
            <ac:spMk id="21" creationId="{A4109A99-3DF5-BBEC-80D4-177B23F5149D}"/>
          </ac:spMkLst>
        </pc:spChg>
        <pc:spChg chg="add mod">
          <ac:chgData name="Laura Casadio" userId="66d3dc7e-795b-4a92-887c-7e990ee4a717" providerId="ADAL" clId="{A002E1BF-DA5B-40E8-8B58-22F68401CEFA}" dt="2025-02-10T16:45:54.472" v="2401" actId="1076"/>
          <ac:spMkLst>
            <pc:docMk/>
            <pc:sldMk cId="354827328" sldId="2134805984"/>
            <ac:spMk id="22" creationId="{84494840-72FC-9C35-655F-46D422699640}"/>
          </ac:spMkLst>
        </pc:spChg>
        <pc:spChg chg="add mod">
          <ac:chgData name="Laura Casadio" userId="66d3dc7e-795b-4a92-887c-7e990ee4a717" providerId="ADAL" clId="{A002E1BF-DA5B-40E8-8B58-22F68401CEFA}" dt="2025-02-05T08:41:11.167" v="1736" actId="2711"/>
          <ac:spMkLst>
            <pc:docMk/>
            <pc:sldMk cId="354827328" sldId="2134805984"/>
            <ac:spMk id="24" creationId="{097F7A72-5456-1522-C0EE-3AF905EE2CBC}"/>
          </ac:spMkLst>
        </pc:spChg>
        <pc:spChg chg="add mod">
          <ac:chgData name="Laura Casadio" userId="66d3dc7e-795b-4a92-887c-7e990ee4a717" providerId="ADAL" clId="{A002E1BF-DA5B-40E8-8B58-22F68401CEFA}" dt="2025-02-05T08:41:11.167" v="1736" actId="2711"/>
          <ac:spMkLst>
            <pc:docMk/>
            <pc:sldMk cId="354827328" sldId="2134805984"/>
            <ac:spMk id="26" creationId="{8BA1DFF2-9503-F17C-F473-A9A12C42E392}"/>
          </ac:spMkLst>
        </pc:spChg>
        <pc:spChg chg="add mod">
          <ac:chgData name="Laura Casadio" userId="66d3dc7e-795b-4a92-887c-7e990ee4a717" providerId="ADAL" clId="{A002E1BF-DA5B-40E8-8B58-22F68401CEFA}" dt="2025-02-05T08:41:11.167" v="1736" actId="2711"/>
          <ac:spMkLst>
            <pc:docMk/>
            <pc:sldMk cId="354827328" sldId="2134805984"/>
            <ac:spMk id="36" creationId="{F1AC1BB2-BE4A-9637-CB43-34ABC6BA0935}"/>
          </ac:spMkLst>
        </pc:spChg>
        <pc:spChg chg="add mod">
          <ac:chgData name="Laura Casadio" userId="66d3dc7e-795b-4a92-887c-7e990ee4a717" providerId="ADAL" clId="{A002E1BF-DA5B-40E8-8B58-22F68401CEFA}" dt="2025-02-05T08:41:11.167" v="1736" actId="2711"/>
          <ac:spMkLst>
            <pc:docMk/>
            <pc:sldMk cId="354827328" sldId="2134805984"/>
            <ac:spMk id="38" creationId="{3AC90061-CF17-0D05-3FB4-841AC159D12B}"/>
          </ac:spMkLst>
        </pc:spChg>
        <pc:spChg chg="add mod">
          <ac:chgData name="Laura Casadio" userId="66d3dc7e-795b-4a92-887c-7e990ee4a717" providerId="ADAL" clId="{A002E1BF-DA5B-40E8-8B58-22F68401CEFA}" dt="2025-02-05T08:41:11.167" v="1736" actId="2711"/>
          <ac:spMkLst>
            <pc:docMk/>
            <pc:sldMk cId="354827328" sldId="2134805984"/>
            <ac:spMk id="39" creationId="{BCBEF0D3-634E-6008-3BAC-A8A202608AF7}"/>
          </ac:spMkLst>
        </pc:spChg>
        <pc:spChg chg="add mod">
          <ac:chgData name="Laura Casadio" userId="66d3dc7e-795b-4a92-887c-7e990ee4a717" providerId="ADAL" clId="{A002E1BF-DA5B-40E8-8B58-22F68401CEFA}" dt="2025-02-10T17:04:46.123" v="2508" actId="1076"/>
          <ac:spMkLst>
            <pc:docMk/>
            <pc:sldMk cId="354827328" sldId="2134805984"/>
            <ac:spMk id="44" creationId="{3114A9B9-4934-AA06-7FB3-2B77A212DAA8}"/>
          </ac:spMkLst>
        </pc:spChg>
        <pc:spChg chg="add mod">
          <ac:chgData name="Laura Casadio" userId="66d3dc7e-795b-4a92-887c-7e990ee4a717" providerId="ADAL" clId="{A002E1BF-DA5B-40E8-8B58-22F68401CEFA}" dt="2025-02-10T17:04:46.123" v="2508" actId="1076"/>
          <ac:spMkLst>
            <pc:docMk/>
            <pc:sldMk cId="354827328" sldId="2134805984"/>
            <ac:spMk id="45" creationId="{6269A539-03A8-C3C5-5DFD-F5DE630F62A4}"/>
          </ac:spMkLst>
        </pc:spChg>
        <pc:spChg chg="add mod">
          <ac:chgData name="Laura Casadio" userId="66d3dc7e-795b-4a92-887c-7e990ee4a717" providerId="ADAL" clId="{A002E1BF-DA5B-40E8-8B58-22F68401CEFA}" dt="2025-02-10T17:04:46.123" v="2508" actId="1076"/>
          <ac:spMkLst>
            <pc:docMk/>
            <pc:sldMk cId="354827328" sldId="2134805984"/>
            <ac:spMk id="46" creationId="{F24C2B0A-6E39-AC0F-E123-8033526CA30B}"/>
          </ac:spMkLst>
        </pc:spChg>
        <pc:spChg chg="add mod">
          <ac:chgData name="Laura Casadio" userId="66d3dc7e-795b-4a92-887c-7e990ee4a717" providerId="ADAL" clId="{A002E1BF-DA5B-40E8-8B58-22F68401CEFA}" dt="2025-02-10T17:04:46.123" v="2508" actId="1076"/>
          <ac:spMkLst>
            <pc:docMk/>
            <pc:sldMk cId="354827328" sldId="2134805984"/>
            <ac:spMk id="47" creationId="{F1C0BB41-2D13-3C6A-F3E4-8A16E4E1750E}"/>
          </ac:spMkLst>
        </pc:spChg>
        <pc:spChg chg="add mod">
          <ac:chgData name="Laura Casadio" userId="66d3dc7e-795b-4a92-887c-7e990ee4a717" providerId="ADAL" clId="{A002E1BF-DA5B-40E8-8B58-22F68401CEFA}" dt="2025-02-10T17:04:46.123" v="2508" actId="1076"/>
          <ac:spMkLst>
            <pc:docMk/>
            <pc:sldMk cId="354827328" sldId="2134805984"/>
            <ac:spMk id="48" creationId="{7ECA60CD-C43D-2787-13DE-2F3575328CD3}"/>
          </ac:spMkLst>
        </pc:spChg>
        <pc:spChg chg="add mod">
          <ac:chgData name="Laura Casadio" userId="66d3dc7e-795b-4a92-887c-7e990ee4a717" providerId="ADAL" clId="{A002E1BF-DA5B-40E8-8B58-22F68401CEFA}" dt="2025-02-10T17:04:46.123" v="2508" actId="1076"/>
          <ac:spMkLst>
            <pc:docMk/>
            <pc:sldMk cId="354827328" sldId="2134805984"/>
            <ac:spMk id="49" creationId="{5B6C761F-004A-3C52-1C17-D167B51F1A6B}"/>
          </ac:spMkLst>
        </pc:spChg>
        <pc:spChg chg="add mod ord">
          <ac:chgData name="Laura Casadio" userId="66d3dc7e-795b-4a92-887c-7e990ee4a717" providerId="ADAL" clId="{A002E1BF-DA5B-40E8-8B58-22F68401CEFA}" dt="2025-02-10T17:05:03.288" v="2511" actId="167"/>
          <ac:spMkLst>
            <pc:docMk/>
            <pc:sldMk cId="354827328" sldId="2134805984"/>
            <ac:spMk id="50" creationId="{838E391A-26A0-7297-0220-4FDDDA2FE4DA}"/>
          </ac:spMkLst>
        </pc:spChg>
        <pc:spChg chg="mod">
          <ac:chgData name="Laura Casadio" userId="66d3dc7e-795b-4a92-887c-7e990ee4a717" providerId="ADAL" clId="{A002E1BF-DA5B-40E8-8B58-22F68401CEFA}" dt="2025-02-10T16:43:15.640" v="2358" actId="403"/>
          <ac:spMkLst>
            <pc:docMk/>
            <pc:sldMk cId="354827328" sldId="2134805984"/>
            <ac:spMk id="70" creationId="{806B8040-186A-DF35-242B-F6AD41CEFC9B}"/>
          </ac:spMkLst>
        </pc:spChg>
        <pc:picChg chg="add mod">
          <ac:chgData name="Laura Casadio" userId="66d3dc7e-795b-4a92-887c-7e990ee4a717" providerId="ADAL" clId="{A002E1BF-DA5B-40E8-8B58-22F68401CEFA}" dt="2025-02-10T16:44:46.150" v="2370" actId="1076"/>
          <ac:picMkLst>
            <pc:docMk/>
            <pc:sldMk cId="354827328" sldId="2134805984"/>
            <ac:picMk id="3" creationId="{CA2B1D0F-4C70-65B4-5A0A-DA2A86D7ABF2}"/>
          </ac:picMkLst>
        </pc:picChg>
        <pc:picChg chg="add mod modCrop">
          <ac:chgData name="Laura Casadio" userId="66d3dc7e-795b-4a92-887c-7e990ee4a717" providerId="ADAL" clId="{A002E1BF-DA5B-40E8-8B58-22F68401CEFA}" dt="2025-02-10T16:45:04.075" v="2376" actId="14100"/>
          <ac:picMkLst>
            <pc:docMk/>
            <pc:sldMk cId="354827328" sldId="2134805984"/>
            <ac:picMk id="8" creationId="{AFB3065D-4CF3-E1F2-085F-47C7D15160E3}"/>
          </ac:picMkLst>
        </pc:picChg>
        <pc:picChg chg="add mod">
          <ac:chgData name="Laura Casadio" userId="66d3dc7e-795b-4a92-887c-7e990ee4a717" providerId="ADAL" clId="{A002E1BF-DA5B-40E8-8B58-22F68401CEFA}" dt="2025-02-10T16:45:13.650" v="2377" actId="1076"/>
          <ac:picMkLst>
            <pc:docMk/>
            <pc:sldMk cId="354827328" sldId="2134805984"/>
            <ac:picMk id="11" creationId="{9843FAF0-6F54-FF5A-8F6E-A5310043817F}"/>
          </ac:picMkLst>
        </pc:picChg>
        <pc:picChg chg="ord">
          <ac:chgData name="Laura Casadio" userId="66d3dc7e-795b-4a92-887c-7e990ee4a717" providerId="ADAL" clId="{A002E1BF-DA5B-40E8-8B58-22F68401CEFA}" dt="2025-02-04T12:21:43.755" v="532" actId="167"/>
          <ac:picMkLst>
            <pc:docMk/>
            <pc:sldMk cId="354827328" sldId="2134805984"/>
            <ac:picMk id="27" creationId="{FF5144E5-CC31-77FB-ECD4-F2B68D1ECCCB}"/>
          </ac:picMkLst>
        </pc:picChg>
      </pc:sldChg>
      <pc:sldChg chg="del mod modShow">
        <pc:chgData name="Laura Casadio" userId="66d3dc7e-795b-4a92-887c-7e990ee4a717" providerId="ADAL" clId="{A002E1BF-DA5B-40E8-8B58-22F68401CEFA}" dt="2025-02-05T08:24:33.982" v="1649" actId="2696"/>
        <pc:sldMkLst>
          <pc:docMk/>
          <pc:sldMk cId="3384958643" sldId="2134805985"/>
        </pc:sldMkLst>
      </pc:sldChg>
      <pc:sldChg chg="addSp delSp modSp mod">
        <pc:chgData name="Laura Casadio" userId="66d3dc7e-795b-4a92-887c-7e990ee4a717" providerId="ADAL" clId="{A002E1BF-DA5B-40E8-8B58-22F68401CEFA}" dt="2025-02-05T08:37:30.185" v="1707" actId="2711"/>
        <pc:sldMkLst>
          <pc:docMk/>
          <pc:sldMk cId="1879302680" sldId="2134805986"/>
        </pc:sldMkLst>
        <pc:spChg chg="mod">
          <ac:chgData name="Laura Casadio" userId="66d3dc7e-795b-4a92-887c-7e990ee4a717" providerId="ADAL" clId="{A002E1BF-DA5B-40E8-8B58-22F68401CEFA}" dt="2025-02-04T14:45:54.502" v="1575" actId="20577"/>
          <ac:spMkLst>
            <pc:docMk/>
            <pc:sldMk cId="1879302680" sldId="2134805986"/>
            <ac:spMk id="6" creationId="{71DD7162-8BE6-D95D-E3F5-B36021300E3A}"/>
          </ac:spMkLst>
        </pc:spChg>
        <pc:spChg chg="add mod">
          <ac:chgData name="Laura Casadio" userId="66d3dc7e-795b-4a92-887c-7e990ee4a717" providerId="ADAL" clId="{A002E1BF-DA5B-40E8-8B58-22F68401CEFA}" dt="2025-02-05T08:37:30.185" v="1707" actId="2711"/>
          <ac:spMkLst>
            <pc:docMk/>
            <pc:sldMk cId="1879302680" sldId="2134805986"/>
            <ac:spMk id="9" creationId="{C317207E-2CBC-4A93-15D1-17EFE729C910}"/>
          </ac:spMkLst>
        </pc:spChg>
        <pc:spChg chg="mod">
          <ac:chgData name="Laura Casadio" userId="66d3dc7e-795b-4a92-887c-7e990ee4a717" providerId="ADAL" clId="{A002E1BF-DA5B-40E8-8B58-22F68401CEFA}" dt="2025-02-04T09:47:04.976" v="139" actId="20577"/>
          <ac:spMkLst>
            <pc:docMk/>
            <pc:sldMk cId="1879302680" sldId="2134805986"/>
            <ac:spMk id="10" creationId="{4AC399DE-D4E4-C4AF-59E7-215433152576}"/>
          </ac:spMkLst>
        </pc:spChg>
        <pc:spChg chg="add mod">
          <ac:chgData name="Laura Casadio" userId="66d3dc7e-795b-4a92-887c-7e990ee4a717" providerId="ADAL" clId="{A002E1BF-DA5B-40E8-8B58-22F68401CEFA}" dt="2025-02-05T08:37:30.185" v="1707" actId="2711"/>
          <ac:spMkLst>
            <pc:docMk/>
            <pc:sldMk cId="1879302680" sldId="2134805986"/>
            <ac:spMk id="11" creationId="{04151D3F-A2E6-68DC-B8A9-894F6C71C661}"/>
          </ac:spMkLst>
        </pc:spChg>
        <pc:spChg chg="add mod">
          <ac:chgData name="Laura Casadio" userId="66d3dc7e-795b-4a92-887c-7e990ee4a717" providerId="ADAL" clId="{A002E1BF-DA5B-40E8-8B58-22F68401CEFA}" dt="2025-02-05T08:37:30.185" v="1707" actId="2711"/>
          <ac:spMkLst>
            <pc:docMk/>
            <pc:sldMk cId="1879302680" sldId="2134805986"/>
            <ac:spMk id="12" creationId="{E7FD11EA-2C37-D202-20A8-D41CCD704B2F}"/>
          </ac:spMkLst>
        </pc:spChg>
        <pc:spChg chg="add mod">
          <ac:chgData name="Laura Casadio" userId="66d3dc7e-795b-4a92-887c-7e990ee4a717" providerId="ADAL" clId="{A002E1BF-DA5B-40E8-8B58-22F68401CEFA}" dt="2025-02-05T08:37:30.185" v="1707" actId="2711"/>
          <ac:spMkLst>
            <pc:docMk/>
            <pc:sldMk cId="1879302680" sldId="2134805986"/>
            <ac:spMk id="13" creationId="{BE0D0205-C60E-336C-C3A0-D6538F44BAEB}"/>
          </ac:spMkLst>
        </pc:spChg>
        <pc:spChg chg="add mod">
          <ac:chgData name="Laura Casadio" userId="66d3dc7e-795b-4a92-887c-7e990ee4a717" providerId="ADAL" clId="{A002E1BF-DA5B-40E8-8B58-22F68401CEFA}" dt="2025-02-05T08:37:30.185" v="1707" actId="2711"/>
          <ac:spMkLst>
            <pc:docMk/>
            <pc:sldMk cId="1879302680" sldId="2134805986"/>
            <ac:spMk id="14" creationId="{E2F7FC8D-A661-651C-97F6-0BBBDB106F72}"/>
          </ac:spMkLst>
        </pc:spChg>
        <pc:spChg chg="add mod">
          <ac:chgData name="Laura Casadio" userId="66d3dc7e-795b-4a92-887c-7e990ee4a717" providerId="ADAL" clId="{A002E1BF-DA5B-40E8-8B58-22F68401CEFA}" dt="2025-02-05T08:37:30.185" v="1707" actId="2711"/>
          <ac:spMkLst>
            <pc:docMk/>
            <pc:sldMk cId="1879302680" sldId="2134805986"/>
            <ac:spMk id="15" creationId="{18CE5FDA-85AF-BBAE-22CD-657D799BFEC3}"/>
          </ac:spMkLst>
        </pc:spChg>
        <pc:spChg chg="add mod">
          <ac:chgData name="Laura Casadio" userId="66d3dc7e-795b-4a92-887c-7e990ee4a717" providerId="ADAL" clId="{A002E1BF-DA5B-40E8-8B58-22F68401CEFA}" dt="2025-02-05T08:37:30.185" v="1707" actId="2711"/>
          <ac:spMkLst>
            <pc:docMk/>
            <pc:sldMk cId="1879302680" sldId="2134805986"/>
            <ac:spMk id="16" creationId="{B81717AC-4BDC-E7E2-9A67-812ED559947E}"/>
          </ac:spMkLst>
        </pc:spChg>
        <pc:spChg chg="add mod">
          <ac:chgData name="Laura Casadio" userId="66d3dc7e-795b-4a92-887c-7e990ee4a717" providerId="ADAL" clId="{A002E1BF-DA5B-40E8-8B58-22F68401CEFA}" dt="2025-02-05T08:37:30.185" v="1707" actId="2711"/>
          <ac:spMkLst>
            <pc:docMk/>
            <pc:sldMk cId="1879302680" sldId="2134805986"/>
            <ac:spMk id="20" creationId="{DC49F7DE-BF01-73EC-BA7B-C31200F5C419}"/>
          </ac:spMkLst>
        </pc:spChg>
        <pc:spChg chg="add mod">
          <ac:chgData name="Laura Casadio" userId="66d3dc7e-795b-4a92-887c-7e990ee4a717" providerId="ADAL" clId="{A002E1BF-DA5B-40E8-8B58-22F68401CEFA}" dt="2025-02-05T08:37:30.185" v="1707" actId="2711"/>
          <ac:spMkLst>
            <pc:docMk/>
            <pc:sldMk cId="1879302680" sldId="2134805986"/>
            <ac:spMk id="21" creationId="{D80DC564-4B7F-5BF1-DEED-5B5EF5E1F3E6}"/>
          </ac:spMkLst>
        </pc:spChg>
        <pc:spChg chg="add mod">
          <ac:chgData name="Laura Casadio" userId="66d3dc7e-795b-4a92-887c-7e990ee4a717" providerId="ADAL" clId="{A002E1BF-DA5B-40E8-8B58-22F68401CEFA}" dt="2025-02-05T08:37:30.185" v="1707" actId="2711"/>
          <ac:spMkLst>
            <pc:docMk/>
            <pc:sldMk cId="1879302680" sldId="2134805986"/>
            <ac:spMk id="23" creationId="{36011797-9388-9757-2681-3F3B7353F37A}"/>
          </ac:spMkLst>
        </pc:spChg>
        <pc:spChg chg="add mod">
          <ac:chgData name="Laura Casadio" userId="66d3dc7e-795b-4a92-887c-7e990ee4a717" providerId="ADAL" clId="{A002E1BF-DA5B-40E8-8B58-22F68401CEFA}" dt="2025-02-05T08:37:30.185" v="1707" actId="2711"/>
          <ac:spMkLst>
            <pc:docMk/>
            <pc:sldMk cId="1879302680" sldId="2134805986"/>
            <ac:spMk id="24" creationId="{8DEE9329-FD04-2C79-DB86-8A89CFB51D27}"/>
          </ac:spMkLst>
        </pc:spChg>
        <pc:spChg chg="add mod">
          <ac:chgData name="Laura Casadio" userId="66d3dc7e-795b-4a92-887c-7e990ee4a717" providerId="ADAL" clId="{A002E1BF-DA5B-40E8-8B58-22F68401CEFA}" dt="2025-02-05T08:37:30.185" v="1707" actId="2711"/>
          <ac:spMkLst>
            <pc:docMk/>
            <pc:sldMk cId="1879302680" sldId="2134805986"/>
            <ac:spMk id="25" creationId="{8B79E630-147D-80B5-288A-07D6805F34BA}"/>
          </ac:spMkLst>
        </pc:spChg>
        <pc:spChg chg="add mod">
          <ac:chgData name="Laura Casadio" userId="66d3dc7e-795b-4a92-887c-7e990ee4a717" providerId="ADAL" clId="{A002E1BF-DA5B-40E8-8B58-22F68401CEFA}" dt="2025-02-05T08:37:30.185" v="1707" actId="2711"/>
          <ac:spMkLst>
            <pc:docMk/>
            <pc:sldMk cId="1879302680" sldId="2134805986"/>
            <ac:spMk id="27" creationId="{BECE7EF9-31CB-78FC-68A3-A42189F92FC0}"/>
          </ac:spMkLst>
        </pc:spChg>
        <pc:spChg chg="add mod">
          <ac:chgData name="Laura Casadio" userId="66d3dc7e-795b-4a92-887c-7e990ee4a717" providerId="ADAL" clId="{A002E1BF-DA5B-40E8-8B58-22F68401CEFA}" dt="2025-02-05T08:37:30.185" v="1707" actId="2711"/>
          <ac:spMkLst>
            <pc:docMk/>
            <pc:sldMk cId="1879302680" sldId="2134805986"/>
            <ac:spMk id="29" creationId="{F53C15DC-36AA-3AED-592E-C466B5EBBF12}"/>
          </ac:spMkLst>
        </pc:spChg>
        <pc:spChg chg="mod">
          <ac:chgData name="Laura Casadio" userId="66d3dc7e-795b-4a92-887c-7e990ee4a717" providerId="ADAL" clId="{A002E1BF-DA5B-40E8-8B58-22F68401CEFA}" dt="2025-02-05T08:37:30.185" v="1707" actId="2711"/>
          <ac:spMkLst>
            <pc:docMk/>
            <pc:sldMk cId="1879302680" sldId="2134805986"/>
            <ac:spMk id="30" creationId="{03CD7E84-C391-2444-D899-274EE2FAB01F}"/>
          </ac:spMkLst>
        </pc:spChg>
        <pc:spChg chg="add mod">
          <ac:chgData name="Laura Casadio" userId="66d3dc7e-795b-4a92-887c-7e990ee4a717" providerId="ADAL" clId="{A002E1BF-DA5B-40E8-8B58-22F68401CEFA}" dt="2025-02-05T08:37:30.185" v="1707" actId="2711"/>
          <ac:spMkLst>
            <pc:docMk/>
            <pc:sldMk cId="1879302680" sldId="2134805986"/>
            <ac:spMk id="31" creationId="{EAC492B6-6549-79E5-B111-E17F322182CC}"/>
          </ac:spMkLst>
        </pc:spChg>
        <pc:spChg chg="add mod">
          <ac:chgData name="Laura Casadio" userId="66d3dc7e-795b-4a92-887c-7e990ee4a717" providerId="ADAL" clId="{A002E1BF-DA5B-40E8-8B58-22F68401CEFA}" dt="2025-02-05T08:37:30.185" v="1707" actId="2711"/>
          <ac:spMkLst>
            <pc:docMk/>
            <pc:sldMk cId="1879302680" sldId="2134805986"/>
            <ac:spMk id="32" creationId="{E9E80C24-3E12-2146-0C0C-6DEEBB7C8B4B}"/>
          </ac:spMkLst>
        </pc:spChg>
        <pc:spChg chg="mod">
          <ac:chgData name="Laura Casadio" userId="66d3dc7e-795b-4a92-887c-7e990ee4a717" providerId="ADAL" clId="{A002E1BF-DA5B-40E8-8B58-22F68401CEFA}" dt="2025-02-05T08:37:30.185" v="1707" actId="2711"/>
          <ac:spMkLst>
            <pc:docMk/>
            <pc:sldMk cId="1879302680" sldId="2134805986"/>
            <ac:spMk id="55" creationId="{0D131863-26B9-884A-6A6A-837AF6001C34}"/>
          </ac:spMkLst>
        </pc:spChg>
        <pc:spChg chg="mod">
          <ac:chgData name="Laura Casadio" userId="66d3dc7e-795b-4a92-887c-7e990ee4a717" providerId="ADAL" clId="{A002E1BF-DA5B-40E8-8B58-22F68401CEFA}" dt="2025-02-04T09:53:00.815" v="199" actId="403"/>
          <ac:spMkLst>
            <pc:docMk/>
            <pc:sldMk cId="1879302680" sldId="2134805986"/>
            <ac:spMk id="70" creationId="{806B8040-186A-DF35-242B-F6AD41CEFC9B}"/>
          </ac:spMkLst>
        </pc:spChg>
        <pc:spChg chg="mod">
          <ac:chgData name="Laura Casadio" userId="66d3dc7e-795b-4a92-887c-7e990ee4a717" providerId="ADAL" clId="{A002E1BF-DA5B-40E8-8B58-22F68401CEFA}" dt="2025-02-04T09:53:00.815" v="199" actId="403"/>
          <ac:spMkLst>
            <pc:docMk/>
            <pc:sldMk cId="1879302680" sldId="2134805986"/>
            <ac:spMk id="71" creationId="{2AD15FC7-13C1-7EAF-160A-6AFB645E257B}"/>
          </ac:spMkLst>
        </pc:spChg>
        <pc:spChg chg="mod">
          <ac:chgData name="Laura Casadio" userId="66d3dc7e-795b-4a92-887c-7e990ee4a717" providerId="ADAL" clId="{A002E1BF-DA5B-40E8-8B58-22F68401CEFA}" dt="2025-02-04T09:53:00.815" v="199" actId="403"/>
          <ac:spMkLst>
            <pc:docMk/>
            <pc:sldMk cId="1879302680" sldId="2134805986"/>
            <ac:spMk id="72" creationId="{234DE21D-50CF-DB20-39D6-AED9A2B1BE66}"/>
          </ac:spMkLst>
        </pc:spChg>
      </pc:sldChg>
      <pc:sldChg chg="addSp modSp mod">
        <pc:chgData name="Laura Casadio" userId="66d3dc7e-795b-4a92-887c-7e990ee4a717" providerId="ADAL" clId="{A002E1BF-DA5B-40E8-8B58-22F68401CEFA}" dt="2025-02-05T15:33:15.501" v="1856" actId="1036"/>
        <pc:sldMkLst>
          <pc:docMk/>
          <pc:sldMk cId="1029932044" sldId="2134805987"/>
        </pc:sldMkLst>
        <pc:spChg chg="add mod">
          <ac:chgData name="Laura Casadio" userId="66d3dc7e-795b-4a92-887c-7e990ee4a717" providerId="ADAL" clId="{A002E1BF-DA5B-40E8-8B58-22F68401CEFA}" dt="2025-02-05T15:33:15.501" v="1856" actId="1036"/>
          <ac:spMkLst>
            <pc:docMk/>
            <pc:sldMk cId="1029932044" sldId="2134805987"/>
            <ac:spMk id="3" creationId="{C5297124-C92F-B27C-164D-56B5399789EE}"/>
          </ac:spMkLst>
        </pc:spChg>
        <pc:spChg chg="add mod">
          <ac:chgData name="Laura Casadio" userId="66d3dc7e-795b-4a92-887c-7e990ee4a717" providerId="ADAL" clId="{A002E1BF-DA5B-40E8-8B58-22F68401CEFA}" dt="2025-02-05T15:33:15.501" v="1856" actId="1036"/>
          <ac:spMkLst>
            <pc:docMk/>
            <pc:sldMk cId="1029932044" sldId="2134805987"/>
            <ac:spMk id="5" creationId="{44A59D0F-8494-97BA-A935-89803A79932A}"/>
          </ac:spMkLst>
        </pc:spChg>
        <pc:spChg chg="add mod">
          <ac:chgData name="Laura Casadio" userId="66d3dc7e-795b-4a92-887c-7e990ee4a717" providerId="ADAL" clId="{A002E1BF-DA5B-40E8-8B58-22F68401CEFA}" dt="2025-02-05T15:33:15.501" v="1856" actId="1036"/>
          <ac:spMkLst>
            <pc:docMk/>
            <pc:sldMk cId="1029932044" sldId="2134805987"/>
            <ac:spMk id="7" creationId="{2BE969F1-D6C4-54AF-427E-18EAC2AE4EDD}"/>
          </ac:spMkLst>
        </pc:spChg>
        <pc:spChg chg="add mod">
          <ac:chgData name="Laura Casadio" userId="66d3dc7e-795b-4a92-887c-7e990ee4a717" providerId="ADAL" clId="{A002E1BF-DA5B-40E8-8B58-22F68401CEFA}" dt="2025-02-05T15:33:15.501" v="1856" actId="1036"/>
          <ac:spMkLst>
            <pc:docMk/>
            <pc:sldMk cId="1029932044" sldId="2134805987"/>
            <ac:spMk id="8" creationId="{10DDAD96-450B-DC5E-0CF8-DBA4BADE581C}"/>
          </ac:spMkLst>
        </pc:spChg>
        <pc:spChg chg="mod">
          <ac:chgData name="Laura Casadio" userId="66d3dc7e-795b-4a92-887c-7e990ee4a717" providerId="ADAL" clId="{A002E1BF-DA5B-40E8-8B58-22F68401CEFA}" dt="2025-02-05T09:38:14.630" v="1760" actId="1037"/>
          <ac:spMkLst>
            <pc:docMk/>
            <pc:sldMk cId="1029932044" sldId="2134805987"/>
            <ac:spMk id="9" creationId="{9994BE79-D2E0-7843-0C00-0CA2F19A5A70}"/>
          </ac:spMkLst>
        </pc:spChg>
        <pc:spChg chg="mod">
          <ac:chgData name="Laura Casadio" userId="66d3dc7e-795b-4a92-887c-7e990ee4a717" providerId="ADAL" clId="{A002E1BF-DA5B-40E8-8B58-22F68401CEFA}" dt="2025-02-04T09:49:51.477" v="169" actId="14100"/>
          <ac:spMkLst>
            <pc:docMk/>
            <pc:sldMk cId="1029932044" sldId="2134805987"/>
            <ac:spMk id="70" creationId="{806B8040-186A-DF35-242B-F6AD41CEFC9B}"/>
          </ac:spMkLst>
        </pc:spChg>
        <pc:picChg chg="mod">
          <ac:chgData name="Laura Casadio" userId="66d3dc7e-795b-4a92-887c-7e990ee4a717" providerId="ADAL" clId="{A002E1BF-DA5B-40E8-8B58-22F68401CEFA}" dt="2025-02-05T15:33:15.501" v="1856" actId="1036"/>
          <ac:picMkLst>
            <pc:docMk/>
            <pc:sldMk cId="1029932044" sldId="2134805987"/>
            <ac:picMk id="4" creationId="{821EDB12-0F16-C2F5-53B6-18E7AC44DCB5}"/>
          </ac:picMkLst>
        </pc:picChg>
        <pc:picChg chg="mod">
          <ac:chgData name="Laura Casadio" userId="66d3dc7e-795b-4a92-887c-7e990ee4a717" providerId="ADAL" clId="{A002E1BF-DA5B-40E8-8B58-22F68401CEFA}" dt="2025-02-05T15:33:15.501" v="1856" actId="1036"/>
          <ac:picMkLst>
            <pc:docMk/>
            <pc:sldMk cId="1029932044" sldId="2134805987"/>
            <ac:picMk id="34" creationId="{29DABECC-57FA-76AB-396B-E47B9A3DDB3C}"/>
          </ac:picMkLst>
        </pc:picChg>
      </pc:sldChg>
      <pc:sldChg chg="addSp delSp modSp mod">
        <pc:chgData name="Laura Casadio" userId="66d3dc7e-795b-4a92-887c-7e990ee4a717" providerId="ADAL" clId="{A002E1BF-DA5B-40E8-8B58-22F68401CEFA}" dt="2025-02-05T08:39:25.891" v="1720" actId="2711"/>
        <pc:sldMkLst>
          <pc:docMk/>
          <pc:sldMk cId="2891202667" sldId="2134805988"/>
        </pc:sldMkLst>
        <pc:spChg chg="add mod">
          <ac:chgData name="Laura Casadio" userId="66d3dc7e-795b-4a92-887c-7e990ee4a717" providerId="ADAL" clId="{A002E1BF-DA5B-40E8-8B58-22F68401CEFA}" dt="2025-02-05T08:39:25.891" v="1720" actId="2711"/>
          <ac:spMkLst>
            <pc:docMk/>
            <pc:sldMk cId="2891202667" sldId="2134805988"/>
            <ac:spMk id="9" creationId="{515D976B-A6D5-2351-C98F-BEEA076B2D9B}"/>
          </ac:spMkLst>
        </pc:spChg>
        <pc:spChg chg="add mod">
          <ac:chgData name="Laura Casadio" userId="66d3dc7e-795b-4a92-887c-7e990ee4a717" providerId="ADAL" clId="{A002E1BF-DA5B-40E8-8B58-22F68401CEFA}" dt="2025-02-05T08:39:25.891" v="1720" actId="2711"/>
          <ac:spMkLst>
            <pc:docMk/>
            <pc:sldMk cId="2891202667" sldId="2134805988"/>
            <ac:spMk id="11" creationId="{07556480-D5D5-16A7-EF34-0C53E77EA557}"/>
          </ac:spMkLst>
        </pc:spChg>
        <pc:spChg chg="add mod">
          <ac:chgData name="Laura Casadio" userId="66d3dc7e-795b-4a92-887c-7e990ee4a717" providerId="ADAL" clId="{A002E1BF-DA5B-40E8-8B58-22F68401CEFA}" dt="2025-02-05T08:39:25.891" v="1720" actId="2711"/>
          <ac:spMkLst>
            <pc:docMk/>
            <pc:sldMk cId="2891202667" sldId="2134805988"/>
            <ac:spMk id="12" creationId="{0AEB3CC9-423D-6639-41E4-F1F5DAD1B426}"/>
          </ac:spMkLst>
        </pc:spChg>
        <pc:spChg chg="add mod">
          <ac:chgData name="Laura Casadio" userId="66d3dc7e-795b-4a92-887c-7e990ee4a717" providerId="ADAL" clId="{A002E1BF-DA5B-40E8-8B58-22F68401CEFA}" dt="2025-02-05T08:39:25.891" v="1720" actId="2711"/>
          <ac:spMkLst>
            <pc:docMk/>
            <pc:sldMk cId="2891202667" sldId="2134805988"/>
            <ac:spMk id="13" creationId="{42453D67-FD4E-B56F-9105-EDFDD9B72E05}"/>
          </ac:spMkLst>
        </pc:spChg>
        <pc:spChg chg="add mod">
          <ac:chgData name="Laura Casadio" userId="66d3dc7e-795b-4a92-887c-7e990ee4a717" providerId="ADAL" clId="{A002E1BF-DA5B-40E8-8B58-22F68401CEFA}" dt="2025-02-05T08:39:25.891" v="1720" actId="2711"/>
          <ac:spMkLst>
            <pc:docMk/>
            <pc:sldMk cId="2891202667" sldId="2134805988"/>
            <ac:spMk id="14" creationId="{CC13EAE2-F9C9-E7B5-953B-81A853A517A8}"/>
          </ac:spMkLst>
        </pc:spChg>
        <pc:spChg chg="add mod">
          <ac:chgData name="Laura Casadio" userId="66d3dc7e-795b-4a92-887c-7e990ee4a717" providerId="ADAL" clId="{A002E1BF-DA5B-40E8-8B58-22F68401CEFA}" dt="2025-02-05T08:39:25.891" v="1720" actId="2711"/>
          <ac:spMkLst>
            <pc:docMk/>
            <pc:sldMk cId="2891202667" sldId="2134805988"/>
            <ac:spMk id="17" creationId="{10C34EFD-E808-FE49-5614-A5B95A73259F}"/>
          </ac:spMkLst>
        </pc:spChg>
        <pc:spChg chg="mod">
          <ac:chgData name="Laura Casadio" userId="66d3dc7e-795b-4a92-887c-7e990ee4a717" providerId="ADAL" clId="{A002E1BF-DA5B-40E8-8B58-22F68401CEFA}" dt="2025-02-04T11:01:57.613" v="283" actId="108"/>
          <ac:spMkLst>
            <pc:docMk/>
            <pc:sldMk cId="2891202667" sldId="2134805988"/>
            <ac:spMk id="34" creationId="{F84097C4-F415-EBAC-9533-CC3E825C3356}"/>
          </ac:spMkLst>
        </pc:spChg>
        <pc:spChg chg="mod">
          <ac:chgData name="Laura Casadio" userId="66d3dc7e-795b-4a92-887c-7e990ee4a717" providerId="ADAL" clId="{A002E1BF-DA5B-40E8-8B58-22F68401CEFA}" dt="2025-02-04T11:02:15.023" v="287" actId="403"/>
          <ac:spMkLst>
            <pc:docMk/>
            <pc:sldMk cId="2891202667" sldId="2134805988"/>
            <ac:spMk id="71" creationId="{2AD15FC7-13C1-7EAF-160A-6AFB645E257B}"/>
          </ac:spMkLst>
        </pc:spChg>
        <pc:picChg chg="mod">
          <ac:chgData name="Laura Casadio" userId="66d3dc7e-795b-4a92-887c-7e990ee4a717" providerId="ADAL" clId="{A002E1BF-DA5B-40E8-8B58-22F68401CEFA}" dt="2025-02-04T11:01:43.954" v="277" actId="1076"/>
          <ac:picMkLst>
            <pc:docMk/>
            <pc:sldMk cId="2891202667" sldId="2134805988"/>
            <ac:picMk id="4" creationId="{13877D33-D80D-FB94-C42D-FE832144C86A}"/>
          </ac:picMkLst>
        </pc:picChg>
        <pc:picChg chg="mod">
          <ac:chgData name="Laura Casadio" userId="66d3dc7e-795b-4a92-887c-7e990ee4a717" providerId="ADAL" clId="{A002E1BF-DA5B-40E8-8B58-22F68401CEFA}" dt="2025-02-04T11:01:43.954" v="277" actId="1076"/>
          <ac:picMkLst>
            <pc:docMk/>
            <pc:sldMk cId="2891202667" sldId="2134805988"/>
            <ac:picMk id="5" creationId="{B85C7EDB-9C4B-8F27-79AA-9B80F95B3E39}"/>
          </ac:picMkLst>
        </pc:picChg>
      </pc:sldChg>
      <pc:sldChg chg="addSp delSp modSp mod">
        <pc:chgData name="Laura Casadio" userId="66d3dc7e-795b-4a92-887c-7e990ee4a717" providerId="ADAL" clId="{A002E1BF-DA5B-40E8-8B58-22F68401CEFA}" dt="2025-02-10T16:28:42.788" v="2201" actId="14100"/>
        <pc:sldMkLst>
          <pc:docMk/>
          <pc:sldMk cId="2483803822" sldId="2134805989"/>
        </pc:sldMkLst>
        <pc:spChg chg="mod">
          <ac:chgData name="Laura Casadio" userId="66d3dc7e-795b-4a92-887c-7e990ee4a717" providerId="ADAL" clId="{A002E1BF-DA5B-40E8-8B58-22F68401CEFA}" dt="2025-02-10T16:28:42.788" v="2201" actId="14100"/>
          <ac:spMkLst>
            <pc:docMk/>
            <pc:sldMk cId="2483803822" sldId="2134805989"/>
            <ac:spMk id="6" creationId="{4E7379E7-B223-5265-17E2-5038E7A504EE}"/>
          </ac:spMkLst>
        </pc:spChg>
        <pc:spChg chg="mod">
          <ac:chgData name="Laura Casadio" userId="66d3dc7e-795b-4a92-887c-7e990ee4a717" providerId="ADAL" clId="{A002E1BF-DA5B-40E8-8B58-22F68401CEFA}" dt="2025-02-05T15:55:50.755" v="1893" actId="14100"/>
          <ac:spMkLst>
            <pc:docMk/>
            <pc:sldMk cId="2483803822" sldId="2134805989"/>
            <ac:spMk id="7" creationId="{3A59C27C-B009-804E-038F-B88B1D633C09}"/>
          </ac:spMkLst>
        </pc:spChg>
        <pc:spChg chg="mod">
          <ac:chgData name="Laura Casadio" userId="66d3dc7e-795b-4a92-887c-7e990ee4a717" providerId="ADAL" clId="{A002E1BF-DA5B-40E8-8B58-22F68401CEFA}" dt="2025-02-10T16:28:27.534" v="2196" actId="20577"/>
          <ac:spMkLst>
            <pc:docMk/>
            <pc:sldMk cId="2483803822" sldId="2134805989"/>
            <ac:spMk id="10" creationId="{89B79249-8CEC-4AD7-3632-D5B621D4712A}"/>
          </ac:spMkLst>
        </pc:spChg>
        <pc:spChg chg="mod ord">
          <ac:chgData name="Laura Casadio" userId="66d3dc7e-795b-4a92-887c-7e990ee4a717" providerId="ADAL" clId="{A002E1BF-DA5B-40E8-8B58-22F68401CEFA}" dt="2025-02-04T11:55:05.525" v="315" actId="167"/>
          <ac:spMkLst>
            <pc:docMk/>
            <pc:sldMk cId="2483803822" sldId="2134805989"/>
            <ac:spMk id="11" creationId="{6B58D09C-27DC-8D67-B884-F2891883F76C}"/>
          </ac:spMkLst>
        </pc:spChg>
        <pc:spChg chg="mod">
          <ac:chgData name="Laura Casadio" userId="66d3dc7e-795b-4a92-887c-7e990ee4a717" providerId="ADAL" clId="{A002E1BF-DA5B-40E8-8B58-22F68401CEFA}" dt="2025-02-10T16:26:10.167" v="2125" actId="14100"/>
          <ac:spMkLst>
            <pc:docMk/>
            <pc:sldMk cId="2483803822" sldId="2134805989"/>
            <ac:spMk id="13" creationId="{FC2920FA-35A4-5DDE-E5C9-4E3E452A4941}"/>
          </ac:spMkLst>
        </pc:spChg>
        <pc:spChg chg="add mod">
          <ac:chgData name="Laura Casadio" userId="66d3dc7e-795b-4a92-887c-7e990ee4a717" providerId="ADAL" clId="{A002E1BF-DA5B-40E8-8B58-22F68401CEFA}" dt="2025-02-10T16:23:35.550" v="2089" actId="20577"/>
          <ac:spMkLst>
            <pc:docMk/>
            <pc:sldMk cId="2483803822" sldId="2134805989"/>
            <ac:spMk id="15" creationId="{1AA69007-B1E3-CDF7-1929-529AB2B8D7E1}"/>
          </ac:spMkLst>
        </pc:spChg>
        <pc:spChg chg="add mod">
          <ac:chgData name="Laura Casadio" userId="66d3dc7e-795b-4a92-887c-7e990ee4a717" providerId="ADAL" clId="{A002E1BF-DA5B-40E8-8B58-22F68401CEFA}" dt="2025-02-05T08:39:40.410" v="1722" actId="2711"/>
          <ac:spMkLst>
            <pc:docMk/>
            <pc:sldMk cId="2483803822" sldId="2134805989"/>
            <ac:spMk id="16" creationId="{65B5D05E-CB21-A417-D183-DD8DBC6BECF6}"/>
          </ac:spMkLst>
        </pc:spChg>
        <pc:spChg chg="add mod">
          <ac:chgData name="Laura Casadio" userId="66d3dc7e-795b-4a92-887c-7e990ee4a717" providerId="ADAL" clId="{A002E1BF-DA5B-40E8-8B58-22F68401CEFA}" dt="2025-02-05T08:39:40.410" v="1722" actId="2711"/>
          <ac:spMkLst>
            <pc:docMk/>
            <pc:sldMk cId="2483803822" sldId="2134805989"/>
            <ac:spMk id="17" creationId="{8556EE6B-4511-288D-AE9A-CC239383B5A1}"/>
          </ac:spMkLst>
        </pc:spChg>
        <pc:spChg chg="add mod">
          <ac:chgData name="Laura Casadio" userId="66d3dc7e-795b-4a92-887c-7e990ee4a717" providerId="ADAL" clId="{A002E1BF-DA5B-40E8-8B58-22F68401CEFA}" dt="2025-02-05T08:39:40.410" v="1722" actId="2711"/>
          <ac:spMkLst>
            <pc:docMk/>
            <pc:sldMk cId="2483803822" sldId="2134805989"/>
            <ac:spMk id="18" creationId="{B7676E0D-F691-3D03-0160-785EB750E6A3}"/>
          </ac:spMkLst>
        </pc:spChg>
        <pc:spChg chg="add mod">
          <ac:chgData name="Laura Casadio" userId="66d3dc7e-795b-4a92-887c-7e990ee4a717" providerId="ADAL" clId="{A002E1BF-DA5B-40E8-8B58-22F68401CEFA}" dt="2025-02-05T15:55:43.006" v="1892" actId="1076"/>
          <ac:spMkLst>
            <pc:docMk/>
            <pc:sldMk cId="2483803822" sldId="2134805989"/>
            <ac:spMk id="19" creationId="{71DA0682-323A-CA17-11EB-DCCE38547794}"/>
          </ac:spMkLst>
        </pc:spChg>
        <pc:spChg chg="add mod">
          <ac:chgData name="Laura Casadio" userId="66d3dc7e-795b-4a92-887c-7e990ee4a717" providerId="ADAL" clId="{A002E1BF-DA5B-40E8-8B58-22F68401CEFA}" dt="2025-02-05T15:55:43.006" v="1892" actId="1076"/>
          <ac:spMkLst>
            <pc:docMk/>
            <pc:sldMk cId="2483803822" sldId="2134805989"/>
            <ac:spMk id="20" creationId="{B76F7AF8-DA26-E55D-4931-20695D00FE48}"/>
          </ac:spMkLst>
        </pc:spChg>
        <pc:spChg chg="add mod">
          <ac:chgData name="Laura Casadio" userId="66d3dc7e-795b-4a92-887c-7e990ee4a717" providerId="ADAL" clId="{A002E1BF-DA5B-40E8-8B58-22F68401CEFA}" dt="2025-02-05T08:39:40.410" v="1722" actId="2711"/>
          <ac:spMkLst>
            <pc:docMk/>
            <pc:sldMk cId="2483803822" sldId="2134805989"/>
            <ac:spMk id="21" creationId="{DF360790-B134-73E3-EDDB-BDED7CF046F1}"/>
          </ac:spMkLst>
        </pc:spChg>
        <pc:spChg chg="add mod">
          <ac:chgData name="Laura Casadio" userId="66d3dc7e-795b-4a92-887c-7e990ee4a717" providerId="ADAL" clId="{A002E1BF-DA5B-40E8-8B58-22F68401CEFA}" dt="2025-02-05T08:39:40.410" v="1722" actId="2711"/>
          <ac:spMkLst>
            <pc:docMk/>
            <pc:sldMk cId="2483803822" sldId="2134805989"/>
            <ac:spMk id="22" creationId="{C9918906-D9D9-1E4D-F9B6-5DB551ACE257}"/>
          </ac:spMkLst>
        </pc:spChg>
        <pc:spChg chg="add mod">
          <ac:chgData name="Laura Casadio" userId="66d3dc7e-795b-4a92-887c-7e990ee4a717" providerId="ADAL" clId="{A002E1BF-DA5B-40E8-8B58-22F68401CEFA}" dt="2025-02-10T16:26:35.280" v="2137" actId="20577"/>
          <ac:spMkLst>
            <pc:docMk/>
            <pc:sldMk cId="2483803822" sldId="2134805989"/>
            <ac:spMk id="24" creationId="{DC92F888-D6F9-FB98-B293-A5B454772AEB}"/>
          </ac:spMkLst>
        </pc:spChg>
        <pc:spChg chg="add mod">
          <ac:chgData name="Laura Casadio" userId="66d3dc7e-795b-4a92-887c-7e990ee4a717" providerId="ADAL" clId="{A002E1BF-DA5B-40E8-8B58-22F68401CEFA}" dt="2025-02-10T16:26:58.222" v="2154" actId="1035"/>
          <ac:spMkLst>
            <pc:docMk/>
            <pc:sldMk cId="2483803822" sldId="2134805989"/>
            <ac:spMk id="25" creationId="{A64C6C6F-21AA-D3BE-D8E6-6BA31BBF9820}"/>
          </ac:spMkLst>
        </pc:spChg>
        <pc:spChg chg="add mod">
          <ac:chgData name="Laura Casadio" userId="66d3dc7e-795b-4a92-887c-7e990ee4a717" providerId="ADAL" clId="{A002E1BF-DA5B-40E8-8B58-22F68401CEFA}" dt="2025-02-10T16:26:58.222" v="2154" actId="1035"/>
          <ac:spMkLst>
            <pc:docMk/>
            <pc:sldMk cId="2483803822" sldId="2134805989"/>
            <ac:spMk id="27" creationId="{6C5C5021-03B1-CB5C-D6C8-45A92CB44F2D}"/>
          </ac:spMkLst>
        </pc:spChg>
        <pc:spChg chg="mod">
          <ac:chgData name="Laura Casadio" userId="66d3dc7e-795b-4a92-887c-7e990ee4a717" providerId="ADAL" clId="{A002E1BF-DA5B-40E8-8B58-22F68401CEFA}" dt="2025-02-04T11:58:24.389" v="325" actId="1076"/>
          <ac:spMkLst>
            <pc:docMk/>
            <pc:sldMk cId="2483803822" sldId="2134805989"/>
            <ac:spMk id="70" creationId="{806B8040-186A-DF35-242B-F6AD41CEFC9B}"/>
          </ac:spMkLst>
        </pc:spChg>
        <pc:spChg chg="mod">
          <ac:chgData name="Laura Casadio" userId="66d3dc7e-795b-4a92-887c-7e990ee4a717" providerId="ADAL" clId="{A002E1BF-DA5B-40E8-8B58-22F68401CEFA}" dt="2025-02-04T11:58:20.414" v="324" actId="403"/>
          <ac:spMkLst>
            <pc:docMk/>
            <pc:sldMk cId="2483803822" sldId="2134805989"/>
            <ac:spMk id="72" creationId="{234DE21D-50CF-DB20-39D6-AED9A2B1BE66}"/>
          </ac:spMkLst>
        </pc:spChg>
        <pc:picChg chg="add mod">
          <ac:chgData name="Laura Casadio" userId="66d3dc7e-795b-4a92-887c-7e990ee4a717" providerId="ADAL" clId="{A002E1BF-DA5B-40E8-8B58-22F68401CEFA}" dt="2025-02-10T16:22:08.688" v="2076" actId="1076"/>
          <ac:picMkLst>
            <pc:docMk/>
            <pc:sldMk cId="2483803822" sldId="2134805989"/>
            <ac:picMk id="2" creationId="{23E643E8-AE93-4D0F-8392-902BEB789432}"/>
          </ac:picMkLst>
        </pc:picChg>
        <pc:picChg chg="mod">
          <ac:chgData name="Laura Casadio" userId="66d3dc7e-795b-4a92-887c-7e990ee4a717" providerId="ADAL" clId="{A002E1BF-DA5B-40E8-8B58-22F68401CEFA}" dt="2025-02-05T15:55:43.006" v="1892" actId="1076"/>
          <ac:picMkLst>
            <pc:docMk/>
            <pc:sldMk cId="2483803822" sldId="2134805989"/>
            <ac:picMk id="4" creationId="{48C21262-1EFC-8A50-F04D-2DA161E282B1}"/>
          </ac:picMkLst>
        </pc:picChg>
        <pc:picChg chg="add mod">
          <ac:chgData name="Laura Casadio" userId="66d3dc7e-795b-4a92-887c-7e990ee4a717" providerId="ADAL" clId="{A002E1BF-DA5B-40E8-8B58-22F68401CEFA}" dt="2025-02-10T16:22:16.479" v="2077" actId="1076"/>
          <ac:picMkLst>
            <pc:docMk/>
            <pc:sldMk cId="2483803822" sldId="2134805989"/>
            <ac:picMk id="8" creationId="{D2BBB641-3562-AC32-A1DE-ED2C3639D0AB}"/>
          </ac:picMkLst>
        </pc:picChg>
        <pc:picChg chg="mod">
          <ac:chgData name="Laura Casadio" userId="66d3dc7e-795b-4a92-887c-7e990ee4a717" providerId="ADAL" clId="{A002E1BF-DA5B-40E8-8B58-22F68401CEFA}" dt="2025-02-05T15:55:43.006" v="1892" actId="1076"/>
          <ac:picMkLst>
            <pc:docMk/>
            <pc:sldMk cId="2483803822" sldId="2134805989"/>
            <ac:picMk id="9" creationId="{F96C32CA-C05D-F873-B752-A15117F12087}"/>
          </ac:picMkLst>
        </pc:picChg>
        <pc:picChg chg="add mod">
          <ac:chgData name="Laura Casadio" userId="66d3dc7e-795b-4a92-887c-7e990ee4a717" providerId="ADAL" clId="{A002E1BF-DA5B-40E8-8B58-22F68401CEFA}" dt="2025-02-10T16:22:21.911" v="2079" actId="14100"/>
          <ac:picMkLst>
            <pc:docMk/>
            <pc:sldMk cId="2483803822" sldId="2134805989"/>
            <ac:picMk id="23" creationId="{6F2020A6-DA68-A6AE-E8DF-94F441E2FC05}"/>
          </ac:picMkLst>
        </pc:picChg>
        <pc:picChg chg="ord">
          <ac:chgData name="Laura Casadio" userId="66d3dc7e-795b-4a92-887c-7e990ee4a717" providerId="ADAL" clId="{A002E1BF-DA5B-40E8-8B58-22F68401CEFA}" dt="2025-02-04T11:55:18.814" v="318" actId="167"/>
          <ac:picMkLst>
            <pc:docMk/>
            <pc:sldMk cId="2483803822" sldId="2134805989"/>
            <ac:picMk id="43" creationId="{B97D9364-19A5-A712-198A-A50E313E991A}"/>
          </ac:picMkLst>
        </pc:picChg>
      </pc:sldChg>
      <pc:sldChg chg="addSp delSp modSp mod setBg">
        <pc:chgData name="Laura Casadio" userId="66d3dc7e-795b-4a92-887c-7e990ee4a717" providerId="ADAL" clId="{A002E1BF-DA5B-40E8-8B58-22F68401CEFA}" dt="2025-02-10T16:58:12.833" v="2497" actId="33935"/>
        <pc:sldMkLst>
          <pc:docMk/>
          <pc:sldMk cId="437238162" sldId="2134805990"/>
        </pc:sldMkLst>
        <pc:spChg chg="mod modVis">
          <ac:chgData name="Laura Casadio" userId="66d3dc7e-795b-4a92-887c-7e990ee4a717" providerId="ADAL" clId="{A002E1BF-DA5B-40E8-8B58-22F68401CEFA}" dt="2025-02-10T16:58:12.833" v="2497" actId="33935"/>
          <ac:spMkLst>
            <pc:docMk/>
            <pc:sldMk cId="437238162" sldId="2134805990"/>
            <ac:spMk id="3" creationId="{C8E17898-DA7D-93F1-1185-927716BB811A}"/>
          </ac:spMkLst>
        </pc:spChg>
        <pc:spChg chg="mod modVis">
          <ac:chgData name="Laura Casadio" userId="66d3dc7e-795b-4a92-887c-7e990ee4a717" providerId="ADAL" clId="{A002E1BF-DA5B-40E8-8B58-22F68401CEFA}" dt="2025-02-10T16:58:12.833" v="2497" actId="33935"/>
          <ac:spMkLst>
            <pc:docMk/>
            <pc:sldMk cId="437238162" sldId="2134805990"/>
            <ac:spMk id="4" creationId="{0BE2B642-5FE0-8DC4-4FBD-D3363E742381}"/>
          </ac:spMkLst>
        </pc:spChg>
        <pc:spChg chg="mod modVis">
          <ac:chgData name="Laura Casadio" userId="66d3dc7e-795b-4a92-887c-7e990ee4a717" providerId="ADAL" clId="{A002E1BF-DA5B-40E8-8B58-22F68401CEFA}" dt="2025-02-10T16:58:12.833" v="2497" actId="33935"/>
          <ac:spMkLst>
            <pc:docMk/>
            <pc:sldMk cId="437238162" sldId="2134805990"/>
            <ac:spMk id="6" creationId="{78AF93A7-7FED-145D-B3A0-1BE92C07B25C}"/>
          </ac:spMkLst>
        </pc:spChg>
        <pc:spChg chg="add del mod modVis">
          <ac:chgData name="Laura Casadio" userId="66d3dc7e-795b-4a92-887c-7e990ee4a717" providerId="ADAL" clId="{A002E1BF-DA5B-40E8-8B58-22F68401CEFA}" dt="2025-02-10T16:58:12.833" v="2497" actId="33935"/>
          <ac:spMkLst>
            <pc:docMk/>
            <pc:sldMk cId="437238162" sldId="2134805990"/>
            <ac:spMk id="10" creationId="{76865DA5-7FAD-7C9C-2FCE-9DDB8CB80A9D}"/>
          </ac:spMkLst>
        </pc:spChg>
        <pc:spChg chg="add mod modVis">
          <ac:chgData name="Laura Casadio" userId="66d3dc7e-795b-4a92-887c-7e990ee4a717" providerId="ADAL" clId="{A002E1BF-DA5B-40E8-8B58-22F68401CEFA}" dt="2025-02-10T16:58:12.833" v="2497" actId="33935"/>
          <ac:spMkLst>
            <pc:docMk/>
            <pc:sldMk cId="437238162" sldId="2134805990"/>
            <ac:spMk id="11" creationId="{69C15E55-9C99-AC93-7BC9-3A1B31F0990B}"/>
          </ac:spMkLst>
        </pc:spChg>
        <pc:spChg chg="add mod modVis">
          <ac:chgData name="Laura Casadio" userId="66d3dc7e-795b-4a92-887c-7e990ee4a717" providerId="ADAL" clId="{A002E1BF-DA5B-40E8-8B58-22F68401CEFA}" dt="2025-02-10T16:58:12.833" v="2497" actId="33935"/>
          <ac:spMkLst>
            <pc:docMk/>
            <pc:sldMk cId="437238162" sldId="2134805990"/>
            <ac:spMk id="12" creationId="{7C03755F-8F54-7389-29E8-00933D32AF72}"/>
          </ac:spMkLst>
        </pc:spChg>
        <pc:spChg chg="add mod modVis">
          <ac:chgData name="Laura Casadio" userId="66d3dc7e-795b-4a92-887c-7e990ee4a717" providerId="ADAL" clId="{A002E1BF-DA5B-40E8-8B58-22F68401CEFA}" dt="2025-02-10T16:58:12.833" v="2497" actId="33935"/>
          <ac:spMkLst>
            <pc:docMk/>
            <pc:sldMk cId="437238162" sldId="2134805990"/>
            <ac:spMk id="13" creationId="{D1198A75-FB9C-F2C7-32B2-B544CFB75220}"/>
          </ac:spMkLst>
        </pc:spChg>
        <pc:spChg chg="add mod modVis">
          <ac:chgData name="Laura Casadio" userId="66d3dc7e-795b-4a92-887c-7e990ee4a717" providerId="ADAL" clId="{A002E1BF-DA5B-40E8-8B58-22F68401CEFA}" dt="2025-02-10T16:58:12.833" v="2497" actId="33935"/>
          <ac:spMkLst>
            <pc:docMk/>
            <pc:sldMk cId="437238162" sldId="2134805990"/>
            <ac:spMk id="15" creationId="{9E211E7B-EA3A-97A3-E975-849D57CE2389}"/>
          </ac:spMkLst>
        </pc:spChg>
        <pc:spChg chg="add mod modVis">
          <ac:chgData name="Laura Casadio" userId="66d3dc7e-795b-4a92-887c-7e990ee4a717" providerId="ADAL" clId="{A002E1BF-DA5B-40E8-8B58-22F68401CEFA}" dt="2025-02-10T16:58:12.833" v="2497" actId="33935"/>
          <ac:spMkLst>
            <pc:docMk/>
            <pc:sldMk cId="437238162" sldId="2134805990"/>
            <ac:spMk id="16" creationId="{39B12FA6-BF12-A22F-E333-D857F70E50C7}"/>
          </ac:spMkLst>
        </pc:spChg>
        <pc:picChg chg="mod modVis">
          <ac:chgData name="Laura Casadio" userId="66d3dc7e-795b-4a92-887c-7e990ee4a717" providerId="ADAL" clId="{A002E1BF-DA5B-40E8-8B58-22F68401CEFA}" dt="2025-02-10T16:58:12.833" v="2497" actId="33935"/>
          <ac:picMkLst>
            <pc:docMk/>
            <pc:sldMk cId="437238162" sldId="2134805990"/>
            <ac:picMk id="8" creationId="{97D538B2-1225-C7F7-2951-13E206BCBA69}"/>
          </ac:picMkLst>
        </pc:picChg>
      </pc:sldChg>
      <pc:sldChg chg="addSp delSp modSp del mod">
        <pc:chgData name="Laura Casadio" userId="66d3dc7e-795b-4a92-887c-7e990ee4a717" providerId="ADAL" clId="{A002E1BF-DA5B-40E8-8B58-22F68401CEFA}" dt="2025-02-05T12:12:22.028" v="1807" actId="2696"/>
        <pc:sldMkLst>
          <pc:docMk/>
          <pc:sldMk cId="3255695404" sldId="2134805993"/>
        </pc:sldMkLst>
      </pc:sldChg>
      <pc:sldChg chg="del">
        <pc:chgData name="Laura Casadio" userId="66d3dc7e-795b-4a92-887c-7e990ee4a717" providerId="ADAL" clId="{A002E1BF-DA5B-40E8-8B58-22F68401CEFA}" dt="2025-02-04T12:06:09.903" v="393" actId="2696"/>
        <pc:sldMkLst>
          <pc:docMk/>
          <pc:sldMk cId="109448605" sldId="2134805994"/>
        </pc:sldMkLst>
      </pc:sldChg>
      <pc:sldChg chg="addSp delSp modSp mod">
        <pc:chgData name="Laura Casadio" userId="66d3dc7e-795b-4a92-887c-7e990ee4a717" providerId="ADAL" clId="{A002E1BF-DA5B-40E8-8B58-22F68401CEFA}" dt="2025-02-05T08:40:25.403" v="1728" actId="2711"/>
        <pc:sldMkLst>
          <pc:docMk/>
          <pc:sldMk cId="2897335782" sldId="2134805995"/>
        </pc:sldMkLst>
        <pc:spChg chg="add mod">
          <ac:chgData name="Laura Casadio" userId="66d3dc7e-795b-4a92-887c-7e990ee4a717" providerId="ADAL" clId="{A002E1BF-DA5B-40E8-8B58-22F68401CEFA}" dt="2025-02-05T08:40:25.403" v="1728" actId="2711"/>
          <ac:spMkLst>
            <pc:docMk/>
            <pc:sldMk cId="2897335782" sldId="2134805995"/>
            <ac:spMk id="10" creationId="{336F7C82-4518-DDD3-13C6-4224F6E8D999}"/>
          </ac:spMkLst>
        </pc:spChg>
        <pc:spChg chg="add mod">
          <ac:chgData name="Laura Casadio" userId="66d3dc7e-795b-4a92-887c-7e990ee4a717" providerId="ADAL" clId="{A002E1BF-DA5B-40E8-8B58-22F68401CEFA}" dt="2025-02-05T08:40:25.403" v="1728" actId="2711"/>
          <ac:spMkLst>
            <pc:docMk/>
            <pc:sldMk cId="2897335782" sldId="2134805995"/>
            <ac:spMk id="11" creationId="{83BFBA18-C563-02CE-9B4E-C3E076268A58}"/>
          </ac:spMkLst>
        </pc:spChg>
        <pc:spChg chg="add mod">
          <ac:chgData name="Laura Casadio" userId="66d3dc7e-795b-4a92-887c-7e990ee4a717" providerId="ADAL" clId="{A002E1BF-DA5B-40E8-8B58-22F68401CEFA}" dt="2025-02-05T08:40:25.403" v="1728" actId="2711"/>
          <ac:spMkLst>
            <pc:docMk/>
            <pc:sldMk cId="2897335782" sldId="2134805995"/>
            <ac:spMk id="12" creationId="{2A7D4878-1147-AA4F-22E2-E7D07678FC8E}"/>
          </ac:spMkLst>
        </pc:spChg>
        <pc:spChg chg="add mod">
          <ac:chgData name="Laura Casadio" userId="66d3dc7e-795b-4a92-887c-7e990ee4a717" providerId="ADAL" clId="{A002E1BF-DA5B-40E8-8B58-22F68401CEFA}" dt="2025-02-05T08:40:25.403" v="1728" actId="2711"/>
          <ac:spMkLst>
            <pc:docMk/>
            <pc:sldMk cId="2897335782" sldId="2134805995"/>
            <ac:spMk id="14" creationId="{4750343A-111B-7493-6D8B-C18EFA6F308F}"/>
          </ac:spMkLst>
        </pc:spChg>
        <pc:spChg chg="add mod">
          <ac:chgData name="Laura Casadio" userId="66d3dc7e-795b-4a92-887c-7e990ee4a717" providerId="ADAL" clId="{A002E1BF-DA5B-40E8-8B58-22F68401CEFA}" dt="2025-02-05T08:40:25.403" v="1728" actId="2711"/>
          <ac:spMkLst>
            <pc:docMk/>
            <pc:sldMk cId="2897335782" sldId="2134805995"/>
            <ac:spMk id="15" creationId="{ED21DB1C-E7DC-BCA9-ECE7-EA9F8666D9F3}"/>
          </ac:spMkLst>
        </pc:spChg>
        <pc:spChg chg="add mod">
          <ac:chgData name="Laura Casadio" userId="66d3dc7e-795b-4a92-887c-7e990ee4a717" providerId="ADAL" clId="{A002E1BF-DA5B-40E8-8B58-22F68401CEFA}" dt="2025-02-05T08:40:25.403" v="1728" actId="2711"/>
          <ac:spMkLst>
            <pc:docMk/>
            <pc:sldMk cId="2897335782" sldId="2134805995"/>
            <ac:spMk id="16" creationId="{B832D57B-4D12-55EA-9B78-47D0312FA7B6}"/>
          </ac:spMkLst>
        </pc:spChg>
        <pc:spChg chg="add mod">
          <ac:chgData name="Laura Casadio" userId="66d3dc7e-795b-4a92-887c-7e990ee4a717" providerId="ADAL" clId="{A002E1BF-DA5B-40E8-8B58-22F68401CEFA}" dt="2025-02-05T08:40:25.403" v="1728" actId="2711"/>
          <ac:spMkLst>
            <pc:docMk/>
            <pc:sldMk cId="2897335782" sldId="2134805995"/>
            <ac:spMk id="17" creationId="{6DFB5AB2-6396-5533-5BD3-D1554695800E}"/>
          </ac:spMkLst>
        </pc:spChg>
        <pc:spChg chg="add mod">
          <ac:chgData name="Laura Casadio" userId="66d3dc7e-795b-4a92-887c-7e990ee4a717" providerId="ADAL" clId="{A002E1BF-DA5B-40E8-8B58-22F68401CEFA}" dt="2025-02-05T08:40:25.403" v="1728" actId="2711"/>
          <ac:spMkLst>
            <pc:docMk/>
            <pc:sldMk cId="2897335782" sldId="2134805995"/>
            <ac:spMk id="18" creationId="{12C5673D-1A09-AA8D-9610-CE14C31F3BA8}"/>
          </ac:spMkLst>
        </pc:spChg>
        <pc:spChg chg="add mod">
          <ac:chgData name="Laura Casadio" userId="66d3dc7e-795b-4a92-887c-7e990ee4a717" providerId="ADAL" clId="{A002E1BF-DA5B-40E8-8B58-22F68401CEFA}" dt="2025-02-05T08:40:25.403" v="1728" actId="2711"/>
          <ac:spMkLst>
            <pc:docMk/>
            <pc:sldMk cId="2897335782" sldId="2134805995"/>
            <ac:spMk id="19" creationId="{FD77C227-3790-C86A-E80D-2A11FABD4A91}"/>
          </ac:spMkLst>
        </pc:spChg>
        <pc:spChg chg="add mod">
          <ac:chgData name="Laura Casadio" userId="66d3dc7e-795b-4a92-887c-7e990ee4a717" providerId="ADAL" clId="{A002E1BF-DA5B-40E8-8B58-22F68401CEFA}" dt="2025-02-05T08:40:25.403" v="1728" actId="2711"/>
          <ac:spMkLst>
            <pc:docMk/>
            <pc:sldMk cId="2897335782" sldId="2134805995"/>
            <ac:spMk id="20" creationId="{6561B6A1-1939-296E-587F-A0C4B082C2ED}"/>
          </ac:spMkLst>
        </pc:spChg>
        <pc:spChg chg="add mod">
          <ac:chgData name="Laura Casadio" userId="66d3dc7e-795b-4a92-887c-7e990ee4a717" providerId="ADAL" clId="{A002E1BF-DA5B-40E8-8B58-22F68401CEFA}" dt="2025-02-05T08:40:25.403" v="1728" actId="2711"/>
          <ac:spMkLst>
            <pc:docMk/>
            <pc:sldMk cId="2897335782" sldId="2134805995"/>
            <ac:spMk id="21" creationId="{F2AC6D33-F308-AF30-0476-6C42045226A5}"/>
          </ac:spMkLst>
        </pc:spChg>
        <pc:spChg chg="mod">
          <ac:chgData name="Laura Casadio" userId="66d3dc7e-795b-4a92-887c-7e990ee4a717" providerId="ADAL" clId="{A002E1BF-DA5B-40E8-8B58-22F68401CEFA}" dt="2025-02-04T12:08:02.930" v="429"/>
          <ac:spMkLst>
            <pc:docMk/>
            <pc:sldMk cId="2897335782" sldId="2134805995"/>
            <ac:spMk id="71" creationId="{2AD15FC7-13C1-7EAF-160A-6AFB645E257B}"/>
          </ac:spMkLst>
        </pc:spChg>
      </pc:sldChg>
      <pc:sldChg chg="del">
        <pc:chgData name="Laura Casadio" userId="66d3dc7e-795b-4a92-887c-7e990ee4a717" providerId="ADAL" clId="{A002E1BF-DA5B-40E8-8B58-22F68401CEFA}" dt="2025-02-04T12:17:23.469" v="460" actId="2696"/>
        <pc:sldMkLst>
          <pc:docMk/>
          <pc:sldMk cId="109622674" sldId="2134805996"/>
        </pc:sldMkLst>
      </pc:sldChg>
      <pc:sldChg chg="addSp modSp mod">
        <pc:chgData name="Laura Casadio" userId="66d3dc7e-795b-4a92-887c-7e990ee4a717" providerId="ADAL" clId="{A002E1BF-DA5B-40E8-8B58-22F68401CEFA}" dt="2025-02-05T08:42:34.372" v="1744" actId="2711"/>
        <pc:sldMkLst>
          <pc:docMk/>
          <pc:sldMk cId="1104744956" sldId="2134805998"/>
        </pc:sldMkLst>
        <pc:spChg chg="mod">
          <ac:chgData name="Laura Casadio" userId="66d3dc7e-795b-4a92-887c-7e990ee4a717" providerId="ADAL" clId="{A002E1BF-DA5B-40E8-8B58-22F68401CEFA}" dt="2025-02-04T15:11:54.782" v="1643" actId="207"/>
          <ac:spMkLst>
            <pc:docMk/>
            <pc:sldMk cId="1104744956" sldId="2134805998"/>
            <ac:spMk id="3" creationId="{F05BB0ED-AC30-1D72-C29B-63AC7ACFAA1E}"/>
          </ac:spMkLst>
        </pc:spChg>
        <pc:spChg chg="mod">
          <ac:chgData name="Laura Casadio" userId="66d3dc7e-795b-4a92-887c-7e990ee4a717" providerId="ADAL" clId="{A002E1BF-DA5B-40E8-8B58-22F68401CEFA}" dt="2025-02-04T12:41:29.111" v="704" actId="20577"/>
          <ac:spMkLst>
            <pc:docMk/>
            <pc:sldMk cId="1104744956" sldId="2134805998"/>
            <ac:spMk id="4" creationId="{BD4B03E2-0D83-3272-E83A-720693C13A82}"/>
          </ac:spMkLst>
        </pc:spChg>
        <pc:spChg chg="add mod">
          <ac:chgData name="Laura Casadio" userId="66d3dc7e-795b-4a92-887c-7e990ee4a717" providerId="ADAL" clId="{A002E1BF-DA5B-40E8-8B58-22F68401CEFA}" dt="2025-02-05T08:42:34.372" v="1744" actId="2711"/>
          <ac:spMkLst>
            <pc:docMk/>
            <pc:sldMk cId="1104744956" sldId="2134805998"/>
            <ac:spMk id="5" creationId="{94F5F401-4C09-E954-1739-429EAA66D71F}"/>
          </ac:spMkLst>
        </pc:spChg>
        <pc:spChg chg="mod">
          <ac:chgData name="Laura Casadio" userId="66d3dc7e-795b-4a92-887c-7e990ee4a717" providerId="ADAL" clId="{A002E1BF-DA5B-40E8-8B58-22F68401CEFA}" dt="2025-02-04T15:11:57.423" v="1644" actId="207"/>
          <ac:spMkLst>
            <pc:docMk/>
            <pc:sldMk cId="1104744956" sldId="2134805998"/>
            <ac:spMk id="6" creationId="{5F07C0A6-EE49-659F-118F-45A35A0D976B}"/>
          </ac:spMkLst>
        </pc:spChg>
        <pc:spChg chg="add mod">
          <ac:chgData name="Laura Casadio" userId="66d3dc7e-795b-4a92-887c-7e990ee4a717" providerId="ADAL" clId="{A002E1BF-DA5B-40E8-8B58-22F68401CEFA}" dt="2025-02-05T08:42:34.372" v="1744" actId="2711"/>
          <ac:spMkLst>
            <pc:docMk/>
            <pc:sldMk cId="1104744956" sldId="2134805998"/>
            <ac:spMk id="7" creationId="{2BFCBF4A-6675-099A-5E74-DA3B5350C1B8}"/>
          </ac:spMkLst>
        </pc:spChg>
        <pc:spChg chg="mod">
          <ac:chgData name="Laura Casadio" userId="66d3dc7e-795b-4a92-887c-7e990ee4a717" providerId="ADAL" clId="{A002E1BF-DA5B-40E8-8B58-22F68401CEFA}" dt="2025-02-05T08:42:34.372" v="1744" actId="2711"/>
          <ac:spMkLst>
            <pc:docMk/>
            <pc:sldMk cId="1104744956" sldId="2134805998"/>
            <ac:spMk id="8" creationId="{A04571F0-1BAC-28B7-7462-C3A4ABD9ECB5}"/>
          </ac:spMkLst>
        </pc:spChg>
        <pc:spChg chg="add mod">
          <ac:chgData name="Laura Casadio" userId="66d3dc7e-795b-4a92-887c-7e990ee4a717" providerId="ADAL" clId="{A002E1BF-DA5B-40E8-8B58-22F68401CEFA}" dt="2025-02-05T08:42:34.372" v="1744" actId="2711"/>
          <ac:spMkLst>
            <pc:docMk/>
            <pc:sldMk cId="1104744956" sldId="2134805998"/>
            <ac:spMk id="9" creationId="{FA9449C1-A6F2-61B8-D5D1-31DC0C841929}"/>
          </ac:spMkLst>
        </pc:spChg>
        <pc:spChg chg="mod">
          <ac:chgData name="Laura Casadio" userId="66d3dc7e-795b-4a92-887c-7e990ee4a717" providerId="ADAL" clId="{A002E1BF-DA5B-40E8-8B58-22F68401CEFA}" dt="2025-02-04T12:40:38.166" v="699" actId="20577"/>
          <ac:spMkLst>
            <pc:docMk/>
            <pc:sldMk cId="1104744956" sldId="2134805998"/>
            <ac:spMk id="10" creationId="{4AC399DE-D4E4-C4AF-59E7-215433152576}"/>
          </ac:spMkLst>
        </pc:spChg>
        <pc:spChg chg="add mod">
          <ac:chgData name="Laura Casadio" userId="66d3dc7e-795b-4a92-887c-7e990ee4a717" providerId="ADAL" clId="{A002E1BF-DA5B-40E8-8B58-22F68401CEFA}" dt="2025-02-05T08:42:34.372" v="1744" actId="2711"/>
          <ac:spMkLst>
            <pc:docMk/>
            <pc:sldMk cId="1104744956" sldId="2134805998"/>
            <ac:spMk id="12" creationId="{5AAA6515-6968-1541-7BD7-EC3605CE65D5}"/>
          </ac:spMkLst>
        </pc:spChg>
        <pc:spChg chg="add mod">
          <ac:chgData name="Laura Casadio" userId="66d3dc7e-795b-4a92-887c-7e990ee4a717" providerId="ADAL" clId="{A002E1BF-DA5B-40E8-8B58-22F68401CEFA}" dt="2025-02-05T08:42:34.372" v="1744" actId="2711"/>
          <ac:spMkLst>
            <pc:docMk/>
            <pc:sldMk cId="1104744956" sldId="2134805998"/>
            <ac:spMk id="14" creationId="{8390C771-887A-6D4D-2CEC-38C531FD173B}"/>
          </ac:spMkLst>
        </pc:spChg>
        <pc:spChg chg="add mod">
          <ac:chgData name="Laura Casadio" userId="66d3dc7e-795b-4a92-887c-7e990ee4a717" providerId="ADAL" clId="{A002E1BF-DA5B-40E8-8B58-22F68401CEFA}" dt="2025-02-05T08:42:34.372" v="1744" actId="2711"/>
          <ac:spMkLst>
            <pc:docMk/>
            <pc:sldMk cId="1104744956" sldId="2134805998"/>
            <ac:spMk id="21" creationId="{CD3A1A8A-D40E-30BD-A702-14FF18883E24}"/>
          </ac:spMkLst>
        </pc:spChg>
        <pc:spChg chg="add mod">
          <ac:chgData name="Laura Casadio" userId="66d3dc7e-795b-4a92-887c-7e990ee4a717" providerId="ADAL" clId="{A002E1BF-DA5B-40E8-8B58-22F68401CEFA}" dt="2025-02-05T08:42:34.372" v="1744" actId="2711"/>
          <ac:spMkLst>
            <pc:docMk/>
            <pc:sldMk cId="1104744956" sldId="2134805998"/>
            <ac:spMk id="24" creationId="{53622911-5942-B771-D06B-19A9FCA61CF2}"/>
          </ac:spMkLst>
        </pc:spChg>
        <pc:spChg chg="add mod">
          <ac:chgData name="Laura Casadio" userId="66d3dc7e-795b-4a92-887c-7e990ee4a717" providerId="ADAL" clId="{A002E1BF-DA5B-40E8-8B58-22F68401CEFA}" dt="2025-02-05T08:42:34.372" v="1744" actId="2711"/>
          <ac:spMkLst>
            <pc:docMk/>
            <pc:sldMk cId="1104744956" sldId="2134805998"/>
            <ac:spMk id="25" creationId="{8D731659-A0E8-E8A5-72C0-FF57E005F930}"/>
          </ac:spMkLst>
        </pc:spChg>
        <pc:spChg chg="add mod">
          <ac:chgData name="Laura Casadio" userId="66d3dc7e-795b-4a92-887c-7e990ee4a717" providerId="ADAL" clId="{A002E1BF-DA5B-40E8-8B58-22F68401CEFA}" dt="2025-02-05T08:42:34.372" v="1744" actId="2711"/>
          <ac:spMkLst>
            <pc:docMk/>
            <pc:sldMk cId="1104744956" sldId="2134805998"/>
            <ac:spMk id="28" creationId="{A0DE5C65-831F-DFAD-1474-A1317167E330}"/>
          </ac:spMkLst>
        </pc:spChg>
        <pc:spChg chg="add mod">
          <ac:chgData name="Laura Casadio" userId="66d3dc7e-795b-4a92-887c-7e990ee4a717" providerId="ADAL" clId="{A002E1BF-DA5B-40E8-8B58-22F68401CEFA}" dt="2025-02-05T08:42:34.372" v="1744" actId="2711"/>
          <ac:spMkLst>
            <pc:docMk/>
            <pc:sldMk cId="1104744956" sldId="2134805998"/>
            <ac:spMk id="29" creationId="{F9ABB660-E323-2E10-159E-515258E24803}"/>
          </ac:spMkLst>
        </pc:spChg>
        <pc:spChg chg="add mod">
          <ac:chgData name="Laura Casadio" userId="66d3dc7e-795b-4a92-887c-7e990ee4a717" providerId="ADAL" clId="{A002E1BF-DA5B-40E8-8B58-22F68401CEFA}" dt="2025-02-05T08:42:34.372" v="1744" actId="2711"/>
          <ac:spMkLst>
            <pc:docMk/>
            <pc:sldMk cId="1104744956" sldId="2134805998"/>
            <ac:spMk id="32" creationId="{994CC8ED-BB7C-7D56-971B-3557A5F823D4}"/>
          </ac:spMkLst>
        </pc:spChg>
        <pc:spChg chg="add mod">
          <ac:chgData name="Laura Casadio" userId="66d3dc7e-795b-4a92-887c-7e990ee4a717" providerId="ADAL" clId="{A002E1BF-DA5B-40E8-8B58-22F68401CEFA}" dt="2025-02-05T08:42:34.372" v="1744" actId="2711"/>
          <ac:spMkLst>
            <pc:docMk/>
            <pc:sldMk cId="1104744956" sldId="2134805998"/>
            <ac:spMk id="33" creationId="{239AE4AA-9728-09F9-DAB4-690778895FF3}"/>
          </ac:spMkLst>
        </pc:spChg>
        <pc:spChg chg="mod">
          <ac:chgData name="Laura Casadio" userId="66d3dc7e-795b-4a92-887c-7e990ee4a717" providerId="ADAL" clId="{A002E1BF-DA5B-40E8-8B58-22F68401CEFA}" dt="2025-02-04T12:41:44.460" v="707"/>
          <ac:spMkLst>
            <pc:docMk/>
            <pc:sldMk cId="1104744956" sldId="2134805998"/>
            <ac:spMk id="70" creationId="{806B8040-186A-DF35-242B-F6AD41CEFC9B}"/>
          </ac:spMkLst>
        </pc:spChg>
        <pc:spChg chg="mod">
          <ac:chgData name="Laura Casadio" userId="66d3dc7e-795b-4a92-887c-7e990ee4a717" providerId="ADAL" clId="{A002E1BF-DA5B-40E8-8B58-22F68401CEFA}" dt="2025-02-04T12:41:57.499" v="713" actId="20577"/>
          <ac:spMkLst>
            <pc:docMk/>
            <pc:sldMk cId="1104744956" sldId="2134805998"/>
            <ac:spMk id="71" creationId="{2AD15FC7-13C1-7EAF-160A-6AFB645E257B}"/>
          </ac:spMkLst>
        </pc:spChg>
      </pc:sldChg>
      <pc:sldChg chg="addSp delSp modSp mod">
        <pc:chgData name="Laura Casadio" userId="66d3dc7e-795b-4a92-887c-7e990ee4a717" providerId="ADAL" clId="{A002E1BF-DA5B-40E8-8B58-22F68401CEFA}" dt="2025-02-10T17:41:11.406" v="2643" actId="20577"/>
        <pc:sldMkLst>
          <pc:docMk/>
          <pc:sldMk cId="3700847209" sldId="2134805999"/>
        </pc:sldMkLst>
        <pc:spChg chg="add mod">
          <ac:chgData name="Laura Casadio" userId="66d3dc7e-795b-4a92-887c-7e990ee4a717" providerId="ADAL" clId="{A002E1BF-DA5B-40E8-8B58-22F68401CEFA}" dt="2025-02-10T13:35:56.102" v="2043" actId="20577"/>
          <ac:spMkLst>
            <pc:docMk/>
            <pc:sldMk cId="3700847209" sldId="2134805999"/>
            <ac:spMk id="3" creationId="{9BD7C1C6-BB4A-60B4-A6D3-8AB8371F4EEC}"/>
          </ac:spMkLst>
        </pc:spChg>
        <pc:spChg chg="mod">
          <ac:chgData name="Laura Casadio" userId="66d3dc7e-795b-4a92-887c-7e990ee4a717" providerId="ADAL" clId="{A002E1BF-DA5B-40E8-8B58-22F68401CEFA}" dt="2025-02-10T13:35:15.595" v="2033" actId="14100"/>
          <ac:spMkLst>
            <pc:docMk/>
            <pc:sldMk cId="3700847209" sldId="2134805999"/>
            <ac:spMk id="10" creationId="{4AC399DE-D4E4-C4AF-59E7-215433152576}"/>
          </ac:spMkLst>
        </pc:spChg>
        <pc:spChg chg="add mod">
          <ac:chgData name="Laura Casadio" userId="66d3dc7e-795b-4a92-887c-7e990ee4a717" providerId="ADAL" clId="{A002E1BF-DA5B-40E8-8B58-22F68401CEFA}" dt="2025-02-10T13:36:48.007" v="2048" actId="2711"/>
          <ac:spMkLst>
            <pc:docMk/>
            <pc:sldMk cId="3700847209" sldId="2134805999"/>
            <ac:spMk id="14" creationId="{42E486B0-CF82-370E-A497-1BB316D0FCD4}"/>
          </ac:spMkLst>
        </pc:spChg>
        <pc:spChg chg="add mod">
          <ac:chgData name="Laura Casadio" userId="66d3dc7e-795b-4a92-887c-7e990ee4a717" providerId="ADAL" clId="{A002E1BF-DA5B-40E8-8B58-22F68401CEFA}" dt="2025-02-10T13:36:48.007" v="2048" actId="2711"/>
          <ac:spMkLst>
            <pc:docMk/>
            <pc:sldMk cId="3700847209" sldId="2134805999"/>
            <ac:spMk id="16" creationId="{A050DA49-AB73-B064-F4F7-D6A322FFE884}"/>
          </ac:spMkLst>
        </pc:spChg>
        <pc:spChg chg="add mod">
          <ac:chgData name="Laura Casadio" userId="66d3dc7e-795b-4a92-887c-7e990ee4a717" providerId="ADAL" clId="{A002E1BF-DA5B-40E8-8B58-22F68401CEFA}" dt="2025-02-10T13:36:48.007" v="2048" actId="2711"/>
          <ac:spMkLst>
            <pc:docMk/>
            <pc:sldMk cId="3700847209" sldId="2134805999"/>
            <ac:spMk id="18" creationId="{36500E1F-80F2-F5A0-C2E1-092189BB137E}"/>
          </ac:spMkLst>
        </pc:spChg>
        <pc:spChg chg="add mod">
          <ac:chgData name="Laura Casadio" userId="66d3dc7e-795b-4a92-887c-7e990ee4a717" providerId="ADAL" clId="{A002E1BF-DA5B-40E8-8B58-22F68401CEFA}" dt="2025-02-10T13:36:48.007" v="2048" actId="2711"/>
          <ac:spMkLst>
            <pc:docMk/>
            <pc:sldMk cId="3700847209" sldId="2134805999"/>
            <ac:spMk id="22" creationId="{DB5B0DA3-8AF0-3A97-C6B4-913B85E44085}"/>
          </ac:spMkLst>
        </pc:spChg>
        <pc:spChg chg="add mod">
          <ac:chgData name="Laura Casadio" userId="66d3dc7e-795b-4a92-887c-7e990ee4a717" providerId="ADAL" clId="{A002E1BF-DA5B-40E8-8B58-22F68401CEFA}" dt="2025-02-05T08:40:31.405" v="1729" actId="2711"/>
          <ac:spMkLst>
            <pc:docMk/>
            <pc:sldMk cId="3700847209" sldId="2134805999"/>
            <ac:spMk id="30" creationId="{964D9D2C-65CC-975D-9DF9-0239CD332C56}"/>
          </ac:spMkLst>
        </pc:spChg>
        <pc:spChg chg="add mod">
          <ac:chgData name="Laura Casadio" userId="66d3dc7e-795b-4a92-887c-7e990ee4a717" providerId="ADAL" clId="{A002E1BF-DA5B-40E8-8B58-22F68401CEFA}" dt="2025-02-05T08:40:31.405" v="1729" actId="2711"/>
          <ac:spMkLst>
            <pc:docMk/>
            <pc:sldMk cId="3700847209" sldId="2134805999"/>
            <ac:spMk id="31" creationId="{9AFD0C9C-C99B-83BC-E25D-7573521B2C78}"/>
          </ac:spMkLst>
        </pc:spChg>
        <pc:spChg chg="mod">
          <ac:chgData name="Laura Casadio" userId="66d3dc7e-795b-4a92-887c-7e990ee4a717" providerId="ADAL" clId="{A002E1BF-DA5B-40E8-8B58-22F68401CEFA}" dt="2025-02-04T15:05:33.393" v="1640" actId="207"/>
          <ac:spMkLst>
            <pc:docMk/>
            <pc:sldMk cId="3700847209" sldId="2134805999"/>
            <ac:spMk id="70" creationId="{806B8040-186A-DF35-242B-F6AD41CEFC9B}"/>
          </ac:spMkLst>
        </pc:spChg>
        <pc:picChg chg="add mod">
          <ac:chgData name="Laura Casadio" userId="66d3dc7e-795b-4a92-887c-7e990ee4a717" providerId="ADAL" clId="{A002E1BF-DA5B-40E8-8B58-22F68401CEFA}" dt="2025-02-10T13:36:06.266" v="2044"/>
          <ac:picMkLst>
            <pc:docMk/>
            <pc:sldMk cId="3700847209" sldId="2134805999"/>
            <ac:picMk id="9" creationId="{A14B9080-360B-6F1D-8865-68BEDBCB52B0}"/>
          </ac:picMkLst>
        </pc:picChg>
        <pc:picChg chg="add mod">
          <ac:chgData name="Laura Casadio" userId="66d3dc7e-795b-4a92-887c-7e990ee4a717" providerId="ADAL" clId="{A002E1BF-DA5B-40E8-8B58-22F68401CEFA}" dt="2025-02-10T13:36:06.266" v="2044"/>
          <ac:picMkLst>
            <pc:docMk/>
            <pc:sldMk cId="3700847209" sldId="2134805999"/>
            <ac:picMk id="13" creationId="{B994B758-21C2-74B6-AF5F-82E35670CC44}"/>
          </ac:picMkLst>
        </pc:picChg>
      </pc:sldChg>
      <pc:sldChg chg="addSp delSp modSp mod ord">
        <pc:chgData name="Laura Casadio" userId="66d3dc7e-795b-4a92-887c-7e990ee4a717" providerId="ADAL" clId="{A002E1BF-DA5B-40E8-8B58-22F68401CEFA}" dt="2025-02-10T13:39:12.778" v="2054" actId="14100"/>
        <pc:sldMkLst>
          <pc:docMk/>
          <pc:sldMk cId="2267328279" sldId="2134806001"/>
        </pc:sldMkLst>
        <pc:spChg chg="mod">
          <ac:chgData name="Laura Casadio" userId="66d3dc7e-795b-4a92-887c-7e990ee4a717" providerId="ADAL" clId="{A002E1BF-DA5B-40E8-8B58-22F68401CEFA}" dt="2025-02-04T12:33:28.327" v="598" actId="14100"/>
          <ac:spMkLst>
            <pc:docMk/>
            <pc:sldMk cId="2267328279" sldId="2134806001"/>
            <ac:spMk id="3" creationId="{99595A96-F59F-0168-CC6D-EF0B1532EA2C}"/>
          </ac:spMkLst>
        </pc:spChg>
        <pc:spChg chg="mod">
          <ac:chgData name="Laura Casadio" userId="66d3dc7e-795b-4a92-887c-7e990ee4a717" providerId="ADAL" clId="{A002E1BF-DA5B-40E8-8B58-22F68401CEFA}" dt="2025-02-04T12:32:05.191" v="579" actId="14100"/>
          <ac:spMkLst>
            <pc:docMk/>
            <pc:sldMk cId="2267328279" sldId="2134806001"/>
            <ac:spMk id="4" creationId="{03EB79B8-7BB2-7CB3-FBF7-FB4256C2976C}"/>
          </ac:spMkLst>
        </pc:spChg>
        <pc:spChg chg="mod">
          <ac:chgData name="Laura Casadio" userId="66d3dc7e-795b-4a92-887c-7e990ee4a717" providerId="ADAL" clId="{A002E1BF-DA5B-40E8-8B58-22F68401CEFA}" dt="2025-02-04T12:33:23.591" v="597" actId="20577"/>
          <ac:spMkLst>
            <pc:docMk/>
            <pc:sldMk cId="2267328279" sldId="2134806001"/>
            <ac:spMk id="11" creationId="{C7514DD6-C27E-93BF-FAF4-723309D293D2}"/>
          </ac:spMkLst>
        </pc:spChg>
        <pc:spChg chg="add mod">
          <ac:chgData name="Laura Casadio" userId="66d3dc7e-795b-4a92-887c-7e990ee4a717" providerId="ADAL" clId="{A002E1BF-DA5B-40E8-8B58-22F68401CEFA}" dt="2025-02-04T12:34:01.928" v="625" actId="20577"/>
          <ac:spMkLst>
            <pc:docMk/>
            <pc:sldMk cId="2267328279" sldId="2134806001"/>
            <ac:spMk id="15" creationId="{6DA457AD-0645-1EBC-C0D3-DE70D8BA46E9}"/>
          </ac:spMkLst>
        </pc:spChg>
        <pc:spChg chg="add mod ord">
          <ac:chgData name="Laura Casadio" userId="66d3dc7e-795b-4a92-887c-7e990ee4a717" providerId="ADAL" clId="{A002E1BF-DA5B-40E8-8B58-22F68401CEFA}" dt="2025-02-10T13:39:12.778" v="2054" actId="14100"/>
          <ac:spMkLst>
            <pc:docMk/>
            <pc:sldMk cId="2267328279" sldId="2134806001"/>
            <ac:spMk id="16" creationId="{72F065A1-5D5F-2E77-CB4B-36212160FFDE}"/>
          </ac:spMkLst>
        </pc:spChg>
        <pc:spChg chg="add mod">
          <ac:chgData name="Laura Casadio" userId="66d3dc7e-795b-4a92-887c-7e990ee4a717" providerId="ADAL" clId="{A002E1BF-DA5B-40E8-8B58-22F68401CEFA}" dt="2025-02-10T13:39:06.788" v="2053" actId="1037"/>
          <ac:spMkLst>
            <pc:docMk/>
            <pc:sldMk cId="2267328279" sldId="2134806001"/>
            <ac:spMk id="23" creationId="{6739C5CF-57C2-2255-1969-F4A6EB2FBA84}"/>
          </ac:spMkLst>
        </pc:spChg>
        <pc:spChg chg="add mod">
          <ac:chgData name="Laura Casadio" userId="66d3dc7e-795b-4a92-887c-7e990ee4a717" providerId="ADAL" clId="{A002E1BF-DA5B-40E8-8B58-22F68401CEFA}" dt="2025-02-05T08:41:40.865" v="1739" actId="2711"/>
          <ac:spMkLst>
            <pc:docMk/>
            <pc:sldMk cId="2267328279" sldId="2134806001"/>
            <ac:spMk id="24" creationId="{2F679E88-CC7B-C9BF-24BD-7ED8D8273AF1}"/>
          </ac:spMkLst>
        </pc:spChg>
        <pc:spChg chg="add mod">
          <ac:chgData name="Laura Casadio" userId="66d3dc7e-795b-4a92-887c-7e990ee4a717" providerId="ADAL" clId="{A002E1BF-DA5B-40E8-8B58-22F68401CEFA}" dt="2025-02-05T08:41:40.865" v="1739" actId="2711"/>
          <ac:spMkLst>
            <pc:docMk/>
            <pc:sldMk cId="2267328279" sldId="2134806001"/>
            <ac:spMk id="25" creationId="{B13D9CB1-CEA3-4C30-E8ED-C8B3A3171C31}"/>
          </ac:spMkLst>
        </pc:spChg>
        <pc:spChg chg="add mod">
          <ac:chgData name="Laura Casadio" userId="66d3dc7e-795b-4a92-887c-7e990ee4a717" providerId="ADAL" clId="{A002E1BF-DA5B-40E8-8B58-22F68401CEFA}" dt="2025-02-05T08:41:40.865" v="1739" actId="2711"/>
          <ac:spMkLst>
            <pc:docMk/>
            <pc:sldMk cId="2267328279" sldId="2134806001"/>
            <ac:spMk id="26" creationId="{D40F67A6-05F9-345C-00C1-30FC88593E47}"/>
          </ac:spMkLst>
        </pc:spChg>
        <pc:spChg chg="add mod">
          <ac:chgData name="Laura Casadio" userId="66d3dc7e-795b-4a92-887c-7e990ee4a717" providerId="ADAL" clId="{A002E1BF-DA5B-40E8-8B58-22F68401CEFA}" dt="2025-02-05T08:41:40.865" v="1739" actId="2711"/>
          <ac:spMkLst>
            <pc:docMk/>
            <pc:sldMk cId="2267328279" sldId="2134806001"/>
            <ac:spMk id="27" creationId="{7515A8AA-4210-9B02-C3CE-CF948A6144CD}"/>
          </ac:spMkLst>
        </pc:spChg>
        <pc:spChg chg="add mod">
          <ac:chgData name="Laura Casadio" userId="66d3dc7e-795b-4a92-887c-7e990ee4a717" providerId="ADAL" clId="{A002E1BF-DA5B-40E8-8B58-22F68401CEFA}" dt="2025-02-05T08:41:40.865" v="1739" actId="2711"/>
          <ac:spMkLst>
            <pc:docMk/>
            <pc:sldMk cId="2267328279" sldId="2134806001"/>
            <ac:spMk id="28" creationId="{A15BA4AD-2E18-A5A7-EDF5-59D900E1E4E2}"/>
          </ac:spMkLst>
        </pc:spChg>
        <pc:spChg chg="add mod">
          <ac:chgData name="Laura Casadio" userId="66d3dc7e-795b-4a92-887c-7e990ee4a717" providerId="ADAL" clId="{A002E1BF-DA5B-40E8-8B58-22F68401CEFA}" dt="2025-02-05T08:41:40.865" v="1739" actId="2711"/>
          <ac:spMkLst>
            <pc:docMk/>
            <pc:sldMk cId="2267328279" sldId="2134806001"/>
            <ac:spMk id="29" creationId="{1BC6DBE1-C331-4902-034F-946035824392}"/>
          </ac:spMkLst>
        </pc:spChg>
        <pc:spChg chg="add mod">
          <ac:chgData name="Laura Casadio" userId="66d3dc7e-795b-4a92-887c-7e990ee4a717" providerId="ADAL" clId="{A002E1BF-DA5B-40E8-8B58-22F68401CEFA}" dt="2025-02-05T08:41:40.865" v="1739" actId="2711"/>
          <ac:spMkLst>
            <pc:docMk/>
            <pc:sldMk cId="2267328279" sldId="2134806001"/>
            <ac:spMk id="30" creationId="{9D8FB23E-E511-E541-88B8-C682305BF207}"/>
          </ac:spMkLst>
        </pc:spChg>
        <pc:spChg chg="add mod">
          <ac:chgData name="Laura Casadio" userId="66d3dc7e-795b-4a92-887c-7e990ee4a717" providerId="ADAL" clId="{A002E1BF-DA5B-40E8-8B58-22F68401CEFA}" dt="2025-02-05T08:41:40.865" v="1739" actId="2711"/>
          <ac:spMkLst>
            <pc:docMk/>
            <pc:sldMk cId="2267328279" sldId="2134806001"/>
            <ac:spMk id="31" creationId="{B29616FE-BA53-FB4C-FBF5-EBD2024EB999}"/>
          </ac:spMkLst>
        </pc:spChg>
        <pc:spChg chg="mod">
          <ac:chgData name="Laura Casadio" userId="66d3dc7e-795b-4a92-887c-7e990ee4a717" providerId="ADAL" clId="{A002E1BF-DA5B-40E8-8B58-22F68401CEFA}" dt="2025-02-04T12:33:10.336" v="590"/>
          <ac:spMkLst>
            <pc:docMk/>
            <pc:sldMk cId="2267328279" sldId="2134806001"/>
            <ac:spMk id="70" creationId="{806B8040-186A-DF35-242B-F6AD41CEFC9B}"/>
          </ac:spMkLst>
        </pc:spChg>
        <pc:picChg chg="mod">
          <ac:chgData name="Laura Casadio" userId="66d3dc7e-795b-4a92-887c-7e990ee4a717" providerId="ADAL" clId="{A002E1BF-DA5B-40E8-8B58-22F68401CEFA}" dt="2025-02-04T12:32:11.679" v="580" actId="1076"/>
          <ac:picMkLst>
            <pc:docMk/>
            <pc:sldMk cId="2267328279" sldId="2134806001"/>
            <ac:picMk id="12" creationId="{4AB2470A-8998-639A-7AB3-CDC00AFE12BE}"/>
          </ac:picMkLst>
        </pc:picChg>
        <pc:picChg chg="mod">
          <ac:chgData name="Laura Casadio" userId="66d3dc7e-795b-4a92-887c-7e990ee4a717" providerId="ADAL" clId="{A002E1BF-DA5B-40E8-8B58-22F68401CEFA}" dt="2025-02-04T12:32:14.183" v="581" actId="1076"/>
          <ac:picMkLst>
            <pc:docMk/>
            <pc:sldMk cId="2267328279" sldId="2134806001"/>
            <ac:picMk id="14" creationId="{3FAF4F3A-C4FE-846B-1115-2658B2E5D4BF}"/>
          </ac:picMkLst>
        </pc:picChg>
        <pc:picChg chg="add mod">
          <ac:chgData name="Laura Casadio" userId="66d3dc7e-795b-4a92-887c-7e990ee4a717" providerId="ADAL" clId="{A002E1BF-DA5B-40E8-8B58-22F68401CEFA}" dt="2025-02-04T12:32:36.119" v="583" actId="1076"/>
          <ac:picMkLst>
            <pc:docMk/>
            <pc:sldMk cId="2267328279" sldId="2134806001"/>
            <ac:picMk id="17" creationId="{F64798B1-42B9-3D9C-4996-3F0FDCFF59C6}"/>
          </ac:picMkLst>
        </pc:picChg>
        <pc:picChg chg="add mod">
          <ac:chgData name="Laura Casadio" userId="66d3dc7e-795b-4a92-887c-7e990ee4a717" providerId="ADAL" clId="{A002E1BF-DA5B-40E8-8B58-22F68401CEFA}" dt="2025-02-04T12:32:36.119" v="583" actId="1076"/>
          <ac:picMkLst>
            <pc:docMk/>
            <pc:sldMk cId="2267328279" sldId="2134806001"/>
            <ac:picMk id="18" creationId="{5FEBD236-EBD9-A7E0-3BDA-DA91E440C0EF}"/>
          </ac:picMkLst>
        </pc:picChg>
        <pc:picChg chg="add mod">
          <ac:chgData name="Laura Casadio" userId="66d3dc7e-795b-4a92-887c-7e990ee4a717" providerId="ADAL" clId="{A002E1BF-DA5B-40E8-8B58-22F68401CEFA}" dt="2025-02-04T12:32:36.119" v="583" actId="1076"/>
          <ac:picMkLst>
            <pc:docMk/>
            <pc:sldMk cId="2267328279" sldId="2134806001"/>
            <ac:picMk id="19" creationId="{0DE38F1D-82C6-1660-A580-00AED0C37DF2}"/>
          </ac:picMkLst>
        </pc:picChg>
        <pc:picChg chg="add mod">
          <ac:chgData name="Laura Casadio" userId="66d3dc7e-795b-4a92-887c-7e990ee4a717" providerId="ADAL" clId="{A002E1BF-DA5B-40E8-8B58-22F68401CEFA}" dt="2025-02-04T12:32:36.119" v="583" actId="1076"/>
          <ac:picMkLst>
            <pc:docMk/>
            <pc:sldMk cId="2267328279" sldId="2134806001"/>
            <ac:picMk id="20" creationId="{77DF17C1-3345-4301-B770-1AA80B8F9564}"/>
          </ac:picMkLst>
        </pc:picChg>
        <pc:picChg chg="add mod">
          <ac:chgData name="Laura Casadio" userId="66d3dc7e-795b-4a92-887c-7e990ee4a717" providerId="ADAL" clId="{A002E1BF-DA5B-40E8-8B58-22F68401CEFA}" dt="2025-02-04T12:32:36.119" v="583" actId="1076"/>
          <ac:picMkLst>
            <pc:docMk/>
            <pc:sldMk cId="2267328279" sldId="2134806001"/>
            <ac:picMk id="21" creationId="{9F74BE08-83FB-A16B-6C12-2677EC8D0B12}"/>
          </ac:picMkLst>
        </pc:picChg>
        <pc:picChg chg="add mod">
          <ac:chgData name="Laura Casadio" userId="66d3dc7e-795b-4a92-887c-7e990ee4a717" providerId="ADAL" clId="{A002E1BF-DA5B-40E8-8B58-22F68401CEFA}" dt="2025-02-04T12:32:36.119" v="583" actId="1076"/>
          <ac:picMkLst>
            <pc:docMk/>
            <pc:sldMk cId="2267328279" sldId="2134806001"/>
            <ac:picMk id="22" creationId="{CAA8A035-F4BD-2CAE-8114-98B47870297C}"/>
          </ac:picMkLst>
        </pc:picChg>
      </pc:sldChg>
      <pc:sldChg chg="del mod modShow">
        <pc:chgData name="Laura Casadio" userId="66d3dc7e-795b-4a92-887c-7e990ee4a717" providerId="ADAL" clId="{A002E1BF-DA5B-40E8-8B58-22F68401CEFA}" dt="2025-02-04T14:52:13.398" v="1610" actId="18676"/>
        <pc:sldMkLst>
          <pc:docMk/>
          <pc:sldMk cId="2762555401" sldId="2134806003"/>
        </pc:sldMkLst>
      </pc:sldChg>
      <pc:sldChg chg="addSp delSp modSp del mod">
        <pc:chgData name="Laura Casadio" userId="66d3dc7e-795b-4a92-887c-7e990ee4a717" providerId="ADAL" clId="{A002E1BF-DA5B-40E8-8B58-22F68401CEFA}" dt="2025-02-04T14:45:38.067" v="1565" actId="2696"/>
        <pc:sldMkLst>
          <pc:docMk/>
          <pc:sldMk cId="1316548432" sldId="2134806004"/>
        </pc:sldMkLst>
      </pc:sldChg>
      <pc:sldChg chg="addSp delSp modSp del mod">
        <pc:chgData name="Laura Casadio" userId="66d3dc7e-795b-4a92-887c-7e990ee4a717" providerId="ADAL" clId="{A002E1BF-DA5B-40E8-8B58-22F68401CEFA}" dt="2025-02-10T13:30:51.112" v="1968" actId="2696"/>
        <pc:sldMkLst>
          <pc:docMk/>
          <pc:sldMk cId="2126024093" sldId="2134806005"/>
        </pc:sldMkLst>
      </pc:sldChg>
      <pc:sldChg chg="del mod modShow">
        <pc:chgData name="Laura Casadio" userId="66d3dc7e-795b-4a92-887c-7e990ee4a717" providerId="ADAL" clId="{A002E1BF-DA5B-40E8-8B58-22F68401CEFA}" dt="2025-02-04T14:52:13.398" v="1610" actId="18676"/>
        <pc:sldMkLst>
          <pc:docMk/>
          <pc:sldMk cId="1519852312" sldId="2134806006"/>
        </pc:sldMkLst>
      </pc:sldChg>
      <pc:sldChg chg="del">
        <pc:chgData name="Laura Casadio" userId="66d3dc7e-795b-4a92-887c-7e990ee4a717" providerId="ADAL" clId="{A002E1BF-DA5B-40E8-8B58-22F68401CEFA}" dt="2025-02-04T09:41:33.129" v="99" actId="2696"/>
        <pc:sldMkLst>
          <pc:docMk/>
          <pc:sldMk cId="3609014689" sldId="2134806007"/>
        </pc:sldMkLst>
      </pc:sldChg>
      <pc:sldChg chg="addSp modSp add mod setBg">
        <pc:chgData name="Laura Casadio" userId="66d3dc7e-795b-4a92-887c-7e990ee4a717" providerId="ADAL" clId="{A002E1BF-DA5B-40E8-8B58-22F68401CEFA}" dt="2025-02-05T08:29:49.666" v="1673"/>
        <pc:sldMkLst>
          <pc:docMk/>
          <pc:sldMk cId="70144338" sldId="2134806008"/>
        </pc:sldMkLst>
        <pc:spChg chg="add mod">
          <ac:chgData name="Laura Casadio" userId="66d3dc7e-795b-4a92-887c-7e990ee4a717" providerId="ADAL" clId="{A002E1BF-DA5B-40E8-8B58-22F68401CEFA}" dt="2025-02-04T09:32:47.187" v="4" actId="1076"/>
          <ac:spMkLst>
            <pc:docMk/>
            <pc:sldMk cId="70144338" sldId="2134806008"/>
            <ac:spMk id="4" creationId="{E6A4A0C4-E3EC-A21F-7F6E-49D10F9B3D43}"/>
          </ac:spMkLst>
        </pc:spChg>
        <pc:spChg chg="mod">
          <ac:chgData name="Laura Casadio" userId="66d3dc7e-795b-4a92-887c-7e990ee4a717" providerId="ADAL" clId="{A002E1BF-DA5B-40E8-8B58-22F68401CEFA}" dt="2025-02-04T12:42:34.179" v="718" actId="113"/>
          <ac:spMkLst>
            <pc:docMk/>
            <pc:sldMk cId="70144338" sldId="2134806008"/>
            <ac:spMk id="9" creationId="{CE86C925-9A96-9959-8F6B-C5BA847F4D8D}"/>
          </ac:spMkLst>
        </pc:spChg>
      </pc:sldChg>
      <pc:sldChg chg="addSp modSp add mod">
        <pc:chgData name="Laura Casadio" userId="66d3dc7e-795b-4a92-887c-7e990ee4a717" providerId="ADAL" clId="{A002E1BF-DA5B-40E8-8B58-22F68401CEFA}" dt="2025-02-10T17:19:04.959" v="2528" actId="20577"/>
        <pc:sldMkLst>
          <pc:docMk/>
          <pc:sldMk cId="1462234620" sldId="2134806009"/>
        </pc:sldMkLst>
        <pc:spChg chg="mod">
          <ac:chgData name="Laura Casadio" userId="66d3dc7e-795b-4a92-887c-7e990ee4a717" providerId="ADAL" clId="{A002E1BF-DA5B-40E8-8B58-22F68401CEFA}" dt="2025-02-05T08:37:12.639" v="1705" actId="2711"/>
          <ac:spMkLst>
            <pc:docMk/>
            <pc:sldMk cId="1462234620" sldId="2134806009"/>
            <ac:spMk id="4" creationId="{D329B5A9-4615-D005-ACF7-D6EAE862672A}"/>
          </ac:spMkLst>
        </pc:spChg>
        <pc:spChg chg="mod">
          <ac:chgData name="Laura Casadio" userId="66d3dc7e-795b-4a92-887c-7e990ee4a717" providerId="ADAL" clId="{A002E1BF-DA5B-40E8-8B58-22F68401CEFA}" dt="2025-02-05T15:42:59.403" v="1867" actId="1035"/>
          <ac:spMkLst>
            <pc:docMk/>
            <pc:sldMk cId="1462234620" sldId="2134806009"/>
            <ac:spMk id="6" creationId="{C2EA5660-BF6F-E804-22A6-13076F7C47B3}"/>
          </ac:spMkLst>
        </pc:spChg>
        <pc:spChg chg="add mod">
          <ac:chgData name="Laura Casadio" userId="66d3dc7e-795b-4a92-887c-7e990ee4a717" providerId="ADAL" clId="{A002E1BF-DA5B-40E8-8B58-22F68401CEFA}" dt="2025-02-04T14:47:49.382" v="1603"/>
          <ac:spMkLst>
            <pc:docMk/>
            <pc:sldMk cId="1462234620" sldId="2134806009"/>
            <ac:spMk id="8" creationId="{629199C2-152F-9614-9959-B81EA049F846}"/>
          </ac:spMkLst>
        </pc:spChg>
        <pc:spChg chg="mod">
          <ac:chgData name="Laura Casadio" userId="66d3dc7e-795b-4a92-887c-7e990ee4a717" providerId="ADAL" clId="{A002E1BF-DA5B-40E8-8B58-22F68401CEFA}" dt="2025-02-10T17:19:04.959" v="2528" actId="20577"/>
          <ac:spMkLst>
            <pc:docMk/>
            <pc:sldMk cId="1462234620" sldId="2134806009"/>
            <ac:spMk id="10" creationId="{D9173835-AE11-A33F-5650-E69CA939AEBE}"/>
          </ac:spMkLst>
        </pc:spChg>
        <pc:spChg chg="mod">
          <ac:chgData name="Laura Casadio" userId="66d3dc7e-795b-4a92-887c-7e990ee4a717" providerId="ADAL" clId="{A002E1BF-DA5B-40E8-8B58-22F68401CEFA}" dt="2025-02-05T08:37:12.639" v="1705" actId="2711"/>
          <ac:spMkLst>
            <pc:docMk/>
            <pc:sldMk cId="1462234620" sldId="2134806009"/>
            <ac:spMk id="11" creationId="{09A96D01-8670-B028-8329-7AF20A48FCF9}"/>
          </ac:spMkLst>
        </pc:spChg>
        <pc:picChg chg="mod">
          <ac:chgData name="Laura Casadio" userId="66d3dc7e-795b-4a92-887c-7e990ee4a717" providerId="ADAL" clId="{A002E1BF-DA5B-40E8-8B58-22F68401CEFA}" dt="2025-02-04T14:06:13.902" v="1380" actId="1076"/>
          <ac:picMkLst>
            <pc:docMk/>
            <pc:sldMk cId="1462234620" sldId="2134806009"/>
            <ac:picMk id="2" creationId="{D352C221-A148-4062-B82C-A6A9EAE10D2C}"/>
          </ac:picMkLst>
        </pc:picChg>
        <pc:picChg chg="mod">
          <ac:chgData name="Laura Casadio" userId="66d3dc7e-795b-4a92-887c-7e990ee4a717" providerId="ADAL" clId="{A002E1BF-DA5B-40E8-8B58-22F68401CEFA}" dt="2025-02-04T14:06:13.902" v="1380" actId="1076"/>
          <ac:picMkLst>
            <pc:docMk/>
            <pc:sldMk cId="1462234620" sldId="2134806009"/>
            <ac:picMk id="3" creationId="{DB865D97-4508-46DA-B793-BD8CAF36C1C3}"/>
          </ac:picMkLst>
        </pc:picChg>
        <pc:picChg chg="mod">
          <ac:chgData name="Laura Casadio" userId="66d3dc7e-795b-4a92-887c-7e990ee4a717" providerId="ADAL" clId="{A002E1BF-DA5B-40E8-8B58-22F68401CEFA}" dt="2025-02-05T15:42:59.403" v="1867" actId="1035"/>
          <ac:picMkLst>
            <pc:docMk/>
            <pc:sldMk cId="1462234620" sldId="2134806009"/>
            <ac:picMk id="5" creationId="{53BF48F4-36E0-45C2-82E3-02EEAA0BE740}"/>
          </ac:picMkLst>
        </pc:picChg>
      </pc:sldChg>
      <pc:sldChg chg="addSp delSp modSp add mod ord modShow">
        <pc:chgData name="Laura Casadio" userId="66d3dc7e-795b-4a92-887c-7e990ee4a717" providerId="ADAL" clId="{A002E1BF-DA5B-40E8-8B58-22F68401CEFA}" dt="2025-02-05T13:33:12.189" v="1819" actId="1582"/>
        <pc:sldMkLst>
          <pc:docMk/>
          <pc:sldMk cId="3088050963" sldId="2134806010"/>
        </pc:sldMkLst>
        <pc:spChg chg="add mod">
          <ac:chgData name="Laura Casadio" userId="66d3dc7e-795b-4a92-887c-7e990ee4a717" providerId="ADAL" clId="{A002E1BF-DA5B-40E8-8B58-22F68401CEFA}" dt="2025-02-05T10:35:58.667" v="1770" actId="1076"/>
          <ac:spMkLst>
            <pc:docMk/>
            <pc:sldMk cId="3088050963" sldId="2134806010"/>
            <ac:spMk id="3" creationId="{24140D50-86BA-3C88-8591-E528283D080C}"/>
          </ac:spMkLst>
        </pc:spChg>
        <pc:spChg chg="mod">
          <ac:chgData name="Laura Casadio" userId="66d3dc7e-795b-4a92-887c-7e990ee4a717" providerId="ADAL" clId="{A002E1BF-DA5B-40E8-8B58-22F68401CEFA}" dt="2025-02-04T12:53:39.650" v="879"/>
          <ac:spMkLst>
            <pc:docMk/>
            <pc:sldMk cId="3088050963" sldId="2134806010"/>
            <ac:spMk id="4" creationId="{49F7AEFC-1990-F011-D7DA-ED9DC825F8EF}"/>
          </ac:spMkLst>
        </pc:spChg>
        <pc:spChg chg="mod">
          <ac:chgData name="Laura Casadio" userId="66d3dc7e-795b-4a92-887c-7e990ee4a717" providerId="ADAL" clId="{A002E1BF-DA5B-40E8-8B58-22F68401CEFA}" dt="2025-02-04T12:57:58.455" v="917" actId="14100"/>
          <ac:spMkLst>
            <pc:docMk/>
            <pc:sldMk cId="3088050963" sldId="2134806010"/>
            <ac:spMk id="13" creationId="{9C83B014-365B-CE5F-61B1-D0323B12113D}"/>
          </ac:spMkLst>
        </pc:spChg>
        <pc:spChg chg="mod">
          <ac:chgData name="Laura Casadio" userId="66d3dc7e-795b-4a92-887c-7e990ee4a717" providerId="ADAL" clId="{A002E1BF-DA5B-40E8-8B58-22F68401CEFA}" dt="2025-02-05T08:38:08.338" v="1711" actId="2711"/>
          <ac:spMkLst>
            <pc:docMk/>
            <pc:sldMk cId="3088050963" sldId="2134806010"/>
            <ac:spMk id="16" creationId="{475A5DAF-8C64-5141-F2B7-93E119334CC5}"/>
          </ac:spMkLst>
        </pc:spChg>
        <pc:spChg chg="mod">
          <ac:chgData name="Laura Casadio" userId="66d3dc7e-795b-4a92-887c-7e990ee4a717" providerId="ADAL" clId="{A002E1BF-DA5B-40E8-8B58-22F68401CEFA}" dt="2025-02-05T08:38:08.338" v="1711" actId="2711"/>
          <ac:spMkLst>
            <pc:docMk/>
            <pc:sldMk cId="3088050963" sldId="2134806010"/>
            <ac:spMk id="17" creationId="{5794F48F-E8C0-7454-5F38-DC66B103FB88}"/>
          </ac:spMkLst>
        </pc:spChg>
        <pc:spChg chg="mod">
          <ac:chgData name="Laura Casadio" userId="66d3dc7e-795b-4a92-887c-7e990ee4a717" providerId="ADAL" clId="{A002E1BF-DA5B-40E8-8B58-22F68401CEFA}" dt="2025-02-05T08:38:08.338" v="1711" actId="2711"/>
          <ac:spMkLst>
            <pc:docMk/>
            <pc:sldMk cId="3088050963" sldId="2134806010"/>
            <ac:spMk id="18" creationId="{E7B7A537-5BC2-B59A-E5A0-74EB5CA9928C}"/>
          </ac:spMkLst>
        </pc:spChg>
        <pc:spChg chg="mod">
          <ac:chgData name="Laura Casadio" userId="66d3dc7e-795b-4a92-887c-7e990ee4a717" providerId="ADAL" clId="{A002E1BF-DA5B-40E8-8B58-22F68401CEFA}" dt="2025-02-04T14:09:15.974" v="1406" actId="1036"/>
          <ac:spMkLst>
            <pc:docMk/>
            <pc:sldMk cId="3088050963" sldId="2134806010"/>
            <ac:spMk id="19" creationId="{872CEADB-9A7D-2326-DDEC-82F7C8FFBCC5}"/>
          </ac:spMkLst>
        </pc:spChg>
        <pc:spChg chg="add mod">
          <ac:chgData name="Laura Casadio" userId="66d3dc7e-795b-4a92-887c-7e990ee4a717" providerId="ADAL" clId="{A002E1BF-DA5B-40E8-8B58-22F68401CEFA}" dt="2025-02-05T08:38:08.338" v="1711" actId="2711"/>
          <ac:spMkLst>
            <pc:docMk/>
            <pc:sldMk cId="3088050963" sldId="2134806010"/>
            <ac:spMk id="37" creationId="{EEF42737-3636-2503-A36B-F02D5101717B}"/>
          </ac:spMkLst>
        </pc:spChg>
        <pc:spChg chg="add mod">
          <ac:chgData name="Laura Casadio" userId="66d3dc7e-795b-4a92-887c-7e990ee4a717" providerId="ADAL" clId="{A002E1BF-DA5B-40E8-8B58-22F68401CEFA}" dt="2025-02-05T08:38:08.338" v="1711" actId="2711"/>
          <ac:spMkLst>
            <pc:docMk/>
            <pc:sldMk cId="3088050963" sldId="2134806010"/>
            <ac:spMk id="38" creationId="{5EC622D8-01D7-C4C9-9C57-F3219069AE18}"/>
          </ac:spMkLst>
        </pc:spChg>
        <pc:spChg chg="add mod">
          <ac:chgData name="Laura Casadio" userId="66d3dc7e-795b-4a92-887c-7e990ee4a717" providerId="ADAL" clId="{A002E1BF-DA5B-40E8-8B58-22F68401CEFA}" dt="2025-02-05T08:38:08.338" v="1711" actId="2711"/>
          <ac:spMkLst>
            <pc:docMk/>
            <pc:sldMk cId="3088050963" sldId="2134806010"/>
            <ac:spMk id="39" creationId="{6F0890DB-F49F-2F39-71BB-5A5F88A9FD89}"/>
          </ac:spMkLst>
        </pc:spChg>
        <pc:spChg chg="add mod">
          <ac:chgData name="Laura Casadio" userId="66d3dc7e-795b-4a92-887c-7e990ee4a717" providerId="ADAL" clId="{A002E1BF-DA5B-40E8-8B58-22F68401CEFA}" dt="2025-02-05T08:38:08.338" v="1711" actId="2711"/>
          <ac:spMkLst>
            <pc:docMk/>
            <pc:sldMk cId="3088050963" sldId="2134806010"/>
            <ac:spMk id="40" creationId="{50B68AD6-4113-40CC-49D8-23EDE3171DFC}"/>
          </ac:spMkLst>
        </pc:spChg>
        <pc:spChg chg="add mod">
          <ac:chgData name="Laura Casadio" userId="66d3dc7e-795b-4a92-887c-7e990ee4a717" providerId="ADAL" clId="{A002E1BF-DA5B-40E8-8B58-22F68401CEFA}" dt="2025-02-04T14:47:54.099" v="1604"/>
          <ac:spMkLst>
            <pc:docMk/>
            <pc:sldMk cId="3088050963" sldId="2134806010"/>
            <ac:spMk id="41" creationId="{D5DF63B9-703F-A4D6-FD81-44546F92239F}"/>
          </ac:spMkLst>
        </pc:spChg>
        <pc:spChg chg="mod">
          <ac:chgData name="Laura Casadio" userId="66d3dc7e-795b-4a92-887c-7e990ee4a717" providerId="ADAL" clId="{A002E1BF-DA5B-40E8-8B58-22F68401CEFA}" dt="2025-02-04T12:58:07.839" v="918" actId="1076"/>
          <ac:spMkLst>
            <pc:docMk/>
            <pc:sldMk cId="3088050963" sldId="2134806010"/>
            <ac:spMk id="70" creationId="{806B8040-186A-DF35-242B-F6AD41CEFC9B}"/>
          </ac:spMkLst>
        </pc:spChg>
        <pc:picChg chg="add mod">
          <ac:chgData name="Laura Casadio" userId="66d3dc7e-795b-4a92-887c-7e990ee4a717" providerId="ADAL" clId="{A002E1BF-DA5B-40E8-8B58-22F68401CEFA}" dt="2025-02-05T08:38:08.338" v="1711" actId="2711"/>
          <ac:picMkLst>
            <pc:docMk/>
            <pc:sldMk cId="3088050963" sldId="2134806010"/>
            <ac:picMk id="21" creationId="{D081EB00-A0F6-FC5E-1739-F8E38A82DFA1}"/>
          </ac:picMkLst>
        </pc:picChg>
        <pc:picChg chg="add mod">
          <ac:chgData name="Laura Casadio" userId="66d3dc7e-795b-4a92-887c-7e990ee4a717" providerId="ADAL" clId="{A002E1BF-DA5B-40E8-8B58-22F68401CEFA}" dt="2025-02-05T08:38:08.338" v="1711" actId="2711"/>
          <ac:picMkLst>
            <pc:docMk/>
            <pc:sldMk cId="3088050963" sldId="2134806010"/>
            <ac:picMk id="22" creationId="{FAF278FE-2229-FB27-4C16-6DA95CE1A10F}"/>
          </ac:picMkLst>
        </pc:picChg>
        <pc:picChg chg="add mod">
          <ac:chgData name="Laura Casadio" userId="66d3dc7e-795b-4a92-887c-7e990ee4a717" providerId="ADAL" clId="{A002E1BF-DA5B-40E8-8B58-22F68401CEFA}" dt="2025-02-05T08:38:08.338" v="1711" actId="2711"/>
          <ac:picMkLst>
            <pc:docMk/>
            <pc:sldMk cId="3088050963" sldId="2134806010"/>
            <ac:picMk id="23" creationId="{1BA0CB86-29CA-B901-F7D5-2E7FCA40D025}"/>
          </ac:picMkLst>
        </pc:picChg>
        <pc:picChg chg="add mod">
          <ac:chgData name="Laura Casadio" userId="66d3dc7e-795b-4a92-887c-7e990ee4a717" providerId="ADAL" clId="{A002E1BF-DA5B-40E8-8B58-22F68401CEFA}" dt="2025-02-05T08:38:08.338" v="1711" actId="2711"/>
          <ac:picMkLst>
            <pc:docMk/>
            <pc:sldMk cId="3088050963" sldId="2134806010"/>
            <ac:picMk id="24" creationId="{498A5E59-F0D2-9EB4-F67D-1E39D60AD1E8}"/>
          </ac:picMkLst>
        </pc:picChg>
        <pc:cxnChg chg="mod">
          <ac:chgData name="Laura Casadio" userId="66d3dc7e-795b-4a92-887c-7e990ee4a717" providerId="ADAL" clId="{A002E1BF-DA5B-40E8-8B58-22F68401CEFA}" dt="2025-02-05T13:33:12.189" v="1819" actId="1582"/>
          <ac:cxnSpMkLst>
            <pc:docMk/>
            <pc:sldMk cId="3088050963" sldId="2134806010"/>
            <ac:cxnSpMk id="20" creationId="{C9C0B713-AA74-F49A-AE5A-3BFDC98D1D28}"/>
          </ac:cxnSpMkLst>
        </pc:cxnChg>
      </pc:sldChg>
      <pc:sldChg chg="addSp delSp modSp mod ord">
        <pc:chgData name="Laura Casadio" userId="66d3dc7e-795b-4a92-887c-7e990ee4a717" providerId="ADAL" clId="{A002E1BF-DA5B-40E8-8B58-22F68401CEFA}" dt="2025-02-10T17:18:09.755" v="2522" actId="20577"/>
        <pc:sldMkLst>
          <pc:docMk/>
          <pc:sldMk cId="2931584499" sldId="2134806011"/>
        </pc:sldMkLst>
        <pc:spChg chg="mod">
          <ac:chgData name="Laura Casadio" userId="66d3dc7e-795b-4a92-887c-7e990ee4a717" providerId="ADAL" clId="{A002E1BF-DA5B-40E8-8B58-22F68401CEFA}" dt="2025-02-05T08:38:56.369" v="1717" actId="2711"/>
          <ac:spMkLst>
            <pc:docMk/>
            <pc:sldMk cId="2931584499" sldId="2134806011"/>
            <ac:spMk id="2" creationId="{1CD2CB64-DBBC-131D-1DEA-9A38D2776C75}"/>
          </ac:spMkLst>
        </pc:spChg>
        <pc:spChg chg="add mod">
          <ac:chgData name="Laura Casadio" userId="66d3dc7e-795b-4a92-887c-7e990ee4a717" providerId="ADAL" clId="{A002E1BF-DA5B-40E8-8B58-22F68401CEFA}" dt="2025-02-05T08:38:56.369" v="1717" actId="2711"/>
          <ac:spMkLst>
            <pc:docMk/>
            <pc:sldMk cId="2931584499" sldId="2134806011"/>
            <ac:spMk id="11" creationId="{9D20A394-8FCB-8063-CB2F-A8756E89DB4E}"/>
          </ac:spMkLst>
        </pc:spChg>
        <pc:spChg chg="add mod">
          <ac:chgData name="Laura Casadio" userId="66d3dc7e-795b-4a92-887c-7e990ee4a717" providerId="ADAL" clId="{A002E1BF-DA5B-40E8-8B58-22F68401CEFA}" dt="2025-02-05T08:38:56.369" v="1717" actId="2711"/>
          <ac:spMkLst>
            <pc:docMk/>
            <pc:sldMk cId="2931584499" sldId="2134806011"/>
            <ac:spMk id="12" creationId="{4DBFD4A1-C818-CD8D-116B-82DAFEA8D803}"/>
          </ac:spMkLst>
        </pc:spChg>
        <pc:spChg chg="add mod">
          <ac:chgData name="Laura Casadio" userId="66d3dc7e-795b-4a92-887c-7e990ee4a717" providerId="ADAL" clId="{A002E1BF-DA5B-40E8-8B58-22F68401CEFA}" dt="2025-02-04T14:47:57.435" v="1606"/>
          <ac:spMkLst>
            <pc:docMk/>
            <pc:sldMk cId="2931584499" sldId="2134806011"/>
            <ac:spMk id="13" creationId="{C3CC3859-3D18-66B6-4F88-CA6A6279EA68}"/>
          </ac:spMkLst>
        </pc:spChg>
        <pc:spChg chg="mod">
          <ac:chgData name="Laura Casadio" userId="66d3dc7e-795b-4a92-887c-7e990ee4a717" providerId="ADAL" clId="{A002E1BF-DA5B-40E8-8B58-22F68401CEFA}" dt="2025-02-10T17:18:09.755" v="2522" actId="20577"/>
          <ac:spMkLst>
            <pc:docMk/>
            <pc:sldMk cId="2931584499" sldId="2134806011"/>
            <ac:spMk id="70" creationId="{806B8040-186A-DF35-242B-F6AD41CEFC9B}"/>
          </ac:spMkLst>
        </pc:spChg>
        <pc:picChg chg="add mod">
          <ac:chgData name="Laura Casadio" userId="66d3dc7e-795b-4a92-887c-7e990ee4a717" providerId="ADAL" clId="{A002E1BF-DA5B-40E8-8B58-22F68401CEFA}" dt="2025-02-05T08:38:56.369" v="1717" actId="2711"/>
          <ac:picMkLst>
            <pc:docMk/>
            <pc:sldMk cId="2931584499" sldId="2134806011"/>
            <ac:picMk id="7" creationId="{4DEBB6AD-3C87-A824-1147-B5108501CD70}"/>
          </ac:picMkLst>
        </pc:picChg>
        <pc:picChg chg="add mod">
          <ac:chgData name="Laura Casadio" userId="66d3dc7e-795b-4a92-887c-7e990ee4a717" providerId="ADAL" clId="{A002E1BF-DA5B-40E8-8B58-22F68401CEFA}" dt="2025-02-05T08:38:56.369" v="1717" actId="2711"/>
          <ac:picMkLst>
            <pc:docMk/>
            <pc:sldMk cId="2931584499" sldId="2134806011"/>
            <ac:picMk id="10" creationId="{13CFF1B7-A62A-D2FE-19D2-EE0F26B8E679}"/>
          </ac:picMkLst>
        </pc:picChg>
        <pc:picChg chg="mod">
          <ac:chgData name="Laura Casadio" userId="66d3dc7e-795b-4a92-887c-7e990ee4a717" providerId="ADAL" clId="{A002E1BF-DA5B-40E8-8B58-22F68401CEFA}" dt="2025-02-05T08:38:56.369" v="1717" actId="2711"/>
          <ac:picMkLst>
            <pc:docMk/>
            <pc:sldMk cId="2931584499" sldId="2134806011"/>
            <ac:picMk id="22" creationId="{85E6D024-583C-F34A-FBB8-41F4063C3FDA}"/>
          </ac:picMkLst>
        </pc:picChg>
      </pc:sldChg>
      <pc:sldChg chg="addSp delSp modSp add mod ord">
        <pc:chgData name="Laura Casadio" userId="66d3dc7e-795b-4a92-887c-7e990ee4a717" providerId="ADAL" clId="{A002E1BF-DA5B-40E8-8B58-22F68401CEFA}" dt="2025-02-07T14:47:04.176" v="1908"/>
        <pc:sldMkLst>
          <pc:docMk/>
          <pc:sldMk cId="3925124587" sldId="2134806012"/>
        </pc:sldMkLst>
        <pc:spChg chg="add mod">
          <ac:chgData name="Laura Casadio" userId="66d3dc7e-795b-4a92-887c-7e990ee4a717" providerId="ADAL" clId="{A002E1BF-DA5B-40E8-8B58-22F68401CEFA}" dt="2025-02-05T08:24:26.543" v="1648"/>
          <ac:spMkLst>
            <pc:docMk/>
            <pc:sldMk cId="3925124587" sldId="2134806012"/>
            <ac:spMk id="2" creationId="{F095A787-AEAA-0254-B3A1-7737CBD6F006}"/>
          </ac:spMkLst>
        </pc:spChg>
        <pc:spChg chg="mod">
          <ac:chgData name="Laura Casadio" userId="66d3dc7e-795b-4a92-887c-7e990ee4a717" providerId="ADAL" clId="{A002E1BF-DA5B-40E8-8B58-22F68401CEFA}" dt="2025-02-05T08:40:52.839" v="1732" actId="2711"/>
          <ac:spMkLst>
            <pc:docMk/>
            <pc:sldMk cId="3925124587" sldId="2134806012"/>
            <ac:spMk id="4" creationId="{5DA749EC-020B-8D23-64B3-7B3F464EB12D}"/>
          </ac:spMkLst>
        </pc:spChg>
        <pc:spChg chg="add mod">
          <ac:chgData name="Laura Casadio" userId="66d3dc7e-795b-4a92-887c-7e990ee4a717" providerId="ADAL" clId="{A002E1BF-DA5B-40E8-8B58-22F68401CEFA}" dt="2025-02-04T13:33:48.272" v="1149" actId="1076"/>
          <ac:spMkLst>
            <pc:docMk/>
            <pc:sldMk cId="3925124587" sldId="2134806012"/>
            <ac:spMk id="18" creationId="{607B8182-81A1-EF3A-5D55-DD9B0564E5CD}"/>
          </ac:spMkLst>
        </pc:spChg>
        <pc:spChg chg="add mod">
          <ac:chgData name="Laura Casadio" userId="66d3dc7e-795b-4a92-887c-7e990ee4a717" providerId="ADAL" clId="{A002E1BF-DA5B-40E8-8B58-22F68401CEFA}" dt="2025-02-04T13:34:00.012" v="1152" actId="14100"/>
          <ac:spMkLst>
            <pc:docMk/>
            <pc:sldMk cId="3925124587" sldId="2134806012"/>
            <ac:spMk id="19" creationId="{99F9DF17-BCFE-E19B-E811-FFD9B96BAEF7}"/>
          </ac:spMkLst>
        </pc:spChg>
        <pc:spChg chg="add mod">
          <ac:chgData name="Laura Casadio" userId="66d3dc7e-795b-4a92-887c-7e990ee4a717" providerId="ADAL" clId="{A002E1BF-DA5B-40E8-8B58-22F68401CEFA}" dt="2025-02-05T08:40:52.839" v="1732" actId="2711"/>
          <ac:spMkLst>
            <pc:docMk/>
            <pc:sldMk cId="3925124587" sldId="2134806012"/>
            <ac:spMk id="20" creationId="{E5E3E659-AB17-8C58-67D3-7FAB313BA81E}"/>
          </ac:spMkLst>
        </pc:spChg>
        <pc:spChg chg="add mod">
          <ac:chgData name="Laura Casadio" userId="66d3dc7e-795b-4a92-887c-7e990ee4a717" providerId="ADAL" clId="{A002E1BF-DA5B-40E8-8B58-22F68401CEFA}" dt="2025-02-05T08:40:52.839" v="1732" actId="2711"/>
          <ac:spMkLst>
            <pc:docMk/>
            <pc:sldMk cId="3925124587" sldId="2134806012"/>
            <ac:spMk id="21" creationId="{B89CF76E-97EB-0912-F5D7-DEC1A04834D0}"/>
          </ac:spMkLst>
        </pc:spChg>
        <pc:spChg chg="add mod">
          <ac:chgData name="Laura Casadio" userId="66d3dc7e-795b-4a92-887c-7e990ee4a717" providerId="ADAL" clId="{A002E1BF-DA5B-40E8-8B58-22F68401CEFA}" dt="2025-02-05T08:40:52.839" v="1732" actId="2711"/>
          <ac:spMkLst>
            <pc:docMk/>
            <pc:sldMk cId="3925124587" sldId="2134806012"/>
            <ac:spMk id="22" creationId="{40DD7A15-0F3B-68FF-A8E4-E3ECC78F22FE}"/>
          </ac:spMkLst>
        </pc:spChg>
        <pc:spChg chg="add mod">
          <ac:chgData name="Laura Casadio" userId="66d3dc7e-795b-4a92-887c-7e990ee4a717" providerId="ADAL" clId="{A002E1BF-DA5B-40E8-8B58-22F68401CEFA}" dt="2025-02-05T08:40:52.839" v="1732" actId="2711"/>
          <ac:spMkLst>
            <pc:docMk/>
            <pc:sldMk cId="3925124587" sldId="2134806012"/>
            <ac:spMk id="23" creationId="{9851FBC8-BE03-648B-20CF-D01330436A69}"/>
          </ac:spMkLst>
        </pc:spChg>
        <pc:picChg chg="mod">
          <ac:chgData name="Laura Casadio" userId="66d3dc7e-795b-4a92-887c-7e990ee4a717" providerId="ADAL" clId="{A002E1BF-DA5B-40E8-8B58-22F68401CEFA}" dt="2025-02-05T08:28:40.027" v="1670" actId="1076"/>
          <ac:picMkLst>
            <pc:docMk/>
            <pc:sldMk cId="3925124587" sldId="2134806012"/>
            <ac:picMk id="3" creationId="{EFC51F26-9E6C-49E8-84CD-0CC473B837E7}"/>
          </ac:picMkLst>
        </pc:picChg>
      </pc:sldChg>
      <pc:sldChg chg="addSp delSp modSp add mod">
        <pc:chgData name="Laura Casadio" userId="66d3dc7e-795b-4a92-887c-7e990ee4a717" providerId="ADAL" clId="{A002E1BF-DA5B-40E8-8B58-22F68401CEFA}" dt="2025-02-10T17:39:49.273" v="2582" actId="20577"/>
        <pc:sldMkLst>
          <pc:docMk/>
          <pc:sldMk cId="2328368962" sldId="2134806013"/>
        </pc:sldMkLst>
        <pc:spChg chg="mod">
          <ac:chgData name="Laura Casadio" userId="66d3dc7e-795b-4a92-887c-7e990ee4a717" providerId="ADAL" clId="{A002E1BF-DA5B-40E8-8B58-22F68401CEFA}" dt="2025-02-10T17:39:49.273" v="2582" actId="20577"/>
          <ac:spMkLst>
            <pc:docMk/>
            <pc:sldMk cId="2328368962" sldId="2134806013"/>
            <ac:spMk id="4" creationId="{3BAFC924-A612-207D-A152-A77541CBE872}"/>
          </ac:spMkLst>
        </pc:spChg>
        <pc:spChg chg="mod">
          <ac:chgData name="Laura Casadio" userId="66d3dc7e-795b-4a92-887c-7e990ee4a717" providerId="ADAL" clId="{A002E1BF-DA5B-40E8-8B58-22F68401CEFA}" dt="2025-02-04T12:38:58.520" v="681" actId="14100"/>
          <ac:spMkLst>
            <pc:docMk/>
            <pc:sldMk cId="2328368962" sldId="2134806013"/>
            <ac:spMk id="5" creationId="{944DAA35-E371-B665-EFE4-12D5EEC7D725}"/>
          </ac:spMkLst>
        </pc:spChg>
        <pc:spChg chg="mod">
          <ac:chgData name="Laura Casadio" userId="66d3dc7e-795b-4a92-887c-7e990ee4a717" providerId="ADAL" clId="{A002E1BF-DA5B-40E8-8B58-22F68401CEFA}" dt="2025-02-04T12:39:02.980" v="682" actId="403"/>
          <ac:spMkLst>
            <pc:docMk/>
            <pc:sldMk cId="2328368962" sldId="2134806013"/>
            <ac:spMk id="6" creationId="{2B778E66-9420-FB9B-5D50-1D3F8F7988A7}"/>
          </ac:spMkLst>
        </pc:spChg>
        <pc:spChg chg="add mod">
          <ac:chgData name="Laura Casadio" userId="66d3dc7e-795b-4a92-887c-7e990ee4a717" providerId="ADAL" clId="{A002E1BF-DA5B-40E8-8B58-22F68401CEFA}" dt="2025-02-05T08:42:27.182" v="1743" actId="2711"/>
          <ac:spMkLst>
            <pc:docMk/>
            <pc:sldMk cId="2328368962" sldId="2134806013"/>
            <ac:spMk id="8" creationId="{3F4AE426-299B-888C-B1C3-3317E6D348F3}"/>
          </ac:spMkLst>
        </pc:spChg>
        <pc:spChg chg="add mod">
          <ac:chgData name="Laura Casadio" userId="66d3dc7e-795b-4a92-887c-7e990ee4a717" providerId="ADAL" clId="{A002E1BF-DA5B-40E8-8B58-22F68401CEFA}" dt="2025-02-05T08:42:27.182" v="1743" actId="2711"/>
          <ac:spMkLst>
            <pc:docMk/>
            <pc:sldMk cId="2328368962" sldId="2134806013"/>
            <ac:spMk id="9" creationId="{4BCF739D-7E3E-6E13-3974-951F847EC25A}"/>
          </ac:spMkLst>
        </pc:spChg>
        <pc:spChg chg="add mod">
          <ac:chgData name="Laura Casadio" userId="66d3dc7e-795b-4a92-887c-7e990ee4a717" providerId="ADAL" clId="{A002E1BF-DA5B-40E8-8B58-22F68401CEFA}" dt="2025-02-05T08:42:27.182" v="1743" actId="2711"/>
          <ac:spMkLst>
            <pc:docMk/>
            <pc:sldMk cId="2328368962" sldId="2134806013"/>
            <ac:spMk id="11" creationId="{8E11204F-D693-A7C9-D65F-6A0B8B6537CF}"/>
          </ac:spMkLst>
        </pc:spChg>
        <pc:spChg chg="add mod">
          <ac:chgData name="Laura Casadio" userId="66d3dc7e-795b-4a92-887c-7e990ee4a717" providerId="ADAL" clId="{A002E1BF-DA5B-40E8-8B58-22F68401CEFA}" dt="2025-02-05T08:42:27.182" v="1743" actId="2711"/>
          <ac:spMkLst>
            <pc:docMk/>
            <pc:sldMk cId="2328368962" sldId="2134806013"/>
            <ac:spMk id="14" creationId="{7F32A76A-0FF6-5B8E-1BE7-A5FA01552765}"/>
          </ac:spMkLst>
        </pc:spChg>
        <pc:picChg chg="mod">
          <ac:chgData name="Laura Casadio" userId="66d3dc7e-795b-4a92-887c-7e990ee4a717" providerId="ADAL" clId="{A002E1BF-DA5B-40E8-8B58-22F68401CEFA}" dt="2025-02-04T12:38:21.869" v="678" actId="1076"/>
          <ac:picMkLst>
            <pc:docMk/>
            <pc:sldMk cId="2328368962" sldId="2134806013"/>
            <ac:picMk id="29" creationId="{B2DE51B2-3015-FFF6-BC08-DC4DA2005230}"/>
          </ac:picMkLst>
        </pc:picChg>
        <pc:picChg chg="mod">
          <ac:chgData name="Laura Casadio" userId="66d3dc7e-795b-4a92-887c-7e990ee4a717" providerId="ADAL" clId="{A002E1BF-DA5B-40E8-8B58-22F68401CEFA}" dt="2025-02-04T12:38:21.869" v="678" actId="1076"/>
          <ac:picMkLst>
            <pc:docMk/>
            <pc:sldMk cId="2328368962" sldId="2134806013"/>
            <ac:picMk id="30" creationId="{211331C7-4C8E-EC6B-9499-336BED4FA3C0}"/>
          </ac:picMkLst>
        </pc:picChg>
      </pc:sldChg>
      <pc:sldChg chg="addSp modSp add mod">
        <pc:chgData name="Laura Casadio" userId="66d3dc7e-795b-4a92-887c-7e990ee4a717" providerId="ADAL" clId="{A002E1BF-DA5B-40E8-8B58-22F68401CEFA}" dt="2025-02-10T17:36:36.577" v="2538" actId="20577"/>
        <pc:sldMkLst>
          <pc:docMk/>
          <pc:sldMk cId="709755707" sldId="2134806014"/>
        </pc:sldMkLst>
        <pc:spChg chg="mod">
          <ac:chgData name="Laura Casadio" userId="66d3dc7e-795b-4a92-887c-7e990ee4a717" providerId="ADAL" clId="{A002E1BF-DA5B-40E8-8B58-22F68401CEFA}" dt="2025-02-05T08:42:39.768" v="1745" actId="2711"/>
          <ac:spMkLst>
            <pc:docMk/>
            <pc:sldMk cId="709755707" sldId="2134806014"/>
            <ac:spMk id="2" creationId="{23F2C360-056B-0475-4B85-75BBEE7041CF}"/>
          </ac:spMkLst>
        </pc:spChg>
        <pc:spChg chg="add mod">
          <ac:chgData name="Laura Casadio" userId="66d3dc7e-795b-4a92-887c-7e990ee4a717" providerId="ADAL" clId="{A002E1BF-DA5B-40E8-8B58-22F68401CEFA}" dt="2025-02-05T08:24:38.436" v="1650"/>
          <ac:spMkLst>
            <pc:docMk/>
            <pc:sldMk cId="709755707" sldId="2134806014"/>
            <ac:spMk id="3" creationId="{5150A572-0769-66A2-AE44-584DFA9D2359}"/>
          </ac:spMkLst>
        </pc:spChg>
        <pc:spChg chg="mod">
          <ac:chgData name="Laura Casadio" userId="66d3dc7e-795b-4a92-887c-7e990ee4a717" providerId="ADAL" clId="{A002E1BF-DA5B-40E8-8B58-22F68401CEFA}" dt="2025-02-05T08:42:39.768" v="1745" actId="2711"/>
          <ac:spMkLst>
            <pc:docMk/>
            <pc:sldMk cId="709755707" sldId="2134806014"/>
            <ac:spMk id="12" creationId="{604681B7-C3C8-B586-562B-502FF1A4C2CC}"/>
          </ac:spMkLst>
        </pc:spChg>
        <pc:spChg chg="mod">
          <ac:chgData name="Laura Casadio" userId="66d3dc7e-795b-4a92-887c-7e990ee4a717" providerId="ADAL" clId="{A002E1BF-DA5B-40E8-8B58-22F68401CEFA}" dt="2025-02-05T08:42:39.768" v="1745" actId="2711"/>
          <ac:spMkLst>
            <pc:docMk/>
            <pc:sldMk cId="709755707" sldId="2134806014"/>
            <ac:spMk id="15" creationId="{E72F6125-8174-0E93-6B7E-2513D3FBF7A3}"/>
          </ac:spMkLst>
        </pc:spChg>
        <pc:spChg chg="mod">
          <ac:chgData name="Laura Casadio" userId="66d3dc7e-795b-4a92-887c-7e990ee4a717" providerId="ADAL" clId="{A002E1BF-DA5B-40E8-8B58-22F68401CEFA}" dt="2025-02-05T08:42:39.768" v="1745" actId="2711"/>
          <ac:spMkLst>
            <pc:docMk/>
            <pc:sldMk cId="709755707" sldId="2134806014"/>
            <ac:spMk id="16" creationId="{BB769D65-6E8E-D8D5-07A5-CF2BE1B1EB09}"/>
          </ac:spMkLst>
        </pc:spChg>
        <pc:spChg chg="mod">
          <ac:chgData name="Laura Casadio" userId="66d3dc7e-795b-4a92-887c-7e990ee4a717" providerId="ADAL" clId="{A002E1BF-DA5B-40E8-8B58-22F68401CEFA}" dt="2025-02-10T17:36:33.489" v="2533" actId="20577"/>
          <ac:spMkLst>
            <pc:docMk/>
            <pc:sldMk cId="709755707" sldId="2134806014"/>
            <ac:spMk id="70" creationId="{806B8040-186A-DF35-242B-F6AD41CEFC9B}"/>
          </ac:spMkLst>
        </pc:spChg>
        <pc:spChg chg="mod">
          <ac:chgData name="Laura Casadio" userId="66d3dc7e-795b-4a92-887c-7e990ee4a717" providerId="ADAL" clId="{A002E1BF-DA5B-40E8-8B58-22F68401CEFA}" dt="2025-02-10T17:36:36.577" v="2538" actId="20577"/>
          <ac:spMkLst>
            <pc:docMk/>
            <pc:sldMk cId="709755707" sldId="2134806014"/>
            <ac:spMk id="71" creationId="{2AD15FC7-13C1-7EAF-160A-6AFB645E257B}"/>
          </ac:spMkLst>
        </pc:spChg>
      </pc:sldChg>
      <pc:sldChg chg="addSp modSp add mod">
        <pc:chgData name="Laura Casadio" userId="66d3dc7e-795b-4a92-887c-7e990ee4a717" providerId="ADAL" clId="{A002E1BF-DA5B-40E8-8B58-22F68401CEFA}" dt="2025-02-10T17:36:45.541" v="2548" actId="20577"/>
        <pc:sldMkLst>
          <pc:docMk/>
          <pc:sldMk cId="2881419956" sldId="2134806015"/>
        </pc:sldMkLst>
      </pc:sldChg>
      <pc:sldChg chg="addSp delSp modSp add mod">
        <pc:chgData name="Laura Casadio" userId="66d3dc7e-795b-4a92-887c-7e990ee4a717" providerId="ADAL" clId="{A002E1BF-DA5B-40E8-8B58-22F68401CEFA}" dt="2025-02-10T17:37:06.773" v="2563"/>
        <pc:sldMkLst>
          <pc:docMk/>
          <pc:sldMk cId="36743179" sldId="2134806016"/>
        </pc:sldMkLst>
        <pc:spChg chg="mod">
          <ac:chgData name="Laura Casadio" userId="66d3dc7e-795b-4a92-887c-7e990ee4a717" providerId="ADAL" clId="{A002E1BF-DA5B-40E8-8B58-22F68401CEFA}" dt="2025-02-05T08:43:00.659" v="1748" actId="2711"/>
          <ac:spMkLst>
            <pc:docMk/>
            <pc:sldMk cId="36743179" sldId="2134806016"/>
            <ac:spMk id="2" creationId="{53B48346-4C8D-26DD-2128-626A0B6AFD33}"/>
          </ac:spMkLst>
        </pc:spChg>
        <pc:spChg chg="mod">
          <ac:chgData name="Laura Casadio" userId="66d3dc7e-795b-4a92-887c-7e990ee4a717" providerId="ADAL" clId="{A002E1BF-DA5B-40E8-8B58-22F68401CEFA}" dt="2025-02-04T14:58:58.947" v="1631" actId="14100"/>
          <ac:spMkLst>
            <pc:docMk/>
            <pc:sldMk cId="36743179" sldId="2134806016"/>
            <ac:spMk id="3" creationId="{81AA1EC2-5AF0-03BF-3250-6437CC5A4825}"/>
          </ac:spMkLst>
        </pc:spChg>
        <pc:spChg chg="add mod">
          <ac:chgData name="Laura Casadio" userId="66d3dc7e-795b-4a92-887c-7e990ee4a717" providerId="ADAL" clId="{A002E1BF-DA5B-40E8-8B58-22F68401CEFA}" dt="2025-02-04T14:58:20.662" v="1625" actId="14100"/>
          <ac:spMkLst>
            <pc:docMk/>
            <pc:sldMk cId="36743179" sldId="2134806016"/>
            <ac:spMk id="4" creationId="{9004DD6B-EA21-BE3E-27E2-DEF7304A379E}"/>
          </ac:spMkLst>
        </pc:spChg>
        <pc:spChg chg="add mod">
          <ac:chgData name="Laura Casadio" userId="66d3dc7e-795b-4a92-887c-7e990ee4a717" providerId="ADAL" clId="{A002E1BF-DA5B-40E8-8B58-22F68401CEFA}" dt="2025-02-10T17:36:58.106" v="2559" actId="20577"/>
          <ac:spMkLst>
            <pc:docMk/>
            <pc:sldMk cId="36743179" sldId="2134806016"/>
            <ac:spMk id="6" creationId="{CBBC70FF-0716-8FC0-C2A4-24E50E148786}"/>
          </ac:spMkLst>
        </pc:spChg>
        <pc:spChg chg="mod">
          <ac:chgData name="Laura Casadio" userId="66d3dc7e-795b-4a92-887c-7e990ee4a717" providerId="ADAL" clId="{A002E1BF-DA5B-40E8-8B58-22F68401CEFA}" dt="2025-02-05T08:43:00.659" v="1748" actId="2711"/>
          <ac:spMkLst>
            <pc:docMk/>
            <pc:sldMk cId="36743179" sldId="2134806016"/>
            <ac:spMk id="8" creationId="{EA38D97F-E0CF-A372-A9F6-6149A59F7E41}"/>
          </ac:spMkLst>
        </pc:spChg>
        <pc:spChg chg="mod">
          <ac:chgData name="Laura Casadio" userId="66d3dc7e-795b-4a92-887c-7e990ee4a717" providerId="ADAL" clId="{A002E1BF-DA5B-40E8-8B58-22F68401CEFA}" dt="2025-02-10T17:37:03.947" v="2561"/>
          <ac:spMkLst>
            <pc:docMk/>
            <pc:sldMk cId="36743179" sldId="2134806016"/>
            <ac:spMk id="12" creationId="{C16A67FD-A8E6-9538-BC69-131AE46EE5B2}"/>
          </ac:spMkLst>
        </pc:spChg>
        <pc:spChg chg="mod">
          <ac:chgData name="Laura Casadio" userId="66d3dc7e-795b-4a92-887c-7e990ee4a717" providerId="ADAL" clId="{A002E1BF-DA5B-40E8-8B58-22F68401CEFA}" dt="2025-02-05T08:43:00.659" v="1748" actId="2711"/>
          <ac:spMkLst>
            <pc:docMk/>
            <pc:sldMk cId="36743179" sldId="2134806016"/>
            <ac:spMk id="14" creationId="{E53E2D8E-09B1-1463-EC94-D6FD4C855D7B}"/>
          </ac:spMkLst>
        </pc:spChg>
        <pc:spChg chg="mod">
          <ac:chgData name="Laura Casadio" userId="66d3dc7e-795b-4a92-887c-7e990ee4a717" providerId="ADAL" clId="{A002E1BF-DA5B-40E8-8B58-22F68401CEFA}" dt="2025-02-05T08:43:00.659" v="1748" actId="2711"/>
          <ac:spMkLst>
            <pc:docMk/>
            <pc:sldMk cId="36743179" sldId="2134806016"/>
            <ac:spMk id="15" creationId="{9E0071CF-93F3-76F8-3334-D08BE5DD75A6}"/>
          </ac:spMkLst>
        </pc:spChg>
        <pc:spChg chg="add mod">
          <ac:chgData name="Laura Casadio" userId="66d3dc7e-795b-4a92-887c-7e990ee4a717" providerId="ADAL" clId="{A002E1BF-DA5B-40E8-8B58-22F68401CEFA}" dt="2025-02-05T08:24:41.618" v="1652"/>
          <ac:spMkLst>
            <pc:docMk/>
            <pc:sldMk cId="36743179" sldId="2134806016"/>
            <ac:spMk id="16" creationId="{101A8E12-AA1E-BBFD-0369-CB2FC54EDF7C}"/>
          </ac:spMkLst>
        </pc:spChg>
        <pc:spChg chg="mod">
          <ac:chgData name="Laura Casadio" userId="66d3dc7e-795b-4a92-887c-7e990ee4a717" providerId="ADAL" clId="{A002E1BF-DA5B-40E8-8B58-22F68401CEFA}" dt="2025-02-04T14:59:01.972" v="1632" actId="14100"/>
          <ac:spMkLst>
            <pc:docMk/>
            <pc:sldMk cId="36743179" sldId="2134806016"/>
            <ac:spMk id="17" creationId="{358CBD8B-301C-E4CA-8CE5-F5F4A9F5098E}"/>
          </ac:spMkLst>
        </pc:spChg>
        <pc:spChg chg="mod">
          <ac:chgData name="Laura Casadio" userId="66d3dc7e-795b-4a92-887c-7e990ee4a717" providerId="ADAL" clId="{A002E1BF-DA5B-40E8-8B58-22F68401CEFA}" dt="2025-02-10T17:37:06.773" v="2563"/>
          <ac:spMkLst>
            <pc:docMk/>
            <pc:sldMk cId="36743179" sldId="2134806016"/>
            <ac:spMk id="18" creationId="{B39AA5F3-84D8-85C7-8DC0-3B2C59E59091}"/>
          </ac:spMkLst>
        </pc:spChg>
        <pc:spChg chg="mod">
          <ac:chgData name="Laura Casadio" userId="66d3dc7e-795b-4a92-887c-7e990ee4a717" providerId="ADAL" clId="{A002E1BF-DA5B-40E8-8B58-22F68401CEFA}" dt="2025-02-05T08:43:00.659" v="1748" actId="2711"/>
          <ac:spMkLst>
            <pc:docMk/>
            <pc:sldMk cId="36743179" sldId="2134806016"/>
            <ac:spMk id="23" creationId="{ABA89FF0-D8AA-C57D-D364-65A8ED723355}"/>
          </ac:spMkLst>
        </pc:spChg>
        <pc:spChg chg="add mod">
          <ac:chgData name="Laura Casadio" userId="66d3dc7e-795b-4a92-887c-7e990ee4a717" providerId="ADAL" clId="{A002E1BF-DA5B-40E8-8B58-22F68401CEFA}" dt="2025-02-05T08:43:00.659" v="1748" actId="2711"/>
          <ac:spMkLst>
            <pc:docMk/>
            <pc:sldMk cId="36743179" sldId="2134806016"/>
            <ac:spMk id="25" creationId="{EB180420-12F8-94EC-6ABC-5587BDF0DAD3}"/>
          </ac:spMkLst>
        </pc:spChg>
        <pc:spChg chg="add mod">
          <ac:chgData name="Laura Casadio" userId="66d3dc7e-795b-4a92-887c-7e990ee4a717" providerId="ADAL" clId="{A002E1BF-DA5B-40E8-8B58-22F68401CEFA}" dt="2025-02-05T08:43:00.659" v="1748" actId="2711"/>
          <ac:spMkLst>
            <pc:docMk/>
            <pc:sldMk cId="36743179" sldId="2134806016"/>
            <ac:spMk id="26" creationId="{811F69F7-8BC9-862F-D7CC-EEC2E9FE2454}"/>
          </ac:spMkLst>
        </pc:spChg>
        <pc:spChg chg="add mod">
          <ac:chgData name="Laura Casadio" userId="66d3dc7e-795b-4a92-887c-7e990ee4a717" providerId="ADAL" clId="{A002E1BF-DA5B-40E8-8B58-22F68401CEFA}" dt="2025-02-05T10:36:30.689" v="1777" actId="1076"/>
          <ac:spMkLst>
            <pc:docMk/>
            <pc:sldMk cId="36743179" sldId="2134806016"/>
            <ac:spMk id="29" creationId="{0F97958E-04F6-1E4B-567E-18712723AC61}"/>
          </ac:spMkLst>
        </pc:spChg>
        <pc:spChg chg="add mod">
          <ac:chgData name="Laura Casadio" userId="66d3dc7e-795b-4a92-887c-7e990ee4a717" providerId="ADAL" clId="{A002E1BF-DA5B-40E8-8B58-22F68401CEFA}" dt="2025-02-05T10:36:39.337" v="1779" actId="1076"/>
          <ac:spMkLst>
            <pc:docMk/>
            <pc:sldMk cId="36743179" sldId="2134806016"/>
            <ac:spMk id="30" creationId="{3B6E9ACF-49CF-730E-830A-663B1153DB12}"/>
          </ac:spMkLst>
        </pc:spChg>
        <pc:spChg chg="mod">
          <ac:chgData name="Laura Casadio" userId="66d3dc7e-795b-4a92-887c-7e990ee4a717" providerId="ADAL" clId="{A002E1BF-DA5B-40E8-8B58-22F68401CEFA}" dt="2025-02-04T14:58:52.839" v="1630" actId="14100"/>
          <ac:spMkLst>
            <pc:docMk/>
            <pc:sldMk cId="36743179" sldId="2134806016"/>
            <ac:spMk id="66" creationId="{E3D66219-C056-79DF-43B6-AD9C57CCEB15}"/>
          </ac:spMkLst>
        </pc:spChg>
        <pc:picChg chg="mod">
          <ac:chgData name="Laura Casadio" userId="66d3dc7e-795b-4a92-887c-7e990ee4a717" providerId="ADAL" clId="{A002E1BF-DA5B-40E8-8B58-22F68401CEFA}" dt="2025-02-05T08:43:00.659" v="1748" actId="2711"/>
          <ac:picMkLst>
            <pc:docMk/>
            <pc:sldMk cId="36743179" sldId="2134806016"/>
            <ac:picMk id="5" creationId="{3ECFB1AB-4C71-4096-8972-5D32CD2EE457}"/>
          </ac:picMkLst>
        </pc:picChg>
        <pc:picChg chg="mod">
          <ac:chgData name="Laura Casadio" userId="66d3dc7e-795b-4a92-887c-7e990ee4a717" providerId="ADAL" clId="{A002E1BF-DA5B-40E8-8B58-22F68401CEFA}" dt="2025-02-05T08:43:00.659" v="1748" actId="2711"/>
          <ac:picMkLst>
            <pc:docMk/>
            <pc:sldMk cId="36743179" sldId="2134806016"/>
            <ac:picMk id="7" creationId="{FB5A77CD-4EFC-C885-6F6F-151EA5881FCD}"/>
          </ac:picMkLst>
        </pc:picChg>
        <pc:picChg chg="mod">
          <ac:chgData name="Laura Casadio" userId="66d3dc7e-795b-4a92-887c-7e990ee4a717" providerId="ADAL" clId="{A002E1BF-DA5B-40E8-8B58-22F68401CEFA}" dt="2025-02-05T08:43:00.659" v="1748" actId="2711"/>
          <ac:picMkLst>
            <pc:docMk/>
            <pc:sldMk cId="36743179" sldId="2134806016"/>
            <ac:picMk id="11" creationId="{9C36E4CE-6149-4EB7-9872-4708F2DD26B3}"/>
          </ac:picMkLst>
        </pc:picChg>
        <pc:picChg chg="add mod">
          <ac:chgData name="Laura Casadio" userId="66d3dc7e-795b-4a92-887c-7e990ee4a717" providerId="ADAL" clId="{A002E1BF-DA5B-40E8-8B58-22F68401CEFA}" dt="2025-02-05T08:43:00.659" v="1748" actId="2711"/>
          <ac:picMkLst>
            <pc:docMk/>
            <pc:sldMk cId="36743179" sldId="2134806016"/>
            <ac:picMk id="20" creationId="{3C7556B9-A268-BEB0-CC3F-027716B6B6DE}"/>
          </ac:picMkLst>
        </pc:picChg>
        <pc:picChg chg="add mod">
          <ac:chgData name="Laura Casadio" userId="66d3dc7e-795b-4a92-887c-7e990ee4a717" providerId="ADAL" clId="{A002E1BF-DA5B-40E8-8B58-22F68401CEFA}" dt="2025-02-05T08:43:00.659" v="1748" actId="2711"/>
          <ac:picMkLst>
            <pc:docMk/>
            <pc:sldMk cId="36743179" sldId="2134806016"/>
            <ac:picMk id="22" creationId="{00F84FE9-4633-8C4F-E3E3-9E3B27B77CB6}"/>
          </ac:picMkLst>
        </pc:picChg>
        <pc:cxnChg chg="mod">
          <ac:chgData name="Laura Casadio" userId="66d3dc7e-795b-4a92-887c-7e990ee4a717" providerId="ADAL" clId="{A002E1BF-DA5B-40E8-8B58-22F68401CEFA}" dt="2025-02-05T08:43:19.724" v="1751" actId="14100"/>
          <ac:cxnSpMkLst>
            <pc:docMk/>
            <pc:sldMk cId="36743179" sldId="2134806016"/>
            <ac:cxnSpMk id="24" creationId="{4614059A-A8D9-04D8-2B06-F43B6F3CC465}"/>
          </ac:cxnSpMkLst>
        </pc:cxnChg>
        <pc:cxnChg chg="add mod">
          <ac:chgData name="Laura Casadio" userId="66d3dc7e-795b-4a92-887c-7e990ee4a717" providerId="ADAL" clId="{A002E1BF-DA5B-40E8-8B58-22F68401CEFA}" dt="2025-02-05T08:43:29.925" v="1752" actId="1582"/>
          <ac:cxnSpMkLst>
            <pc:docMk/>
            <pc:sldMk cId="36743179" sldId="2134806016"/>
            <ac:cxnSpMk id="27" creationId="{BA414459-B2C5-DE83-B8FB-83B28B439532}"/>
          </ac:cxnSpMkLst>
        </pc:cxnChg>
      </pc:sldChg>
      <pc:sldChg chg="addSp modSp add mod">
        <pc:chgData name="Laura Casadio" userId="66d3dc7e-795b-4a92-887c-7e990ee4a717" providerId="ADAL" clId="{A002E1BF-DA5B-40E8-8B58-22F68401CEFA}" dt="2025-02-10T17:37:32.436" v="2577"/>
        <pc:sldMkLst>
          <pc:docMk/>
          <pc:sldMk cId="733098110" sldId="2134806017"/>
        </pc:sldMkLst>
        <pc:spChg chg="mod">
          <ac:chgData name="Laura Casadio" userId="66d3dc7e-795b-4a92-887c-7e990ee4a717" providerId="ADAL" clId="{A002E1BF-DA5B-40E8-8B58-22F68401CEFA}" dt="2025-02-05T08:43:51.686" v="1754" actId="2711"/>
          <ac:spMkLst>
            <pc:docMk/>
            <pc:sldMk cId="733098110" sldId="2134806017"/>
            <ac:spMk id="2" creationId="{1CD2CB64-DBBC-131D-1DEA-9A38D2776C75}"/>
          </ac:spMkLst>
        </pc:spChg>
        <pc:spChg chg="mod">
          <ac:chgData name="Laura Casadio" userId="66d3dc7e-795b-4a92-887c-7e990ee4a717" providerId="ADAL" clId="{A002E1BF-DA5B-40E8-8B58-22F68401CEFA}" dt="2025-02-10T17:37:27.746" v="2573"/>
          <ac:spMkLst>
            <pc:docMk/>
            <pc:sldMk cId="733098110" sldId="2134806017"/>
            <ac:spMk id="3" creationId="{73EC35BD-3F2E-F0DF-D1BF-09AF3620BDFE}"/>
          </ac:spMkLst>
        </pc:spChg>
        <pc:spChg chg="mod ord">
          <ac:chgData name="Laura Casadio" userId="66d3dc7e-795b-4a92-887c-7e990ee4a717" providerId="ADAL" clId="{A002E1BF-DA5B-40E8-8B58-22F68401CEFA}" dt="2025-02-05T13:38:03.054" v="1849" actId="1035"/>
          <ac:spMkLst>
            <pc:docMk/>
            <pc:sldMk cId="733098110" sldId="2134806017"/>
            <ac:spMk id="4" creationId="{027D1CC0-730A-4A1F-BA81-543C462CBEA8}"/>
          </ac:spMkLst>
        </pc:spChg>
        <pc:spChg chg="mod">
          <ac:chgData name="Laura Casadio" userId="66d3dc7e-795b-4a92-887c-7e990ee4a717" providerId="ADAL" clId="{A002E1BF-DA5B-40E8-8B58-22F68401CEFA}" dt="2025-02-10T17:37:30.131" v="2575"/>
          <ac:spMkLst>
            <pc:docMk/>
            <pc:sldMk cId="733098110" sldId="2134806017"/>
            <ac:spMk id="11" creationId="{C7514DD6-C27E-93BF-FAF4-723309D293D2}"/>
          </ac:spMkLst>
        </pc:spChg>
        <pc:spChg chg="mod">
          <ac:chgData name="Laura Casadio" userId="66d3dc7e-795b-4a92-887c-7e990ee4a717" providerId="ADAL" clId="{A002E1BF-DA5B-40E8-8B58-22F68401CEFA}" dt="2025-02-05T08:43:51.686" v="1754" actId="2711"/>
          <ac:spMkLst>
            <pc:docMk/>
            <pc:sldMk cId="733098110" sldId="2134806017"/>
            <ac:spMk id="12" creationId="{558CA5A6-0A2F-9466-D586-793A8A7AE0C9}"/>
          </ac:spMkLst>
        </pc:spChg>
        <pc:spChg chg="mod">
          <ac:chgData name="Laura Casadio" userId="66d3dc7e-795b-4a92-887c-7e990ee4a717" providerId="ADAL" clId="{A002E1BF-DA5B-40E8-8B58-22F68401CEFA}" dt="2025-02-05T08:43:51.686" v="1754" actId="2711"/>
          <ac:spMkLst>
            <pc:docMk/>
            <pc:sldMk cId="733098110" sldId="2134806017"/>
            <ac:spMk id="14" creationId="{10B89945-774D-2106-FEF8-068B8C8763A9}"/>
          </ac:spMkLst>
        </pc:spChg>
        <pc:spChg chg="mod">
          <ac:chgData name="Laura Casadio" userId="66d3dc7e-795b-4a92-887c-7e990ee4a717" providerId="ADAL" clId="{A002E1BF-DA5B-40E8-8B58-22F68401CEFA}" dt="2025-02-05T08:43:51.686" v="1754" actId="2711"/>
          <ac:spMkLst>
            <pc:docMk/>
            <pc:sldMk cId="733098110" sldId="2134806017"/>
            <ac:spMk id="15" creationId="{BAD62E54-9DC6-0BC7-7043-C2A6FCD91641}"/>
          </ac:spMkLst>
        </pc:spChg>
        <pc:spChg chg="mod">
          <ac:chgData name="Laura Casadio" userId="66d3dc7e-795b-4a92-887c-7e990ee4a717" providerId="ADAL" clId="{A002E1BF-DA5B-40E8-8B58-22F68401CEFA}" dt="2025-02-05T13:37:56.779" v="1842" actId="1035"/>
          <ac:spMkLst>
            <pc:docMk/>
            <pc:sldMk cId="733098110" sldId="2134806017"/>
            <ac:spMk id="16" creationId="{AE3EE079-D984-582B-CA12-9A0B292EBDC6}"/>
          </ac:spMkLst>
        </pc:spChg>
        <pc:spChg chg="mod">
          <ac:chgData name="Laura Casadio" userId="66d3dc7e-795b-4a92-887c-7e990ee4a717" providerId="ADAL" clId="{A002E1BF-DA5B-40E8-8B58-22F68401CEFA}" dt="2025-02-10T17:37:32.436" v="2577"/>
          <ac:spMkLst>
            <pc:docMk/>
            <pc:sldMk cId="733098110" sldId="2134806017"/>
            <ac:spMk id="17" creationId="{A40A4711-DB3D-1954-6F36-71707752E2EE}"/>
          </ac:spMkLst>
        </pc:spChg>
        <pc:spChg chg="mod">
          <ac:chgData name="Laura Casadio" userId="66d3dc7e-795b-4a92-887c-7e990ee4a717" providerId="ADAL" clId="{A002E1BF-DA5B-40E8-8B58-22F68401CEFA}" dt="2025-02-05T08:43:51.686" v="1754" actId="2711"/>
          <ac:spMkLst>
            <pc:docMk/>
            <pc:sldMk cId="733098110" sldId="2134806017"/>
            <ac:spMk id="20" creationId="{4B819F0C-E5E5-2AA6-609E-B08566E740EC}"/>
          </ac:spMkLst>
        </pc:spChg>
        <pc:spChg chg="mod">
          <ac:chgData name="Laura Casadio" userId="66d3dc7e-795b-4a92-887c-7e990ee4a717" providerId="ADAL" clId="{A002E1BF-DA5B-40E8-8B58-22F68401CEFA}" dt="2025-02-05T08:43:51.686" v="1754" actId="2711"/>
          <ac:spMkLst>
            <pc:docMk/>
            <pc:sldMk cId="733098110" sldId="2134806017"/>
            <ac:spMk id="21" creationId="{21498213-C9FA-1C9C-324B-1FC8DBD72C13}"/>
          </ac:spMkLst>
        </pc:spChg>
        <pc:spChg chg="add mod">
          <ac:chgData name="Laura Casadio" userId="66d3dc7e-795b-4a92-887c-7e990ee4a717" providerId="ADAL" clId="{A002E1BF-DA5B-40E8-8B58-22F68401CEFA}" dt="2025-02-05T08:24:44.243" v="1654"/>
          <ac:spMkLst>
            <pc:docMk/>
            <pc:sldMk cId="733098110" sldId="2134806017"/>
            <ac:spMk id="22" creationId="{606751D6-0B73-D13A-2CCF-C2186CC33C3C}"/>
          </ac:spMkLst>
        </pc:spChg>
        <pc:spChg chg="mod">
          <ac:chgData name="Laura Casadio" userId="66d3dc7e-795b-4a92-887c-7e990ee4a717" providerId="ADAL" clId="{A002E1BF-DA5B-40E8-8B58-22F68401CEFA}" dt="2025-02-10T17:37:25.201" v="2571"/>
          <ac:spMkLst>
            <pc:docMk/>
            <pc:sldMk cId="733098110" sldId="2134806017"/>
            <ac:spMk id="70" creationId="{806B8040-186A-DF35-242B-F6AD41CEFC9B}"/>
          </ac:spMkLst>
        </pc:spChg>
      </pc:sldChg>
      <pc:sldChg chg="addSp delSp modSp add mod ord">
        <pc:chgData name="Laura Casadio" userId="66d3dc7e-795b-4a92-887c-7e990ee4a717" providerId="ADAL" clId="{A002E1BF-DA5B-40E8-8B58-22F68401CEFA}" dt="2025-02-10T13:42:08.481" v="2067" actId="1036"/>
        <pc:sldMkLst>
          <pc:docMk/>
          <pc:sldMk cId="831149825" sldId="2134806018"/>
        </pc:sldMkLst>
        <pc:spChg chg="mod">
          <ac:chgData name="Laura Casadio" userId="66d3dc7e-795b-4a92-887c-7e990ee4a717" providerId="ADAL" clId="{A002E1BF-DA5B-40E8-8B58-22F68401CEFA}" dt="2025-02-04T12:46:45.721" v="784" actId="20577"/>
          <ac:spMkLst>
            <pc:docMk/>
            <pc:sldMk cId="831149825" sldId="2134806018"/>
            <ac:spMk id="4" creationId="{49F7AEFC-1990-F011-D7DA-ED9DC825F8EF}"/>
          </ac:spMkLst>
        </pc:spChg>
        <pc:spChg chg="mod">
          <ac:chgData name="Laura Casadio" userId="66d3dc7e-795b-4a92-887c-7e990ee4a717" providerId="ADAL" clId="{A002E1BF-DA5B-40E8-8B58-22F68401CEFA}" dt="2025-02-04T12:47:05.815" v="786" actId="14100"/>
          <ac:spMkLst>
            <pc:docMk/>
            <pc:sldMk cId="831149825" sldId="2134806018"/>
            <ac:spMk id="8" creationId="{EEBB8346-6D75-5656-B65F-58B584326B28}"/>
          </ac:spMkLst>
        </pc:spChg>
        <pc:spChg chg="mod">
          <ac:chgData name="Laura Casadio" userId="66d3dc7e-795b-4a92-887c-7e990ee4a717" providerId="ADAL" clId="{A002E1BF-DA5B-40E8-8B58-22F68401CEFA}" dt="2025-02-04T12:47:32.773" v="796" actId="20577"/>
          <ac:spMkLst>
            <pc:docMk/>
            <pc:sldMk cId="831149825" sldId="2134806018"/>
            <ac:spMk id="9" creationId="{40B24B90-41A2-3C31-1ADE-B3A1CEE3DA95}"/>
          </ac:spMkLst>
        </pc:spChg>
        <pc:spChg chg="mod">
          <ac:chgData name="Laura Casadio" userId="66d3dc7e-795b-4a92-887c-7e990ee4a717" providerId="ADAL" clId="{A002E1BF-DA5B-40E8-8B58-22F68401CEFA}" dt="2025-02-05T08:38:36.037" v="1715" actId="552"/>
          <ac:spMkLst>
            <pc:docMk/>
            <pc:sldMk cId="831149825" sldId="2134806018"/>
            <ac:spMk id="11" creationId="{DA792CE8-CD49-B853-7419-789D39BCEEF4}"/>
          </ac:spMkLst>
        </pc:spChg>
        <pc:spChg chg="add mod">
          <ac:chgData name="Laura Casadio" userId="66d3dc7e-795b-4a92-887c-7e990ee4a717" providerId="ADAL" clId="{A002E1BF-DA5B-40E8-8B58-22F68401CEFA}" dt="2025-02-05T08:38:36.037" v="1715" actId="552"/>
          <ac:spMkLst>
            <pc:docMk/>
            <pc:sldMk cId="831149825" sldId="2134806018"/>
            <ac:spMk id="47" creationId="{EDCB1746-69D8-711E-6340-2E84ADEC2619}"/>
          </ac:spMkLst>
        </pc:spChg>
        <pc:spChg chg="add mod">
          <ac:chgData name="Laura Casadio" userId="66d3dc7e-795b-4a92-887c-7e990ee4a717" providerId="ADAL" clId="{A002E1BF-DA5B-40E8-8B58-22F68401CEFA}" dt="2025-02-10T13:41:59.131" v="2060" actId="1036"/>
          <ac:spMkLst>
            <pc:docMk/>
            <pc:sldMk cId="831149825" sldId="2134806018"/>
            <ac:spMk id="48" creationId="{37772472-6564-C150-4A79-EA1C1AC5D67D}"/>
          </ac:spMkLst>
        </pc:spChg>
        <pc:spChg chg="add mod">
          <ac:chgData name="Laura Casadio" userId="66d3dc7e-795b-4a92-887c-7e990ee4a717" providerId="ADAL" clId="{A002E1BF-DA5B-40E8-8B58-22F68401CEFA}" dt="2025-02-10T13:42:05.173" v="2063" actId="1036"/>
          <ac:spMkLst>
            <pc:docMk/>
            <pc:sldMk cId="831149825" sldId="2134806018"/>
            <ac:spMk id="49" creationId="{F1201C1E-D730-FC0C-D2C9-D42DAC62B49B}"/>
          </ac:spMkLst>
        </pc:spChg>
        <pc:spChg chg="add mod">
          <ac:chgData name="Laura Casadio" userId="66d3dc7e-795b-4a92-887c-7e990ee4a717" providerId="ADAL" clId="{A002E1BF-DA5B-40E8-8B58-22F68401CEFA}" dt="2025-02-10T13:42:08.481" v="2067" actId="1036"/>
          <ac:spMkLst>
            <pc:docMk/>
            <pc:sldMk cId="831149825" sldId="2134806018"/>
            <ac:spMk id="50" creationId="{A2EF0CE7-DC9B-24D1-8EBC-C46C18EF1D4B}"/>
          </ac:spMkLst>
        </pc:spChg>
        <pc:spChg chg="add mod">
          <ac:chgData name="Laura Casadio" userId="66d3dc7e-795b-4a92-887c-7e990ee4a717" providerId="ADAL" clId="{A002E1BF-DA5B-40E8-8B58-22F68401CEFA}" dt="2025-02-04T14:47:55.727" v="1605"/>
          <ac:spMkLst>
            <pc:docMk/>
            <pc:sldMk cId="831149825" sldId="2134806018"/>
            <ac:spMk id="52" creationId="{CABF6519-7F85-E3E7-53DD-133ED294E5C6}"/>
          </ac:spMkLst>
        </pc:spChg>
      </pc:sldChg>
      <pc:sldChg chg="addSp delSp modSp add mod">
        <pc:chgData name="Laura Casadio" userId="66d3dc7e-795b-4a92-887c-7e990ee4a717" providerId="ADAL" clId="{A002E1BF-DA5B-40E8-8B58-22F68401CEFA}" dt="2025-02-05T08:40:45.561" v="1731" actId="2711"/>
        <pc:sldMkLst>
          <pc:docMk/>
          <pc:sldMk cId="347654087" sldId="2134806019"/>
        </pc:sldMkLst>
        <pc:spChg chg="add mod">
          <ac:chgData name="Laura Casadio" userId="66d3dc7e-795b-4a92-887c-7e990ee4a717" providerId="ADAL" clId="{A002E1BF-DA5B-40E8-8B58-22F68401CEFA}" dt="2025-02-05T08:40:45.561" v="1731" actId="2711"/>
          <ac:spMkLst>
            <pc:docMk/>
            <pc:sldMk cId="347654087" sldId="2134806019"/>
            <ac:spMk id="8" creationId="{B9274595-084B-466D-8304-C6F92E8BBBD0}"/>
          </ac:spMkLst>
        </pc:spChg>
        <pc:spChg chg="add mod">
          <ac:chgData name="Laura Casadio" userId="66d3dc7e-795b-4a92-887c-7e990ee4a717" providerId="ADAL" clId="{A002E1BF-DA5B-40E8-8B58-22F68401CEFA}" dt="2025-02-05T08:28:06.284" v="1665" actId="1076"/>
          <ac:spMkLst>
            <pc:docMk/>
            <pc:sldMk cId="347654087" sldId="2134806019"/>
            <ac:spMk id="9" creationId="{877C1405-3B99-3727-B02C-6415E4AB04AD}"/>
          </ac:spMkLst>
        </pc:spChg>
        <pc:spChg chg="mod ord">
          <ac:chgData name="Laura Casadio" userId="66d3dc7e-795b-4a92-887c-7e990ee4a717" providerId="ADAL" clId="{A002E1BF-DA5B-40E8-8B58-22F68401CEFA}" dt="2025-02-04T13:33:11.892" v="1146" actId="166"/>
          <ac:spMkLst>
            <pc:docMk/>
            <pc:sldMk cId="347654087" sldId="2134806019"/>
            <ac:spMk id="10" creationId="{4AC399DE-D4E4-C4AF-59E7-215433152576}"/>
          </ac:spMkLst>
        </pc:spChg>
        <pc:spChg chg="add mod">
          <ac:chgData name="Laura Casadio" userId="66d3dc7e-795b-4a92-887c-7e990ee4a717" providerId="ADAL" clId="{A002E1BF-DA5B-40E8-8B58-22F68401CEFA}" dt="2025-02-05T08:40:45.561" v="1731" actId="2711"/>
          <ac:spMkLst>
            <pc:docMk/>
            <pc:sldMk cId="347654087" sldId="2134806019"/>
            <ac:spMk id="14" creationId="{112015D1-D60A-74CA-1844-C31CDFDD56B7}"/>
          </ac:spMkLst>
        </pc:spChg>
        <pc:spChg chg="add mod">
          <ac:chgData name="Laura Casadio" userId="66d3dc7e-795b-4a92-887c-7e990ee4a717" providerId="ADAL" clId="{A002E1BF-DA5B-40E8-8B58-22F68401CEFA}" dt="2025-02-05T08:40:45.561" v="1731" actId="2711"/>
          <ac:spMkLst>
            <pc:docMk/>
            <pc:sldMk cId="347654087" sldId="2134806019"/>
            <ac:spMk id="15" creationId="{8B1F82C2-39A7-A842-1257-B0848E4CF19A}"/>
          </ac:spMkLst>
        </pc:spChg>
        <pc:spChg chg="add mod">
          <ac:chgData name="Laura Casadio" userId="66d3dc7e-795b-4a92-887c-7e990ee4a717" providerId="ADAL" clId="{A002E1BF-DA5B-40E8-8B58-22F68401CEFA}" dt="2025-02-05T08:40:45.561" v="1731" actId="2711"/>
          <ac:spMkLst>
            <pc:docMk/>
            <pc:sldMk cId="347654087" sldId="2134806019"/>
            <ac:spMk id="16" creationId="{EF39FEBC-8154-B1DD-F8E5-AB953EF8C0A5}"/>
          </ac:spMkLst>
        </pc:spChg>
        <pc:spChg chg="add mod">
          <ac:chgData name="Laura Casadio" userId="66d3dc7e-795b-4a92-887c-7e990ee4a717" providerId="ADAL" clId="{A002E1BF-DA5B-40E8-8B58-22F68401CEFA}" dt="2025-02-05T08:40:45.561" v="1731" actId="2711"/>
          <ac:spMkLst>
            <pc:docMk/>
            <pc:sldMk cId="347654087" sldId="2134806019"/>
            <ac:spMk id="17" creationId="{A726630F-311A-0B82-64B1-50AFC5081DCF}"/>
          </ac:spMkLst>
        </pc:spChg>
        <pc:spChg chg="add mod">
          <ac:chgData name="Laura Casadio" userId="66d3dc7e-795b-4a92-887c-7e990ee4a717" providerId="ADAL" clId="{A002E1BF-DA5B-40E8-8B58-22F68401CEFA}" dt="2025-02-05T08:40:45.561" v="1731" actId="2711"/>
          <ac:spMkLst>
            <pc:docMk/>
            <pc:sldMk cId="347654087" sldId="2134806019"/>
            <ac:spMk id="18" creationId="{5C1A3CC6-D3C2-A3A4-6A47-551FDA85DB42}"/>
          </ac:spMkLst>
        </pc:spChg>
        <pc:spChg chg="add mod">
          <ac:chgData name="Laura Casadio" userId="66d3dc7e-795b-4a92-887c-7e990ee4a717" providerId="ADAL" clId="{A002E1BF-DA5B-40E8-8B58-22F68401CEFA}" dt="2025-02-05T08:40:45.561" v="1731" actId="2711"/>
          <ac:spMkLst>
            <pc:docMk/>
            <pc:sldMk cId="347654087" sldId="2134806019"/>
            <ac:spMk id="19" creationId="{2AC0F185-222B-3FC8-1854-09D97D7B744E}"/>
          </ac:spMkLst>
        </pc:spChg>
        <pc:spChg chg="add mod">
          <ac:chgData name="Laura Casadio" userId="66d3dc7e-795b-4a92-887c-7e990ee4a717" providerId="ADAL" clId="{A002E1BF-DA5B-40E8-8B58-22F68401CEFA}" dt="2025-02-05T08:40:45.561" v="1731" actId="2711"/>
          <ac:spMkLst>
            <pc:docMk/>
            <pc:sldMk cId="347654087" sldId="2134806019"/>
            <ac:spMk id="20" creationId="{84795906-2FE1-D3EB-74D1-F066FAB7872B}"/>
          </ac:spMkLst>
        </pc:spChg>
        <pc:spChg chg="mod">
          <ac:chgData name="Laura Casadio" userId="66d3dc7e-795b-4a92-887c-7e990ee4a717" providerId="ADAL" clId="{A002E1BF-DA5B-40E8-8B58-22F68401CEFA}" dt="2025-02-05T08:28:20.835" v="1667" actId="14100"/>
          <ac:spMkLst>
            <pc:docMk/>
            <pc:sldMk cId="347654087" sldId="2134806019"/>
            <ac:spMk id="22" creationId="{F7E95C66-8494-271D-5115-56E7BDFEBDE2}"/>
          </ac:spMkLst>
        </pc:spChg>
        <pc:picChg chg="add mod">
          <ac:chgData name="Laura Casadio" userId="66d3dc7e-795b-4a92-887c-7e990ee4a717" providerId="ADAL" clId="{A002E1BF-DA5B-40E8-8B58-22F68401CEFA}" dt="2025-02-05T08:28:14.107" v="1666" actId="1076"/>
          <ac:picMkLst>
            <pc:docMk/>
            <pc:sldMk cId="347654087" sldId="2134806019"/>
            <ac:picMk id="11" creationId="{FB3623E7-EC64-5F6F-A050-82A6FC736014}"/>
          </ac:picMkLst>
        </pc:picChg>
        <pc:picChg chg="add mod">
          <ac:chgData name="Laura Casadio" userId="66d3dc7e-795b-4a92-887c-7e990ee4a717" providerId="ADAL" clId="{A002E1BF-DA5B-40E8-8B58-22F68401CEFA}" dt="2025-02-05T08:28:14.107" v="1666" actId="1076"/>
          <ac:picMkLst>
            <pc:docMk/>
            <pc:sldMk cId="347654087" sldId="2134806019"/>
            <ac:picMk id="12" creationId="{536718A4-3027-6AFE-4720-AC6F5092C466}"/>
          </ac:picMkLst>
        </pc:picChg>
      </pc:sldChg>
      <pc:sldChg chg="addSp delSp modSp add mod">
        <pc:chgData name="Laura Casadio" userId="66d3dc7e-795b-4a92-887c-7e990ee4a717" providerId="ADAL" clId="{A002E1BF-DA5B-40E8-8B58-22F68401CEFA}" dt="2025-02-10T17:37:18.458" v="2569"/>
        <pc:sldMkLst>
          <pc:docMk/>
          <pc:sldMk cId="2398141139" sldId="2134806020"/>
        </pc:sldMkLst>
        <pc:spChg chg="mod">
          <ac:chgData name="Laura Casadio" userId="66d3dc7e-795b-4a92-887c-7e990ee4a717" providerId="ADAL" clId="{A002E1BF-DA5B-40E8-8B58-22F68401CEFA}" dt="2025-02-05T08:43:39.209" v="1753" actId="2711"/>
          <ac:spMkLst>
            <pc:docMk/>
            <pc:sldMk cId="2398141139" sldId="2134806020"/>
            <ac:spMk id="2" creationId="{1CD2CB64-DBBC-131D-1DEA-9A38D2776C75}"/>
          </ac:spMkLst>
        </pc:spChg>
        <pc:spChg chg="add mod">
          <ac:chgData name="Laura Casadio" userId="66d3dc7e-795b-4a92-887c-7e990ee4a717" providerId="ADAL" clId="{A002E1BF-DA5B-40E8-8B58-22F68401CEFA}" dt="2025-02-05T08:24:42.974" v="1653"/>
          <ac:spMkLst>
            <pc:docMk/>
            <pc:sldMk cId="2398141139" sldId="2134806020"/>
            <ac:spMk id="3" creationId="{1DE336FA-3251-6EC2-E9EC-6262585D5414}"/>
          </ac:spMkLst>
        </pc:spChg>
        <pc:spChg chg="add mod">
          <ac:chgData name="Laura Casadio" userId="66d3dc7e-795b-4a92-887c-7e990ee4a717" providerId="ADAL" clId="{A002E1BF-DA5B-40E8-8B58-22F68401CEFA}" dt="2025-02-05T08:43:39.209" v="1753" actId="2711"/>
          <ac:spMkLst>
            <pc:docMk/>
            <pc:sldMk cId="2398141139" sldId="2134806020"/>
            <ac:spMk id="13" creationId="{768DE8F4-23B3-669F-EF7D-D3E7AF8E1963}"/>
          </ac:spMkLst>
        </pc:spChg>
        <pc:spChg chg="add mod ord">
          <ac:chgData name="Laura Casadio" userId="66d3dc7e-795b-4a92-887c-7e990ee4a717" providerId="ADAL" clId="{A002E1BF-DA5B-40E8-8B58-22F68401CEFA}" dt="2025-02-04T13:51:35.862" v="1315" actId="1076"/>
          <ac:spMkLst>
            <pc:docMk/>
            <pc:sldMk cId="2398141139" sldId="2134806020"/>
            <ac:spMk id="14" creationId="{BE2A520E-19EC-73B6-4D4A-8461E0B487D6}"/>
          </ac:spMkLst>
        </pc:spChg>
        <pc:spChg chg="add mod">
          <ac:chgData name="Laura Casadio" userId="66d3dc7e-795b-4a92-887c-7e990ee4a717" providerId="ADAL" clId="{A002E1BF-DA5B-40E8-8B58-22F68401CEFA}" dt="2025-02-10T17:37:16.113" v="2567"/>
          <ac:spMkLst>
            <pc:docMk/>
            <pc:sldMk cId="2398141139" sldId="2134806020"/>
            <ac:spMk id="15" creationId="{DD193219-40A9-C3E4-A290-6023AA1AC407}"/>
          </ac:spMkLst>
        </pc:spChg>
        <pc:spChg chg="add mod">
          <ac:chgData name="Laura Casadio" userId="66d3dc7e-795b-4a92-887c-7e990ee4a717" providerId="ADAL" clId="{A002E1BF-DA5B-40E8-8B58-22F68401CEFA}" dt="2025-02-05T08:43:39.209" v="1753" actId="2711"/>
          <ac:spMkLst>
            <pc:docMk/>
            <pc:sldMk cId="2398141139" sldId="2134806020"/>
            <ac:spMk id="16" creationId="{5D3BB349-059F-14C0-F1CE-68E141D02479}"/>
          </ac:spMkLst>
        </pc:spChg>
        <pc:spChg chg="add mod">
          <ac:chgData name="Laura Casadio" userId="66d3dc7e-795b-4a92-887c-7e990ee4a717" providerId="ADAL" clId="{A002E1BF-DA5B-40E8-8B58-22F68401CEFA}" dt="2025-02-05T08:43:39.209" v="1753" actId="2711"/>
          <ac:spMkLst>
            <pc:docMk/>
            <pc:sldMk cId="2398141139" sldId="2134806020"/>
            <ac:spMk id="17" creationId="{F67AD729-0BB4-4289-23B8-240C94AE0F52}"/>
          </ac:spMkLst>
        </pc:spChg>
        <pc:spChg chg="add mod ord">
          <ac:chgData name="Laura Casadio" userId="66d3dc7e-795b-4a92-887c-7e990ee4a717" providerId="ADAL" clId="{A002E1BF-DA5B-40E8-8B58-22F68401CEFA}" dt="2025-02-05T13:38:20.925" v="1852" actId="1035"/>
          <ac:spMkLst>
            <pc:docMk/>
            <pc:sldMk cId="2398141139" sldId="2134806020"/>
            <ac:spMk id="18" creationId="{E8030905-2EBC-290F-0B66-FAD42E8165C5}"/>
          </ac:spMkLst>
        </pc:spChg>
        <pc:spChg chg="add mod">
          <ac:chgData name="Laura Casadio" userId="66d3dc7e-795b-4a92-887c-7e990ee4a717" providerId="ADAL" clId="{A002E1BF-DA5B-40E8-8B58-22F68401CEFA}" dt="2025-02-10T17:37:18.458" v="2569"/>
          <ac:spMkLst>
            <pc:docMk/>
            <pc:sldMk cId="2398141139" sldId="2134806020"/>
            <ac:spMk id="20" creationId="{350E4E64-E957-368A-A581-455F68099F81}"/>
          </ac:spMkLst>
        </pc:spChg>
        <pc:spChg chg="add mod">
          <ac:chgData name="Laura Casadio" userId="66d3dc7e-795b-4a92-887c-7e990ee4a717" providerId="ADAL" clId="{A002E1BF-DA5B-40E8-8B58-22F68401CEFA}" dt="2025-02-05T08:43:39.209" v="1753" actId="2711"/>
          <ac:spMkLst>
            <pc:docMk/>
            <pc:sldMk cId="2398141139" sldId="2134806020"/>
            <ac:spMk id="21" creationId="{93B4EDB5-1875-42E9-7285-54B0174B4E42}"/>
          </ac:spMkLst>
        </pc:spChg>
        <pc:spChg chg="mod">
          <ac:chgData name="Laura Casadio" userId="66d3dc7e-795b-4a92-887c-7e990ee4a717" providerId="ADAL" clId="{A002E1BF-DA5B-40E8-8B58-22F68401CEFA}" dt="2025-02-10T17:37:13.612" v="2565"/>
          <ac:spMkLst>
            <pc:docMk/>
            <pc:sldMk cId="2398141139" sldId="2134806020"/>
            <ac:spMk id="70" creationId="{806B8040-186A-DF35-242B-F6AD41CEFC9B}"/>
          </ac:spMkLst>
        </pc:spChg>
        <pc:picChg chg="add mod">
          <ac:chgData name="Laura Casadio" userId="66d3dc7e-795b-4a92-887c-7e990ee4a717" providerId="ADAL" clId="{A002E1BF-DA5B-40E8-8B58-22F68401CEFA}" dt="2025-02-04T13:50:35.012" v="1304" actId="1035"/>
          <ac:picMkLst>
            <pc:docMk/>
            <pc:sldMk cId="2398141139" sldId="2134806020"/>
            <ac:picMk id="4" creationId="{2F4779F4-D94B-DFB2-D69F-D63EC0A9A930}"/>
          </ac:picMkLst>
        </pc:picChg>
        <pc:picChg chg="add mod">
          <ac:chgData name="Laura Casadio" userId="66d3dc7e-795b-4a92-887c-7e990ee4a717" providerId="ADAL" clId="{A002E1BF-DA5B-40E8-8B58-22F68401CEFA}" dt="2025-02-04T13:52:07.389" v="1327" actId="1076"/>
          <ac:picMkLst>
            <pc:docMk/>
            <pc:sldMk cId="2398141139" sldId="2134806020"/>
            <ac:picMk id="10" creationId="{210EE531-2B5E-F842-8111-2178C0CFA407}"/>
          </ac:picMkLst>
        </pc:picChg>
        <pc:picChg chg="add mod">
          <ac:chgData name="Laura Casadio" userId="66d3dc7e-795b-4a92-887c-7e990ee4a717" providerId="ADAL" clId="{A002E1BF-DA5B-40E8-8B58-22F68401CEFA}" dt="2025-02-04T13:51:56.486" v="1322" actId="1076"/>
          <ac:picMkLst>
            <pc:docMk/>
            <pc:sldMk cId="2398141139" sldId="2134806020"/>
            <ac:picMk id="12" creationId="{5136701C-6700-8A72-050C-17E47AAB4325}"/>
          </ac:picMkLst>
        </pc:picChg>
        <pc:picChg chg="add mod">
          <ac:chgData name="Laura Casadio" userId="66d3dc7e-795b-4a92-887c-7e990ee4a717" providerId="ADAL" clId="{A002E1BF-DA5B-40E8-8B58-22F68401CEFA}" dt="2025-02-04T13:52:52.855" v="1334" actId="1076"/>
          <ac:picMkLst>
            <pc:docMk/>
            <pc:sldMk cId="2398141139" sldId="2134806020"/>
            <ac:picMk id="19" creationId="{F96E78AF-B406-3E61-1B7E-422C8BBDD046}"/>
          </ac:picMkLst>
        </pc:picChg>
        <pc:picChg chg="mod">
          <ac:chgData name="Laura Casadio" userId="66d3dc7e-795b-4a92-887c-7e990ee4a717" providerId="ADAL" clId="{A002E1BF-DA5B-40E8-8B58-22F68401CEFA}" dt="2025-02-04T13:50:35.012" v="1304" actId="1035"/>
          <ac:picMkLst>
            <pc:docMk/>
            <pc:sldMk cId="2398141139" sldId="2134806020"/>
            <ac:picMk id="24" creationId="{314B8BD2-D649-BBBF-70F3-B8D546C8B6CC}"/>
          </ac:picMkLst>
        </pc:picChg>
      </pc:sldChg>
      <pc:sldChg chg="addSp delSp modSp add mod ord">
        <pc:chgData name="Laura Casadio" userId="66d3dc7e-795b-4a92-887c-7e990ee4a717" providerId="ADAL" clId="{A002E1BF-DA5B-40E8-8B58-22F68401CEFA}" dt="2025-02-05T15:48:35.740" v="1877" actId="1035"/>
        <pc:sldMkLst>
          <pc:docMk/>
          <pc:sldMk cId="2747048787" sldId="2134806021"/>
        </pc:sldMkLst>
        <pc:spChg chg="add mod">
          <ac:chgData name="Laura Casadio" userId="66d3dc7e-795b-4a92-887c-7e990ee4a717" providerId="ADAL" clId="{A002E1BF-DA5B-40E8-8B58-22F68401CEFA}" dt="2025-02-04T14:47:26.950" v="1600" actId="20577"/>
          <ac:spMkLst>
            <pc:docMk/>
            <pc:sldMk cId="2747048787" sldId="2134806021"/>
            <ac:spMk id="3" creationId="{F70C50D3-FC32-ED48-748D-2ED110A9ED0B}"/>
          </ac:spMkLst>
        </pc:spChg>
        <pc:spChg chg="mod">
          <ac:chgData name="Laura Casadio" userId="66d3dc7e-795b-4a92-887c-7e990ee4a717" providerId="ADAL" clId="{A002E1BF-DA5B-40E8-8B58-22F68401CEFA}" dt="2025-02-04T14:45:32.155" v="1562" actId="20577"/>
          <ac:spMkLst>
            <pc:docMk/>
            <pc:sldMk cId="2747048787" sldId="2134806021"/>
            <ac:spMk id="6" creationId="{71DD7162-8BE6-D95D-E3F5-B36021300E3A}"/>
          </ac:spMkLst>
        </pc:spChg>
        <pc:spChg chg="mod">
          <ac:chgData name="Laura Casadio" userId="66d3dc7e-795b-4a92-887c-7e990ee4a717" providerId="ADAL" clId="{A002E1BF-DA5B-40E8-8B58-22F68401CEFA}" dt="2025-02-05T08:37:52.547" v="1709" actId="2711"/>
          <ac:spMkLst>
            <pc:docMk/>
            <pc:sldMk cId="2747048787" sldId="2134806021"/>
            <ac:spMk id="9" creationId="{708B460F-CC9C-3AF9-D446-B1DB2F7538C0}"/>
          </ac:spMkLst>
        </pc:spChg>
        <pc:spChg chg="mod">
          <ac:chgData name="Laura Casadio" userId="66d3dc7e-795b-4a92-887c-7e990ee4a717" providerId="ADAL" clId="{A002E1BF-DA5B-40E8-8B58-22F68401CEFA}" dt="2025-02-04T14:44:11.269" v="1547" actId="14100"/>
          <ac:spMkLst>
            <pc:docMk/>
            <pc:sldMk cId="2747048787" sldId="2134806021"/>
            <ac:spMk id="12" creationId="{C4149889-11F1-BF38-447B-6EC95636D4DF}"/>
          </ac:spMkLst>
        </pc:spChg>
        <pc:spChg chg="mod">
          <ac:chgData name="Laura Casadio" userId="66d3dc7e-795b-4a92-887c-7e990ee4a717" providerId="ADAL" clId="{A002E1BF-DA5B-40E8-8B58-22F68401CEFA}" dt="2025-02-04T14:43:49.341" v="1544" actId="1076"/>
          <ac:spMkLst>
            <pc:docMk/>
            <pc:sldMk cId="2747048787" sldId="2134806021"/>
            <ac:spMk id="13" creationId="{3FC6A1BB-3A82-DFF0-199A-61D521AD35FF}"/>
          </ac:spMkLst>
        </pc:spChg>
        <pc:spChg chg="mod">
          <ac:chgData name="Laura Casadio" userId="66d3dc7e-795b-4a92-887c-7e990ee4a717" providerId="ADAL" clId="{A002E1BF-DA5B-40E8-8B58-22F68401CEFA}" dt="2025-02-05T08:37:52.547" v="1709" actId="2711"/>
          <ac:spMkLst>
            <pc:docMk/>
            <pc:sldMk cId="2747048787" sldId="2134806021"/>
            <ac:spMk id="15" creationId="{D5F7AEB7-C8EB-0647-B85C-420C3187CF98}"/>
          </ac:spMkLst>
        </pc:spChg>
        <pc:spChg chg="add mod">
          <ac:chgData name="Laura Casadio" userId="66d3dc7e-795b-4a92-887c-7e990ee4a717" providerId="ADAL" clId="{A002E1BF-DA5B-40E8-8B58-22F68401CEFA}" dt="2025-02-05T08:37:52.547" v="1709" actId="2711"/>
          <ac:spMkLst>
            <pc:docMk/>
            <pc:sldMk cId="2747048787" sldId="2134806021"/>
            <ac:spMk id="18" creationId="{274D4A56-A2B2-96A6-7400-1FD5686A0671}"/>
          </ac:spMkLst>
        </pc:spChg>
        <pc:spChg chg="add mod">
          <ac:chgData name="Laura Casadio" userId="66d3dc7e-795b-4a92-887c-7e990ee4a717" providerId="ADAL" clId="{A002E1BF-DA5B-40E8-8B58-22F68401CEFA}" dt="2025-02-05T15:48:35.740" v="1877" actId="1035"/>
          <ac:spMkLst>
            <pc:docMk/>
            <pc:sldMk cId="2747048787" sldId="2134806021"/>
            <ac:spMk id="19" creationId="{F04682F9-CE09-A20D-F5A3-F775717A2FB8}"/>
          </ac:spMkLst>
        </pc:spChg>
        <pc:spChg chg="add mod">
          <ac:chgData name="Laura Casadio" userId="66d3dc7e-795b-4a92-887c-7e990ee4a717" providerId="ADAL" clId="{A002E1BF-DA5B-40E8-8B58-22F68401CEFA}" dt="2025-02-05T15:48:35.740" v="1877" actId="1035"/>
          <ac:spMkLst>
            <pc:docMk/>
            <pc:sldMk cId="2747048787" sldId="2134806021"/>
            <ac:spMk id="21" creationId="{0FB87D3B-3DD7-31B7-C81B-3F9EB9CB6AB9}"/>
          </ac:spMkLst>
        </pc:spChg>
        <pc:picChg chg="mod">
          <ac:chgData name="Laura Casadio" userId="66d3dc7e-795b-4a92-887c-7e990ee4a717" providerId="ADAL" clId="{A002E1BF-DA5B-40E8-8B58-22F68401CEFA}" dt="2025-02-04T14:43:49.341" v="1544" actId="1076"/>
          <ac:picMkLst>
            <pc:docMk/>
            <pc:sldMk cId="2747048787" sldId="2134806021"/>
            <ac:picMk id="8" creationId="{FD577745-7BDD-5896-A3F3-E3430EAFB3F1}"/>
          </ac:picMkLst>
        </pc:picChg>
        <pc:picChg chg="mod">
          <ac:chgData name="Laura Casadio" userId="66d3dc7e-795b-4a92-887c-7e990ee4a717" providerId="ADAL" clId="{A002E1BF-DA5B-40E8-8B58-22F68401CEFA}" dt="2025-02-04T14:43:49.341" v="1544" actId="1076"/>
          <ac:picMkLst>
            <pc:docMk/>
            <pc:sldMk cId="2747048787" sldId="2134806021"/>
            <ac:picMk id="11" creationId="{A9D32641-1298-9F48-15B3-15885885B739}"/>
          </ac:picMkLst>
        </pc:picChg>
      </pc:sldChg>
      <pc:sldChg chg="addSp delSp modSp add mod">
        <pc:chgData name="Laura Casadio" userId="66d3dc7e-795b-4a92-887c-7e990ee4a717" providerId="ADAL" clId="{A002E1BF-DA5B-40E8-8B58-22F68401CEFA}" dt="2025-02-10T16:41:03.622" v="2347" actId="20577"/>
        <pc:sldMkLst>
          <pc:docMk/>
          <pc:sldMk cId="2545566061" sldId="2134806022"/>
        </pc:sldMkLst>
        <pc:spChg chg="mod">
          <ac:chgData name="Laura Casadio" userId="66d3dc7e-795b-4a92-887c-7e990ee4a717" providerId="ADAL" clId="{A002E1BF-DA5B-40E8-8B58-22F68401CEFA}" dt="2025-02-10T16:41:03.622" v="2347" actId="20577"/>
          <ac:spMkLst>
            <pc:docMk/>
            <pc:sldMk cId="2545566061" sldId="2134806022"/>
            <ac:spMk id="4" creationId="{2F238DCE-7962-59AE-625F-AE1415707A1B}"/>
          </ac:spMkLst>
        </pc:spChg>
        <pc:spChg chg="add mod">
          <ac:chgData name="Laura Casadio" userId="66d3dc7e-795b-4a92-887c-7e990ee4a717" providerId="ADAL" clId="{A002E1BF-DA5B-40E8-8B58-22F68401CEFA}" dt="2025-02-10T16:37:21.470" v="2276" actId="1076"/>
          <ac:spMkLst>
            <pc:docMk/>
            <pc:sldMk cId="2545566061" sldId="2134806022"/>
            <ac:spMk id="7" creationId="{AD3E5E5F-BA7E-3C83-AF24-2F435AD772D6}"/>
          </ac:spMkLst>
        </pc:spChg>
        <pc:spChg chg="add mod">
          <ac:chgData name="Laura Casadio" userId="66d3dc7e-795b-4a92-887c-7e990ee4a717" providerId="ADAL" clId="{A002E1BF-DA5B-40E8-8B58-22F68401CEFA}" dt="2025-02-10T16:37:24.161" v="2277" actId="1076"/>
          <ac:spMkLst>
            <pc:docMk/>
            <pc:sldMk cId="2545566061" sldId="2134806022"/>
            <ac:spMk id="19" creationId="{B2D745DD-10D3-B7CD-7638-83AA38EE6D58}"/>
          </ac:spMkLst>
        </pc:spChg>
        <pc:spChg chg="add mod">
          <ac:chgData name="Laura Casadio" userId="66d3dc7e-795b-4a92-887c-7e990ee4a717" providerId="ADAL" clId="{A002E1BF-DA5B-40E8-8B58-22F68401CEFA}" dt="2025-02-10T16:37:17.379" v="2275" actId="1076"/>
          <ac:spMkLst>
            <pc:docMk/>
            <pc:sldMk cId="2545566061" sldId="2134806022"/>
            <ac:spMk id="20" creationId="{A2769614-50CB-9E79-077C-BCF5230FA545}"/>
          </ac:spMkLst>
        </pc:spChg>
        <pc:picChg chg="add mod modCrop">
          <ac:chgData name="Laura Casadio" userId="66d3dc7e-795b-4a92-887c-7e990ee4a717" providerId="ADAL" clId="{A002E1BF-DA5B-40E8-8B58-22F68401CEFA}" dt="2025-02-10T16:36:42.322" v="2269" actId="1076"/>
          <ac:picMkLst>
            <pc:docMk/>
            <pc:sldMk cId="2545566061" sldId="2134806022"/>
            <ac:picMk id="18" creationId="{F2AAE8E9-42B3-0624-DB35-74CFDBC90C7E}"/>
          </ac:picMkLst>
        </pc:picChg>
      </pc:sldChg>
      <pc:sldChg chg="addSp modSp add del mod">
        <pc:chgData name="Laura Casadio" userId="66d3dc7e-795b-4a92-887c-7e990ee4a717" providerId="ADAL" clId="{A002E1BF-DA5B-40E8-8B58-22F68401CEFA}" dt="2025-02-10T16:33:18.048" v="2245" actId="2696"/>
        <pc:sldMkLst>
          <pc:docMk/>
          <pc:sldMk cId="1908563572" sldId="2134806023"/>
        </pc:sldMkLst>
      </pc:sldChg>
      <pc:sldChg chg="addSp delSp modSp add mod">
        <pc:chgData name="Laura Casadio" userId="66d3dc7e-795b-4a92-887c-7e990ee4a717" providerId="ADAL" clId="{A002E1BF-DA5B-40E8-8B58-22F68401CEFA}" dt="2025-02-10T17:42:34.024" v="2673" actId="20577"/>
        <pc:sldMkLst>
          <pc:docMk/>
          <pc:sldMk cId="3546132926" sldId="2134806024"/>
        </pc:sldMkLst>
        <pc:spChg chg="mod">
          <ac:chgData name="Laura Casadio" userId="66d3dc7e-795b-4a92-887c-7e990ee4a717" providerId="ADAL" clId="{A002E1BF-DA5B-40E8-8B58-22F68401CEFA}" dt="2025-02-10T16:24:40.288" v="2106" actId="14100"/>
          <ac:spMkLst>
            <pc:docMk/>
            <pc:sldMk cId="3546132926" sldId="2134806024"/>
            <ac:spMk id="6" creationId="{4E7379E7-B223-5265-17E2-5038E7A504EE}"/>
          </ac:spMkLst>
        </pc:spChg>
        <pc:spChg chg="mod">
          <ac:chgData name="Laura Casadio" userId="66d3dc7e-795b-4a92-887c-7e990ee4a717" providerId="ADAL" clId="{A002E1BF-DA5B-40E8-8B58-22F68401CEFA}" dt="2025-02-10T16:28:35.034" v="2200" actId="20577"/>
          <ac:spMkLst>
            <pc:docMk/>
            <pc:sldMk cId="3546132926" sldId="2134806024"/>
            <ac:spMk id="10" creationId="{89B79249-8CEC-4AD7-3632-D5B621D4712A}"/>
          </ac:spMkLst>
        </pc:spChg>
        <pc:spChg chg="mod">
          <ac:chgData name="Laura Casadio" userId="66d3dc7e-795b-4a92-887c-7e990ee4a717" providerId="ADAL" clId="{A002E1BF-DA5B-40E8-8B58-22F68401CEFA}" dt="2025-02-10T16:27:19.966" v="2160" actId="14100"/>
          <ac:spMkLst>
            <pc:docMk/>
            <pc:sldMk cId="3546132926" sldId="2134806024"/>
            <ac:spMk id="11" creationId="{6B58D09C-27DC-8D67-B884-F2891883F76C}"/>
          </ac:spMkLst>
        </pc:spChg>
        <pc:spChg chg="mod">
          <ac:chgData name="Laura Casadio" userId="66d3dc7e-795b-4a92-887c-7e990ee4a717" providerId="ADAL" clId="{A002E1BF-DA5B-40E8-8B58-22F68401CEFA}" dt="2025-02-10T16:27:13.570" v="2159" actId="1076"/>
          <ac:spMkLst>
            <pc:docMk/>
            <pc:sldMk cId="3546132926" sldId="2134806024"/>
            <ac:spMk id="15" creationId="{1AA69007-B1E3-CDF7-1929-529AB2B8D7E1}"/>
          </ac:spMkLst>
        </pc:spChg>
        <pc:spChg chg="add mod">
          <ac:chgData name="Laura Casadio" userId="66d3dc7e-795b-4a92-887c-7e990ee4a717" providerId="ADAL" clId="{A002E1BF-DA5B-40E8-8B58-22F68401CEFA}" dt="2025-02-10T17:42:34.024" v="2673" actId="20577"/>
          <ac:spMkLst>
            <pc:docMk/>
            <pc:sldMk cId="3546132926" sldId="2134806024"/>
            <ac:spMk id="29" creationId="{1B772B22-3582-14E9-9CA3-02613180CD00}"/>
          </ac:spMkLst>
        </pc:spChg>
        <pc:spChg chg="add mod">
          <ac:chgData name="Laura Casadio" userId="66d3dc7e-795b-4a92-887c-7e990ee4a717" providerId="ADAL" clId="{A002E1BF-DA5B-40E8-8B58-22F68401CEFA}" dt="2025-02-10T16:28:07.112" v="2182" actId="20577"/>
          <ac:spMkLst>
            <pc:docMk/>
            <pc:sldMk cId="3546132926" sldId="2134806024"/>
            <ac:spMk id="31" creationId="{80787BF6-2617-D46C-8FC9-B274441E739C}"/>
          </ac:spMkLst>
        </pc:spChg>
        <pc:spChg chg="mod">
          <ac:chgData name="Laura Casadio" userId="66d3dc7e-795b-4a92-887c-7e990ee4a717" providerId="ADAL" clId="{A002E1BF-DA5B-40E8-8B58-22F68401CEFA}" dt="2025-02-10T17:42:31.443" v="2668" actId="20577"/>
          <ac:spMkLst>
            <pc:docMk/>
            <pc:sldMk cId="3546132926" sldId="2134806024"/>
            <ac:spMk id="72" creationId="{234DE21D-50CF-DB20-39D6-AED9A2B1BE66}"/>
          </ac:spMkLst>
        </pc:spChg>
        <pc:picChg chg="add mod">
          <ac:chgData name="Laura Casadio" userId="66d3dc7e-795b-4a92-887c-7e990ee4a717" providerId="ADAL" clId="{A002E1BF-DA5B-40E8-8B58-22F68401CEFA}" dt="2025-02-10T16:27:58.520" v="2177" actId="1076"/>
          <ac:picMkLst>
            <pc:docMk/>
            <pc:sldMk cId="3546132926" sldId="2134806024"/>
            <ac:picMk id="30" creationId="{7342F964-4631-4902-886B-2D08271B1013}"/>
          </ac:picMkLst>
        </pc:picChg>
      </pc:sldChg>
      <pc:sldChg chg="addSp delSp modSp add mod ord">
        <pc:chgData name="Laura Casadio" userId="66d3dc7e-795b-4a92-887c-7e990ee4a717" providerId="ADAL" clId="{A002E1BF-DA5B-40E8-8B58-22F68401CEFA}" dt="2025-02-10T16:33:07.652" v="2242"/>
        <pc:sldMkLst>
          <pc:docMk/>
          <pc:sldMk cId="673512031" sldId="2134806025"/>
        </pc:sldMkLst>
        <pc:spChg chg="mod">
          <ac:chgData name="Laura Casadio" userId="66d3dc7e-795b-4a92-887c-7e990ee4a717" providerId="ADAL" clId="{A002E1BF-DA5B-40E8-8B58-22F68401CEFA}" dt="2025-02-10T16:30:37.752" v="2208" actId="14100"/>
          <ac:spMkLst>
            <pc:docMk/>
            <pc:sldMk cId="673512031" sldId="2134806025"/>
            <ac:spMk id="3" creationId="{39547CE7-B49C-E17A-F12B-02B91B759A82}"/>
          </ac:spMkLst>
        </pc:spChg>
        <pc:spChg chg="mod">
          <ac:chgData name="Laura Casadio" userId="66d3dc7e-795b-4a92-887c-7e990ee4a717" providerId="ADAL" clId="{A002E1BF-DA5B-40E8-8B58-22F68401CEFA}" dt="2025-02-10T16:30:09.525" v="2205" actId="14100"/>
          <ac:spMkLst>
            <pc:docMk/>
            <pc:sldMk cId="673512031" sldId="2134806025"/>
            <ac:spMk id="4" creationId="{0C6AEC1A-20A0-4FBD-ADFB-3AEE8E4ED04B}"/>
          </ac:spMkLst>
        </pc:spChg>
        <pc:spChg chg="add mod">
          <ac:chgData name="Laura Casadio" userId="66d3dc7e-795b-4a92-887c-7e990ee4a717" providerId="ADAL" clId="{A002E1BF-DA5B-40E8-8B58-22F68401CEFA}" dt="2025-02-10T16:30:29.702" v="2207" actId="1076"/>
          <ac:spMkLst>
            <pc:docMk/>
            <pc:sldMk cId="673512031" sldId="2134806025"/>
            <ac:spMk id="8" creationId="{E9828DA0-DCAD-AF5E-762F-947E17553293}"/>
          </ac:spMkLst>
        </pc:spChg>
        <pc:spChg chg="add mod">
          <ac:chgData name="Laura Casadio" userId="66d3dc7e-795b-4a92-887c-7e990ee4a717" providerId="ADAL" clId="{A002E1BF-DA5B-40E8-8B58-22F68401CEFA}" dt="2025-02-10T16:30:29.702" v="2207" actId="1076"/>
          <ac:spMkLst>
            <pc:docMk/>
            <pc:sldMk cId="673512031" sldId="2134806025"/>
            <ac:spMk id="10" creationId="{3CA3DB86-34BD-F40E-D32D-4D7C32441505}"/>
          </ac:spMkLst>
        </pc:spChg>
        <pc:spChg chg="add mod">
          <ac:chgData name="Laura Casadio" userId="66d3dc7e-795b-4a92-887c-7e990ee4a717" providerId="ADAL" clId="{A002E1BF-DA5B-40E8-8B58-22F68401CEFA}" dt="2025-02-10T16:30:29.702" v="2207" actId="1076"/>
          <ac:spMkLst>
            <pc:docMk/>
            <pc:sldMk cId="673512031" sldId="2134806025"/>
            <ac:spMk id="12" creationId="{4C2F91C7-6418-A591-EE53-ED8E05EB0906}"/>
          </ac:spMkLst>
        </pc:spChg>
        <pc:picChg chg="add mod">
          <ac:chgData name="Laura Casadio" userId="66d3dc7e-795b-4a92-887c-7e990ee4a717" providerId="ADAL" clId="{A002E1BF-DA5B-40E8-8B58-22F68401CEFA}" dt="2025-02-10T16:30:29.702" v="2207" actId="1076"/>
          <ac:picMkLst>
            <pc:docMk/>
            <pc:sldMk cId="673512031" sldId="2134806025"/>
            <ac:picMk id="6" creationId="{7C300A7A-D773-50EC-5EA0-8ACFFB5AAB4B}"/>
          </ac:picMkLst>
        </pc:picChg>
        <pc:picChg chg="add mod">
          <ac:chgData name="Laura Casadio" userId="66d3dc7e-795b-4a92-887c-7e990ee4a717" providerId="ADAL" clId="{A002E1BF-DA5B-40E8-8B58-22F68401CEFA}" dt="2025-02-10T16:30:29.702" v="2207" actId="1076"/>
          <ac:picMkLst>
            <pc:docMk/>
            <pc:sldMk cId="673512031" sldId="2134806025"/>
            <ac:picMk id="7" creationId="{1246A809-9EEC-3568-386B-C3F9287BA22C}"/>
          </ac:picMkLst>
        </pc:picChg>
      </pc:sldChg>
      <pc:sldChg chg="add del">
        <pc:chgData name="Laura Casadio" userId="66d3dc7e-795b-4a92-887c-7e990ee4a717" providerId="ADAL" clId="{A002E1BF-DA5B-40E8-8B58-22F68401CEFA}" dt="2025-02-10T16:41:08.668" v="2348" actId="2696"/>
        <pc:sldMkLst>
          <pc:docMk/>
          <pc:sldMk cId="2227012769" sldId="2134806026"/>
        </pc:sldMkLst>
      </pc:sldChg>
      <pc:sldChg chg="add del">
        <pc:chgData name="Laura Casadio" userId="66d3dc7e-795b-4a92-887c-7e990ee4a717" providerId="ADAL" clId="{A002E1BF-DA5B-40E8-8B58-22F68401CEFA}" dt="2025-02-10T16:33:18.048" v="2245" actId="2696"/>
        <pc:sldMkLst>
          <pc:docMk/>
          <pc:sldMk cId="2924856463" sldId="2134806026"/>
        </pc:sldMkLst>
      </pc:sldChg>
      <pc:sldChg chg="add del">
        <pc:chgData name="Laura Casadio" userId="66d3dc7e-795b-4a92-887c-7e990ee4a717" providerId="ADAL" clId="{A002E1BF-DA5B-40E8-8B58-22F68401CEFA}" dt="2025-02-10T16:34:39.402" v="2247" actId="2696"/>
        <pc:sldMkLst>
          <pc:docMk/>
          <pc:sldMk cId="3349403098" sldId="2134806026"/>
        </pc:sldMkLst>
      </pc:sldChg>
      <pc:sldChg chg="addSp delSp modSp add mod">
        <pc:chgData name="Laura Casadio" userId="66d3dc7e-795b-4a92-887c-7e990ee4a717" providerId="ADAL" clId="{A002E1BF-DA5B-40E8-8B58-22F68401CEFA}" dt="2025-02-10T17:41:52.064" v="2658" actId="20577"/>
        <pc:sldMkLst>
          <pc:docMk/>
          <pc:sldMk cId="2011994305" sldId="2134806027"/>
        </pc:sldMkLst>
        <pc:spChg chg="mod">
          <ac:chgData name="Laura Casadio" userId="66d3dc7e-795b-4a92-887c-7e990ee4a717" providerId="ADAL" clId="{A002E1BF-DA5B-40E8-8B58-22F68401CEFA}" dt="2025-02-10T16:40:57.276" v="2343" actId="20577"/>
          <ac:spMkLst>
            <pc:docMk/>
            <pc:sldMk cId="2011994305" sldId="2134806027"/>
            <ac:spMk id="4" creationId="{CA238D8E-C0F3-C97C-A09E-6553CC183D5A}"/>
          </ac:spMkLst>
        </pc:spChg>
        <pc:spChg chg="add del mod">
          <ac:chgData name="Laura Casadio" userId="66d3dc7e-795b-4a92-887c-7e990ee4a717" providerId="ADAL" clId="{A002E1BF-DA5B-40E8-8B58-22F68401CEFA}" dt="2025-02-10T17:41:47.544" v="2648" actId="20577"/>
          <ac:spMkLst>
            <pc:docMk/>
            <pc:sldMk cId="2011994305" sldId="2134806027"/>
            <ac:spMk id="7" creationId="{E7270841-1DC2-9947-A2AA-281F493E704F}"/>
          </ac:spMkLst>
        </pc:spChg>
        <pc:spChg chg="mod">
          <ac:chgData name="Laura Casadio" userId="66d3dc7e-795b-4a92-887c-7e990ee4a717" providerId="ADAL" clId="{A002E1BF-DA5B-40E8-8B58-22F68401CEFA}" dt="2025-02-10T16:39:15.253" v="2315" actId="1076"/>
          <ac:spMkLst>
            <pc:docMk/>
            <pc:sldMk cId="2011994305" sldId="2134806027"/>
            <ac:spMk id="19" creationId="{02CCBD12-3159-4950-BF1B-38C427A91F18}"/>
          </ac:spMkLst>
        </pc:spChg>
        <pc:spChg chg="add mod">
          <ac:chgData name="Laura Casadio" userId="66d3dc7e-795b-4a92-887c-7e990ee4a717" providerId="ADAL" clId="{A002E1BF-DA5B-40E8-8B58-22F68401CEFA}" dt="2025-02-10T17:41:52.064" v="2658" actId="20577"/>
          <ac:spMkLst>
            <pc:docMk/>
            <pc:sldMk cId="2011994305" sldId="2134806027"/>
            <ac:spMk id="25" creationId="{8F3A78CB-5C42-01D8-694A-5B7F9BA12217}"/>
          </ac:spMkLst>
        </pc:spChg>
        <pc:spChg chg="add mod">
          <ac:chgData name="Laura Casadio" userId="66d3dc7e-795b-4a92-887c-7e990ee4a717" providerId="ADAL" clId="{A002E1BF-DA5B-40E8-8B58-22F68401CEFA}" dt="2025-02-10T16:40:13.184" v="2334" actId="20577"/>
          <ac:spMkLst>
            <pc:docMk/>
            <pc:sldMk cId="2011994305" sldId="2134806027"/>
            <ac:spMk id="28" creationId="{7877F5D7-72E1-553D-591D-7F4651730D57}"/>
          </ac:spMkLst>
        </pc:spChg>
        <pc:spChg chg="add mod">
          <ac:chgData name="Laura Casadio" userId="66d3dc7e-795b-4a92-887c-7e990ee4a717" providerId="ADAL" clId="{A002E1BF-DA5B-40E8-8B58-22F68401CEFA}" dt="2025-02-10T16:40:22.250" v="2339" actId="20577"/>
          <ac:spMkLst>
            <pc:docMk/>
            <pc:sldMk cId="2011994305" sldId="2134806027"/>
            <ac:spMk id="29" creationId="{E411646D-B7BE-A49F-90C3-9DCF2D427CEA}"/>
          </ac:spMkLst>
        </pc:spChg>
        <pc:spChg chg="add del mod">
          <ac:chgData name="Laura Casadio" userId="66d3dc7e-795b-4a92-887c-7e990ee4a717" providerId="ADAL" clId="{A002E1BF-DA5B-40E8-8B58-22F68401CEFA}" dt="2025-02-10T16:39:38.774" v="2320" actId="14100"/>
          <ac:spMkLst>
            <pc:docMk/>
            <pc:sldMk cId="2011994305" sldId="2134806027"/>
            <ac:spMk id="66" creationId="{E3D66219-C056-79DF-43B6-AD9C57CCEB15}"/>
          </ac:spMkLst>
        </pc:spChg>
        <pc:picChg chg="add mod ord">
          <ac:chgData name="Laura Casadio" userId="66d3dc7e-795b-4a92-887c-7e990ee4a717" providerId="ADAL" clId="{A002E1BF-DA5B-40E8-8B58-22F68401CEFA}" dt="2025-02-10T16:39:15.253" v="2315" actId="1076"/>
          <ac:picMkLst>
            <pc:docMk/>
            <pc:sldMk cId="2011994305" sldId="2134806027"/>
            <ac:picMk id="24" creationId="{0D3151D0-8A6D-4C7A-BA76-7F22F07DE75E}"/>
          </ac:picMkLst>
        </pc:picChg>
        <pc:picChg chg="add mod">
          <ac:chgData name="Laura Casadio" userId="66d3dc7e-795b-4a92-887c-7e990ee4a717" providerId="ADAL" clId="{A002E1BF-DA5B-40E8-8B58-22F68401CEFA}" dt="2025-02-10T16:40:03.736" v="2329" actId="1076"/>
          <ac:picMkLst>
            <pc:docMk/>
            <pc:sldMk cId="2011994305" sldId="2134806027"/>
            <ac:picMk id="26" creationId="{145E3BAD-0ECA-739A-B67B-B7DF222071D6}"/>
          </ac:picMkLst>
        </pc:picChg>
        <pc:picChg chg="add mod">
          <ac:chgData name="Laura Casadio" userId="66d3dc7e-795b-4a92-887c-7e990ee4a717" providerId="ADAL" clId="{A002E1BF-DA5B-40E8-8B58-22F68401CEFA}" dt="2025-02-10T16:40:01.132" v="2328" actId="1076"/>
          <ac:picMkLst>
            <pc:docMk/>
            <pc:sldMk cId="2011994305" sldId="2134806027"/>
            <ac:picMk id="27" creationId="{CB968686-DA3D-C547-73BD-FD1F0D9DD975}"/>
          </ac:picMkLst>
        </pc:picChg>
      </pc:sldChg>
      <pc:sldChg chg="addSp delSp modSp add mod">
        <pc:chgData name="Laura Casadio" userId="66d3dc7e-795b-4a92-887c-7e990ee4a717" providerId="ADAL" clId="{A002E1BF-DA5B-40E8-8B58-22F68401CEFA}" dt="2025-02-10T17:05:30.075" v="2517" actId="1076"/>
        <pc:sldMkLst>
          <pc:docMk/>
          <pc:sldMk cId="1588683651" sldId="2134806028"/>
        </pc:sldMkLst>
        <pc:spChg chg="mod">
          <ac:chgData name="Laura Casadio" userId="66d3dc7e-795b-4a92-887c-7e990ee4a717" providerId="ADAL" clId="{A002E1BF-DA5B-40E8-8B58-22F68401CEFA}" dt="2025-02-10T17:05:30.075" v="2517" actId="1076"/>
          <ac:spMkLst>
            <pc:docMk/>
            <pc:sldMk cId="1588683651" sldId="2134806028"/>
            <ac:spMk id="4" creationId="{3BAFC924-A612-207D-A152-A77541CBE872}"/>
          </ac:spMkLst>
        </pc:spChg>
        <pc:spChg chg="mod">
          <ac:chgData name="Laura Casadio" userId="66d3dc7e-795b-4a92-887c-7e990ee4a717" providerId="ADAL" clId="{A002E1BF-DA5B-40E8-8B58-22F68401CEFA}" dt="2025-02-10T16:46:24.403" v="2427" actId="20577"/>
          <ac:spMkLst>
            <pc:docMk/>
            <pc:sldMk cId="1588683651" sldId="2134806028"/>
            <ac:spMk id="7" creationId="{0D31998C-DC92-0406-77F5-0DD01E540F7B}"/>
          </ac:spMkLst>
        </pc:spChg>
        <pc:spChg chg="mod">
          <ac:chgData name="Laura Casadio" userId="66d3dc7e-795b-4a92-887c-7e990ee4a717" providerId="ADAL" clId="{A002E1BF-DA5B-40E8-8B58-22F68401CEFA}" dt="2025-02-10T17:05:23.316" v="2515" actId="14100"/>
          <ac:spMkLst>
            <pc:docMk/>
            <pc:sldMk cId="1588683651" sldId="2134806028"/>
            <ac:spMk id="10" creationId="{FED8284B-CC6A-ED0E-DE91-CEC7FC44987A}"/>
          </ac:spMkLst>
        </pc:spChg>
        <pc:spChg chg="mod">
          <ac:chgData name="Laura Casadio" userId="66d3dc7e-795b-4a92-887c-7e990ee4a717" providerId="ADAL" clId="{A002E1BF-DA5B-40E8-8B58-22F68401CEFA}" dt="2025-02-10T17:05:30.075" v="2517" actId="1076"/>
          <ac:spMkLst>
            <pc:docMk/>
            <pc:sldMk cId="1588683651" sldId="2134806028"/>
            <ac:spMk id="29" creationId="{3FDDB1EE-D3F5-64CE-1267-456C3066F1A3}"/>
          </ac:spMkLst>
        </pc:spChg>
        <pc:spChg chg="mod">
          <ac:chgData name="Laura Casadio" userId="66d3dc7e-795b-4a92-887c-7e990ee4a717" providerId="ADAL" clId="{A002E1BF-DA5B-40E8-8B58-22F68401CEFA}" dt="2025-02-10T17:05:30.075" v="2517" actId="1076"/>
          <ac:spMkLst>
            <pc:docMk/>
            <pc:sldMk cId="1588683651" sldId="2134806028"/>
            <ac:spMk id="32" creationId="{FF5898AB-8041-5B82-FBCD-5E530E944FB6}"/>
          </ac:spMkLst>
        </pc:spChg>
        <pc:picChg chg="mod">
          <ac:chgData name="Laura Casadio" userId="66d3dc7e-795b-4a92-887c-7e990ee4a717" providerId="ADAL" clId="{A002E1BF-DA5B-40E8-8B58-22F68401CEFA}" dt="2025-02-10T17:05:30.075" v="2517" actId="1076"/>
          <ac:picMkLst>
            <pc:docMk/>
            <pc:sldMk cId="1588683651" sldId="2134806028"/>
            <ac:picMk id="25" creationId="{BDCE5046-C191-E3AF-2DC2-95FEBC920275}"/>
          </ac:picMkLst>
        </pc:picChg>
        <pc:picChg chg="mod">
          <ac:chgData name="Laura Casadio" userId="66d3dc7e-795b-4a92-887c-7e990ee4a717" providerId="ADAL" clId="{A002E1BF-DA5B-40E8-8B58-22F68401CEFA}" dt="2025-02-10T17:05:30.075" v="2517" actId="1076"/>
          <ac:picMkLst>
            <pc:docMk/>
            <pc:sldMk cId="1588683651" sldId="2134806028"/>
            <ac:picMk id="30" creationId="{211331C7-4C8E-EC6B-9499-336BED4FA3C0}"/>
          </ac:picMkLst>
        </pc:picChg>
      </pc:sldChg>
      <pc:sldMasterChg chg="delSldLayout modSldLayout">
        <pc:chgData name="Laura Casadio" userId="66d3dc7e-795b-4a92-887c-7e990ee4a717" providerId="ADAL" clId="{A002E1BF-DA5B-40E8-8B58-22F68401CEFA}" dt="2025-02-05T08:29:49.666" v="1673"/>
        <pc:sldMasterMkLst>
          <pc:docMk/>
          <pc:sldMasterMk cId="1940139174" sldId="2147490735"/>
        </pc:sldMasterMkLst>
        <pc:sldLayoutChg chg="setBg">
          <pc:chgData name="Laura Casadio" userId="66d3dc7e-795b-4a92-887c-7e990ee4a717" providerId="ADAL" clId="{A002E1BF-DA5B-40E8-8B58-22F68401CEFA}" dt="2025-02-05T08:29:49.666" v="1673"/>
          <pc:sldLayoutMkLst>
            <pc:docMk/>
            <pc:sldMasterMk cId="1940139174" sldId="2147490735"/>
            <pc:sldLayoutMk cId="2188753417" sldId="2147490736"/>
          </pc:sldLayoutMkLst>
        </pc:sldLayoutChg>
        <pc:sldLayoutChg chg="setBg">
          <pc:chgData name="Laura Casadio" userId="66d3dc7e-795b-4a92-887c-7e990ee4a717" providerId="ADAL" clId="{A002E1BF-DA5B-40E8-8B58-22F68401CEFA}" dt="2025-02-05T08:29:49.666" v="1673"/>
          <pc:sldLayoutMkLst>
            <pc:docMk/>
            <pc:sldMasterMk cId="1940139174" sldId="2147490735"/>
            <pc:sldLayoutMk cId="3884896297" sldId="2147490738"/>
          </pc:sldLayoutMkLst>
        </pc:sldLayoutChg>
        <pc:sldLayoutChg chg="setBg">
          <pc:chgData name="Laura Casadio" userId="66d3dc7e-795b-4a92-887c-7e990ee4a717" providerId="ADAL" clId="{A002E1BF-DA5B-40E8-8B58-22F68401CEFA}" dt="2025-02-05T08:29:49.666" v="1673"/>
          <pc:sldLayoutMkLst>
            <pc:docMk/>
            <pc:sldMasterMk cId="1940139174" sldId="2147490735"/>
            <pc:sldLayoutMk cId="1718618985" sldId="2147490740"/>
          </pc:sldLayoutMkLst>
        </pc:sldLayoutChg>
        <pc:sldLayoutChg chg="setBg">
          <pc:chgData name="Laura Casadio" userId="66d3dc7e-795b-4a92-887c-7e990ee4a717" providerId="ADAL" clId="{A002E1BF-DA5B-40E8-8B58-22F68401CEFA}" dt="2025-02-05T08:29:49.666" v="1673"/>
          <pc:sldLayoutMkLst>
            <pc:docMk/>
            <pc:sldMasterMk cId="1940139174" sldId="2147490735"/>
            <pc:sldLayoutMk cId="1429372141" sldId="2147490784"/>
          </pc:sldLayoutMkLst>
        </pc:sldLayoutChg>
        <pc:sldLayoutChg chg="setBg">
          <pc:chgData name="Laura Casadio" userId="66d3dc7e-795b-4a92-887c-7e990ee4a717" providerId="ADAL" clId="{A002E1BF-DA5B-40E8-8B58-22F68401CEFA}" dt="2025-02-05T08:29:49.666" v="1673"/>
          <pc:sldLayoutMkLst>
            <pc:docMk/>
            <pc:sldMasterMk cId="1940139174" sldId="2147490735"/>
            <pc:sldLayoutMk cId="1371508901" sldId="2147490785"/>
          </pc:sldLayoutMkLst>
        </pc:sldLayoutChg>
        <pc:sldLayoutChg chg="del">
          <pc:chgData name="Laura Casadio" userId="66d3dc7e-795b-4a92-887c-7e990ee4a717" providerId="ADAL" clId="{A002E1BF-DA5B-40E8-8B58-22F68401CEFA}" dt="2025-02-04T12:19:26.465" v="506" actId="2696"/>
          <pc:sldLayoutMkLst>
            <pc:docMk/>
            <pc:sldMasterMk cId="1940139174" sldId="2147490735"/>
            <pc:sldLayoutMk cId="3168197928" sldId="2147490789"/>
          </pc:sldLayoutMkLst>
        </pc:sldLayoutChg>
      </pc:sldMasterChg>
      <pc:sldMasterChg chg="modSldLayout">
        <pc:chgData name="Laura Casadio" userId="66d3dc7e-795b-4a92-887c-7e990ee4a717" providerId="ADAL" clId="{A002E1BF-DA5B-40E8-8B58-22F68401CEFA}" dt="2025-02-05T08:29:49.666" v="1673"/>
        <pc:sldMasterMkLst>
          <pc:docMk/>
          <pc:sldMasterMk cId="531017778" sldId="2147490790"/>
        </pc:sldMasterMkLst>
        <pc:sldLayoutChg chg="setBg">
          <pc:chgData name="Laura Casadio" userId="66d3dc7e-795b-4a92-887c-7e990ee4a717" providerId="ADAL" clId="{A002E1BF-DA5B-40E8-8B58-22F68401CEFA}" dt="2025-02-05T08:29:49.666" v="1673"/>
          <pc:sldLayoutMkLst>
            <pc:docMk/>
            <pc:sldMasterMk cId="531017778" sldId="2147490790"/>
            <pc:sldLayoutMk cId="1923318577" sldId="2147490791"/>
          </pc:sldLayoutMkLst>
        </pc:sldLayoutChg>
        <pc:sldLayoutChg chg="setBg">
          <pc:chgData name="Laura Casadio" userId="66d3dc7e-795b-4a92-887c-7e990ee4a717" providerId="ADAL" clId="{A002E1BF-DA5B-40E8-8B58-22F68401CEFA}" dt="2025-02-05T08:29:49.666" v="1673"/>
          <pc:sldLayoutMkLst>
            <pc:docMk/>
            <pc:sldMasterMk cId="531017778" sldId="2147490790"/>
            <pc:sldLayoutMk cId="500932849" sldId="2147490792"/>
          </pc:sldLayoutMkLst>
        </pc:sldLayoutChg>
        <pc:sldLayoutChg chg="setBg">
          <pc:chgData name="Laura Casadio" userId="66d3dc7e-795b-4a92-887c-7e990ee4a717" providerId="ADAL" clId="{A002E1BF-DA5B-40E8-8B58-22F68401CEFA}" dt="2025-02-05T08:29:49.666" v="1673"/>
          <pc:sldLayoutMkLst>
            <pc:docMk/>
            <pc:sldMasterMk cId="531017778" sldId="2147490790"/>
            <pc:sldLayoutMk cId="3610314191" sldId="2147490793"/>
          </pc:sldLayoutMkLst>
        </pc:sldLayoutChg>
        <pc:sldLayoutChg chg="setBg">
          <pc:chgData name="Laura Casadio" userId="66d3dc7e-795b-4a92-887c-7e990ee4a717" providerId="ADAL" clId="{A002E1BF-DA5B-40E8-8B58-22F68401CEFA}" dt="2025-02-05T08:29:49.666" v="1673"/>
          <pc:sldLayoutMkLst>
            <pc:docMk/>
            <pc:sldMasterMk cId="531017778" sldId="2147490790"/>
            <pc:sldLayoutMk cId="3627534778" sldId="2147490794"/>
          </pc:sldLayoutMkLst>
        </pc:sldLayoutChg>
        <pc:sldLayoutChg chg="setBg">
          <pc:chgData name="Laura Casadio" userId="66d3dc7e-795b-4a92-887c-7e990ee4a717" providerId="ADAL" clId="{A002E1BF-DA5B-40E8-8B58-22F68401CEFA}" dt="2025-02-05T08:29:49.666" v="1673"/>
          <pc:sldLayoutMkLst>
            <pc:docMk/>
            <pc:sldMasterMk cId="531017778" sldId="2147490790"/>
            <pc:sldLayoutMk cId="4183221155" sldId="2147490795"/>
          </pc:sldLayoutMkLst>
        </pc:sldLayoutChg>
      </pc:sldMasterChg>
      <pc:sldMasterChg chg="modSldLayout">
        <pc:chgData name="Laura Casadio" userId="66d3dc7e-795b-4a92-887c-7e990ee4a717" providerId="ADAL" clId="{A002E1BF-DA5B-40E8-8B58-22F68401CEFA}" dt="2025-02-05T08:30:14.467" v="1676"/>
        <pc:sldMasterMkLst>
          <pc:docMk/>
          <pc:sldMasterMk cId="115553424" sldId="2147490800"/>
        </pc:sldMasterMkLst>
        <pc:sldLayoutChg chg="delSp">
          <pc:chgData name="Laura Casadio" userId="66d3dc7e-795b-4a92-887c-7e990ee4a717" providerId="ADAL" clId="{A002E1BF-DA5B-40E8-8B58-22F68401CEFA}" dt="2025-02-05T08:30:14.467" v="1676"/>
          <pc:sldLayoutMkLst>
            <pc:docMk/>
            <pc:sldMasterMk cId="115553424" sldId="2147490800"/>
            <pc:sldLayoutMk cId="4070688597" sldId="2147490805"/>
          </pc:sldLayoutMkLst>
        </pc:sldLayoutChg>
      </pc:sldMasterChg>
      <pc:sldMasterChg chg="modSldLayout">
        <pc:chgData name="Laura Casadio" userId="66d3dc7e-795b-4a92-887c-7e990ee4a717" providerId="ADAL" clId="{A002E1BF-DA5B-40E8-8B58-22F68401CEFA}" dt="2025-02-05T08:30:06.945" v="1675"/>
        <pc:sldMasterMkLst>
          <pc:docMk/>
          <pc:sldMasterMk cId="1675863366" sldId="2147490800"/>
        </pc:sldMasterMkLst>
        <pc:sldLayoutChg chg="addSp delSp">
          <pc:chgData name="Laura Casadio" userId="66d3dc7e-795b-4a92-887c-7e990ee4a717" providerId="ADAL" clId="{A002E1BF-DA5B-40E8-8B58-22F68401CEFA}" dt="2025-02-05T08:30:06.945" v="1675"/>
          <pc:sldLayoutMkLst>
            <pc:docMk/>
            <pc:sldMasterMk cId="1675863366" sldId="2147490800"/>
            <pc:sldLayoutMk cId="3239843834" sldId="2147490805"/>
          </pc:sldLayoutMkLst>
        </pc:sldLayoutChg>
      </pc:sldMasterChg>
      <pc:sldMasterChg chg="modSldLayout">
        <pc:chgData name="Laura Casadio" userId="66d3dc7e-795b-4a92-887c-7e990ee4a717" providerId="ADAL" clId="{A002E1BF-DA5B-40E8-8B58-22F68401CEFA}" dt="2025-02-05T08:30:25.954" v="1677"/>
        <pc:sldMasterMkLst>
          <pc:docMk/>
          <pc:sldMasterMk cId="3621291679" sldId="2147490808"/>
        </pc:sldMasterMkLst>
        <pc:sldLayoutChg chg="setBg">
          <pc:chgData name="Laura Casadio" userId="66d3dc7e-795b-4a92-887c-7e990ee4a717" providerId="ADAL" clId="{A002E1BF-DA5B-40E8-8B58-22F68401CEFA}" dt="2025-02-05T08:30:25.954" v="1677"/>
          <pc:sldLayoutMkLst>
            <pc:docMk/>
            <pc:sldMasterMk cId="3621291679" sldId="2147490808"/>
            <pc:sldLayoutMk cId="2299213402" sldId="2147490809"/>
          </pc:sldLayoutMkLst>
        </pc:sldLayoutChg>
        <pc:sldLayoutChg chg="setBg">
          <pc:chgData name="Laura Casadio" userId="66d3dc7e-795b-4a92-887c-7e990ee4a717" providerId="ADAL" clId="{A002E1BF-DA5B-40E8-8B58-22F68401CEFA}" dt="2025-02-05T08:30:25.954" v="1677"/>
          <pc:sldLayoutMkLst>
            <pc:docMk/>
            <pc:sldMasterMk cId="3621291679" sldId="2147490808"/>
            <pc:sldLayoutMk cId="2123034309" sldId="2147490810"/>
          </pc:sldLayoutMkLst>
        </pc:sldLayoutChg>
        <pc:sldLayoutChg chg="setBg">
          <pc:chgData name="Laura Casadio" userId="66d3dc7e-795b-4a92-887c-7e990ee4a717" providerId="ADAL" clId="{A002E1BF-DA5B-40E8-8B58-22F68401CEFA}" dt="2025-02-05T08:30:25.954" v="1677"/>
          <pc:sldLayoutMkLst>
            <pc:docMk/>
            <pc:sldMasterMk cId="3621291679" sldId="2147490808"/>
            <pc:sldLayoutMk cId="1689581321" sldId="2147490811"/>
          </pc:sldLayoutMkLst>
        </pc:sldLayoutChg>
        <pc:sldLayoutChg chg="setBg">
          <pc:chgData name="Laura Casadio" userId="66d3dc7e-795b-4a92-887c-7e990ee4a717" providerId="ADAL" clId="{A002E1BF-DA5B-40E8-8B58-22F68401CEFA}" dt="2025-02-05T08:30:25.954" v="1677"/>
          <pc:sldLayoutMkLst>
            <pc:docMk/>
            <pc:sldMasterMk cId="3621291679" sldId="2147490808"/>
            <pc:sldLayoutMk cId="2059534974" sldId="2147490812"/>
          </pc:sldLayoutMkLst>
        </pc:sldLayoutChg>
        <pc:sldLayoutChg chg="setBg">
          <pc:chgData name="Laura Casadio" userId="66d3dc7e-795b-4a92-887c-7e990ee4a717" providerId="ADAL" clId="{A002E1BF-DA5B-40E8-8B58-22F68401CEFA}" dt="2025-02-05T08:30:25.954" v="1677"/>
          <pc:sldLayoutMkLst>
            <pc:docMk/>
            <pc:sldMasterMk cId="3621291679" sldId="2147490808"/>
            <pc:sldLayoutMk cId="417938946" sldId="2147490813"/>
          </pc:sldLayoutMkLst>
        </pc:sldLayoutChg>
        <pc:sldLayoutChg chg="setBg">
          <pc:chgData name="Laura Casadio" userId="66d3dc7e-795b-4a92-887c-7e990ee4a717" providerId="ADAL" clId="{A002E1BF-DA5B-40E8-8B58-22F68401CEFA}" dt="2025-02-05T08:30:25.954" v="1677"/>
          <pc:sldLayoutMkLst>
            <pc:docMk/>
            <pc:sldMasterMk cId="3621291679" sldId="2147490808"/>
            <pc:sldLayoutMk cId="4133223287" sldId="2147490814"/>
          </pc:sldLayoutMkLst>
        </pc:sldLayoutChg>
        <pc:sldLayoutChg chg="setBg">
          <pc:chgData name="Laura Casadio" userId="66d3dc7e-795b-4a92-887c-7e990ee4a717" providerId="ADAL" clId="{A002E1BF-DA5B-40E8-8B58-22F68401CEFA}" dt="2025-02-05T08:30:25.954" v="1677"/>
          <pc:sldLayoutMkLst>
            <pc:docMk/>
            <pc:sldMasterMk cId="3621291679" sldId="2147490808"/>
            <pc:sldLayoutMk cId="4167502361" sldId="2147490817"/>
          </pc:sldLayoutMkLst>
        </pc:sldLayoutChg>
        <pc:sldLayoutChg chg="setBg">
          <pc:chgData name="Laura Casadio" userId="66d3dc7e-795b-4a92-887c-7e990ee4a717" providerId="ADAL" clId="{A002E1BF-DA5B-40E8-8B58-22F68401CEFA}" dt="2025-02-05T08:30:25.954" v="1677"/>
          <pc:sldLayoutMkLst>
            <pc:docMk/>
            <pc:sldMasterMk cId="3621291679" sldId="2147490808"/>
            <pc:sldLayoutMk cId="3128549241" sldId="2147490818"/>
          </pc:sldLayoutMkLst>
        </pc:sldLayoutChg>
        <pc:sldLayoutChg chg="setBg">
          <pc:chgData name="Laura Casadio" userId="66d3dc7e-795b-4a92-887c-7e990ee4a717" providerId="ADAL" clId="{A002E1BF-DA5B-40E8-8B58-22F68401CEFA}" dt="2025-02-05T08:30:25.954" v="1677"/>
          <pc:sldLayoutMkLst>
            <pc:docMk/>
            <pc:sldMasterMk cId="3621291679" sldId="2147490808"/>
            <pc:sldLayoutMk cId="1803276492" sldId="2147490819"/>
          </pc:sldLayoutMkLst>
        </pc:sldLayoutChg>
        <pc:sldLayoutChg chg="setBg">
          <pc:chgData name="Laura Casadio" userId="66d3dc7e-795b-4a92-887c-7e990ee4a717" providerId="ADAL" clId="{A002E1BF-DA5B-40E8-8B58-22F68401CEFA}" dt="2025-02-05T08:30:25.954" v="1677"/>
          <pc:sldLayoutMkLst>
            <pc:docMk/>
            <pc:sldMasterMk cId="3621291679" sldId="2147490808"/>
            <pc:sldLayoutMk cId="815975524" sldId="2147490820"/>
          </pc:sldLayoutMkLst>
        </pc:sldLayoutChg>
        <pc:sldLayoutChg chg="setBg">
          <pc:chgData name="Laura Casadio" userId="66d3dc7e-795b-4a92-887c-7e990ee4a717" providerId="ADAL" clId="{A002E1BF-DA5B-40E8-8B58-22F68401CEFA}" dt="2025-02-05T08:30:25.954" v="1677"/>
          <pc:sldLayoutMkLst>
            <pc:docMk/>
            <pc:sldMasterMk cId="3621291679" sldId="2147490808"/>
            <pc:sldLayoutMk cId="1252435688" sldId="2147490821"/>
          </pc:sldLayoutMkLst>
        </pc:sldLayoutChg>
        <pc:sldLayoutChg chg="setBg">
          <pc:chgData name="Laura Casadio" userId="66d3dc7e-795b-4a92-887c-7e990ee4a717" providerId="ADAL" clId="{A002E1BF-DA5B-40E8-8B58-22F68401CEFA}" dt="2025-02-05T08:30:25.954" v="1677"/>
          <pc:sldLayoutMkLst>
            <pc:docMk/>
            <pc:sldMasterMk cId="3621291679" sldId="2147490808"/>
            <pc:sldLayoutMk cId="1919913147" sldId="2147490823"/>
          </pc:sldLayoutMkLst>
        </pc:sldLayoutChg>
        <pc:sldLayoutChg chg="setBg">
          <pc:chgData name="Laura Casadio" userId="66d3dc7e-795b-4a92-887c-7e990ee4a717" providerId="ADAL" clId="{A002E1BF-DA5B-40E8-8B58-22F68401CEFA}" dt="2025-02-05T08:30:25.954" v="1677"/>
          <pc:sldLayoutMkLst>
            <pc:docMk/>
            <pc:sldMasterMk cId="3621291679" sldId="2147490808"/>
            <pc:sldLayoutMk cId="1061453881" sldId="2147490824"/>
          </pc:sldLayoutMkLst>
        </pc:sldLayoutChg>
        <pc:sldLayoutChg chg="setBg">
          <pc:chgData name="Laura Casadio" userId="66d3dc7e-795b-4a92-887c-7e990ee4a717" providerId="ADAL" clId="{A002E1BF-DA5B-40E8-8B58-22F68401CEFA}" dt="2025-02-05T08:30:25.954" v="1677"/>
          <pc:sldLayoutMkLst>
            <pc:docMk/>
            <pc:sldMasterMk cId="3621291679" sldId="2147490808"/>
            <pc:sldLayoutMk cId="142505178" sldId="2147490825"/>
          </pc:sldLayoutMkLst>
        </pc:sldLayoutChg>
        <pc:sldLayoutChg chg="setBg">
          <pc:chgData name="Laura Casadio" userId="66d3dc7e-795b-4a92-887c-7e990ee4a717" providerId="ADAL" clId="{A002E1BF-DA5B-40E8-8B58-22F68401CEFA}" dt="2025-02-05T08:30:25.954" v="1677"/>
          <pc:sldLayoutMkLst>
            <pc:docMk/>
            <pc:sldMasterMk cId="3621291679" sldId="2147490808"/>
            <pc:sldLayoutMk cId="41829291" sldId="2147490826"/>
          </pc:sldLayoutMkLst>
        </pc:sldLayoutChg>
        <pc:sldLayoutChg chg="setBg">
          <pc:chgData name="Laura Casadio" userId="66d3dc7e-795b-4a92-887c-7e990ee4a717" providerId="ADAL" clId="{A002E1BF-DA5B-40E8-8B58-22F68401CEFA}" dt="2025-02-05T08:30:25.954" v="1677"/>
          <pc:sldLayoutMkLst>
            <pc:docMk/>
            <pc:sldMasterMk cId="3621291679" sldId="2147490808"/>
            <pc:sldLayoutMk cId="3621151578" sldId="2147490827"/>
          </pc:sldLayoutMkLst>
        </pc:sldLayoutChg>
        <pc:sldLayoutChg chg="setBg">
          <pc:chgData name="Laura Casadio" userId="66d3dc7e-795b-4a92-887c-7e990ee4a717" providerId="ADAL" clId="{A002E1BF-DA5B-40E8-8B58-22F68401CEFA}" dt="2025-02-05T08:30:25.954" v="1677"/>
          <pc:sldLayoutMkLst>
            <pc:docMk/>
            <pc:sldMasterMk cId="3621291679" sldId="2147490808"/>
            <pc:sldLayoutMk cId="1149024244" sldId="2147490828"/>
          </pc:sldLayoutMkLst>
        </pc:sldLayoutChg>
        <pc:sldLayoutChg chg="setBg">
          <pc:chgData name="Laura Casadio" userId="66d3dc7e-795b-4a92-887c-7e990ee4a717" providerId="ADAL" clId="{A002E1BF-DA5B-40E8-8B58-22F68401CEFA}" dt="2025-02-05T08:30:25.954" v="1677"/>
          <pc:sldLayoutMkLst>
            <pc:docMk/>
            <pc:sldMasterMk cId="3621291679" sldId="2147490808"/>
            <pc:sldLayoutMk cId="447280740" sldId="2147490829"/>
          </pc:sldLayoutMkLst>
        </pc:sldLayoutChg>
        <pc:sldLayoutChg chg="setBg">
          <pc:chgData name="Laura Casadio" userId="66d3dc7e-795b-4a92-887c-7e990ee4a717" providerId="ADAL" clId="{A002E1BF-DA5B-40E8-8B58-22F68401CEFA}" dt="2025-02-05T08:30:25.954" v="1677"/>
          <pc:sldLayoutMkLst>
            <pc:docMk/>
            <pc:sldMasterMk cId="3621291679" sldId="2147490808"/>
            <pc:sldLayoutMk cId="1411773714" sldId="2147490831"/>
          </pc:sldLayoutMkLst>
        </pc:sldLayoutChg>
        <pc:sldLayoutChg chg="setBg">
          <pc:chgData name="Laura Casadio" userId="66d3dc7e-795b-4a92-887c-7e990ee4a717" providerId="ADAL" clId="{A002E1BF-DA5B-40E8-8B58-22F68401CEFA}" dt="2025-02-05T08:30:25.954" v="1677"/>
          <pc:sldLayoutMkLst>
            <pc:docMk/>
            <pc:sldMasterMk cId="3621291679" sldId="2147490808"/>
            <pc:sldLayoutMk cId="4274576779" sldId="2147490832"/>
          </pc:sldLayoutMkLst>
        </pc:sldLayoutChg>
        <pc:sldLayoutChg chg="setBg">
          <pc:chgData name="Laura Casadio" userId="66d3dc7e-795b-4a92-887c-7e990ee4a717" providerId="ADAL" clId="{A002E1BF-DA5B-40E8-8B58-22F68401CEFA}" dt="2025-02-05T08:30:25.954" v="1677"/>
          <pc:sldLayoutMkLst>
            <pc:docMk/>
            <pc:sldMasterMk cId="3621291679" sldId="2147490808"/>
            <pc:sldLayoutMk cId="2171809621" sldId="2147490833"/>
          </pc:sldLayoutMkLst>
        </pc:sldLayoutChg>
        <pc:sldLayoutChg chg="setBg">
          <pc:chgData name="Laura Casadio" userId="66d3dc7e-795b-4a92-887c-7e990ee4a717" providerId="ADAL" clId="{A002E1BF-DA5B-40E8-8B58-22F68401CEFA}" dt="2025-02-05T08:30:25.954" v="1677"/>
          <pc:sldLayoutMkLst>
            <pc:docMk/>
            <pc:sldMasterMk cId="3621291679" sldId="2147490808"/>
            <pc:sldLayoutMk cId="2621205755" sldId="2147490834"/>
          </pc:sldLayoutMkLst>
        </pc:sldLayoutChg>
        <pc:sldLayoutChg chg="setBg">
          <pc:chgData name="Laura Casadio" userId="66d3dc7e-795b-4a92-887c-7e990ee4a717" providerId="ADAL" clId="{A002E1BF-DA5B-40E8-8B58-22F68401CEFA}" dt="2025-02-05T08:30:25.954" v="1677"/>
          <pc:sldLayoutMkLst>
            <pc:docMk/>
            <pc:sldMasterMk cId="3621291679" sldId="2147490808"/>
            <pc:sldLayoutMk cId="4144026864" sldId="2147490837"/>
          </pc:sldLayoutMkLst>
        </pc:sldLayoutChg>
      </pc:sldMasterChg>
    </pc:docChg>
  </pc:docChgLst>
  <pc:docChgLst>
    <pc:chgData name="Kafui Akpo" userId="S::kafui.akpo@asics.com::821df50a-94dd-4d9a-bc2e-fc7e32e8ef5d" providerId="AD" clId="Web-{A2AF2601-1876-0A0A-ADB4-E7A595FE166D}"/>
    <pc:docChg chg="sldOrd">
      <pc:chgData name="Kafui Akpo" userId="S::kafui.akpo@asics.com::821df50a-94dd-4d9a-bc2e-fc7e32e8ef5d" providerId="AD" clId="Web-{A2AF2601-1876-0A0A-ADB4-E7A595FE166D}" dt="2025-04-14T08:27:52.706" v="0"/>
      <pc:docMkLst>
        <pc:docMk/>
      </pc:docMkLst>
      <pc:sldChg chg="ord">
        <pc:chgData name="Kafui Akpo" userId="S::kafui.akpo@asics.com::821df50a-94dd-4d9a-bc2e-fc7e32e8ef5d" providerId="AD" clId="Web-{A2AF2601-1876-0A0A-ADB4-E7A595FE166D}" dt="2025-04-14T08:27:52.706" v="0"/>
        <pc:sldMkLst>
          <pc:docMk/>
          <pc:sldMk cId="437238162" sldId="2134805990"/>
        </pc:sldMkLst>
      </pc:sldChg>
    </pc:docChg>
  </pc:docChgLst>
  <pc:docChgLst>
    <pc:chgData name="Benjámin Bakos" userId="43e20cc1-df8c-4a8b-907a-600566fd3664" providerId="ADAL" clId="{7F857FC6-F5E2-49B7-8CE3-B76341CD2288}"/>
    <pc:docChg chg="undo modSld">
      <pc:chgData name="Benjámin Bakos" userId="43e20cc1-df8c-4a8b-907a-600566fd3664" providerId="ADAL" clId="{7F857FC6-F5E2-49B7-8CE3-B76341CD2288}" dt="2025-02-20T13:51:45.862" v="82" actId="14100"/>
      <pc:docMkLst>
        <pc:docMk/>
      </pc:docMkLst>
      <pc:sldChg chg="modSp mod">
        <pc:chgData name="Benjámin Bakos" userId="43e20cc1-df8c-4a8b-907a-600566fd3664" providerId="ADAL" clId="{7F857FC6-F5E2-49B7-8CE3-B76341CD2288}" dt="2025-02-20T13:33:27.226" v="39" actId="14100"/>
        <pc:sldMkLst>
          <pc:docMk/>
          <pc:sldMk cId="4248740932" sldId="2134805931"/>
        </pc:sldMkLst>
        <pc:picChg chg="mod">
          <ac:chgData name="Benjámin Bakos" userId="43e20cc1-df8c-4a8b-907a-600566fd3664" providerId="ADAL" clId="{7F857FC6-F5E2-49B7-8CE3-B76341CD2288}" dt="2025-02-20T13:33:27.226" v="39" actId="14100"/>
          <ac:picMkLst>
            <pc:docMk/>
            <pc:sldMk cId="4248740932" sldId="2134805931"/>
            <ac:picMk id="5" creationId="{1D3284BA-168D-DFCA-426E-DE6EC4A59A0D}"/>
          </ac:picMkLst>
        </pc:picChg>
      </pc:sldChg>
      <pc:sldChg chg="modSp mod">
        <pc:chgData name="Benjámin Bakos" userId="43e20cc1-df8c-4a8b-907a-600566fd3664" providerId="ADAL" clId="{7F857FC6-F5E2-49B7-8CE3-B76341CD2288}" dt="2025-02-20T13:45:17.432" v="53" actId="14100"/>
        <pc:sldMkLst>
          <pc:docMk/>
          <pc:sldMk cId="3907843048" sldId="2134805937"/>
        </pc:sldMkLst>
        <pc:picChg chg="mod">
          <ac:chgData name="Benjámin Bakos" userId="43e20cc1-df8c-4a8b-907a-600566fd3664" providerId="ADAL" clId="{7F857FC6-F5E2-49B7-8CE3-B76341CD2288}" dt="2025-02-20T13:45:17.432" v="53" actId="14100"/>
          <ac:picMkLst>
            <pc:docMk/>
            <pc:sldMk cId="3907843048" sldId="2134805937"/>
            <ac:picMk id="14" creationId="{0C34B69A-FAC6-DF8C-BB6F-9E0B18ABBCCB}"/>
          </ac:picMkLst>
        </pc:picChg>
        <pc:picChg chg="mod">
          <ac:chgData name="Benjámin Bakos" userId="43e20cc1-df8c-4a8b-907a-600566fd3664" providerId="ADAL" clId="{7F857FC6-F5E2-49B7-8CE3-B76341CD2288}" dt="2025-02-20T13:45:08.053" v="49" actId="14100"/>
          <ac:picMkLst>
            <pc:docMk/>
            <pc:sldMk cId="3907843048" sldId="2134805937"/>
            <ac:picMk id="16" creationId="{8EC08975-8DA2-4C54-2912-0F067DDAAE51}"/>
          </ac:picMkLst>
        </pc:picChg>
      </pc:sldChg>
      <pc:sldChg chg="modSp mod">
        <pc:chgData name="Benjámin Bakos" userId="43e20cc1-df8c-4a8b-907a-600566fd3664" providerId="ADAL" clId="{7F857FC6-F5E2-49B7-8CE3-B76341CD2288}" dt="2025-02-19T13:29:23.913" v="35" actId="14100"/>
        <pc:sldMkLst>
          <pc:docMk/>
          <pc:sldMk cId="533282322" sldId="2134805973"/>
        </pc:sldMkLst>
      </pc:sldChg>
      <pc:sldChg chg="modSp mod">
        <pc:chgData name="Benjámin Bakos" userId="43e20cc1-df8c-4a8b-907a-600566fd3664" providerId="ADAL" clId="{7F857FC6-F5E2-49B7-8CE3-B76341CD2288}" dt="2025-02-20T13:31:56.314" v="37" actId="14100"/>
        <pc:sldMkLst>
          <pc:docMk/>
          <pc:sldMk cId="2129768714" sldId="2134805975"/>
        </pc:sldMkLst>
        <pc:picChg chg="mod">
          <ac:chgData name="Benjámin Bakos" userId="43e20cc1-df8c-4a8b-907a-600566fd3664" providerId="ADAL" clId="{7F857FC6-F5E2-49B7-8CE3-B76341CD2288}" dt="2025-02-20T13:31:56.314" v="37" actId="14100"/>
          <ac:picMkLst>
            <pc:docMk/>
            <pc:sldMk cId="2129768714" sldId="2134805975"/>
            <ac:picMk id="21" creationId="{75AC0312-F598-F981-8967-1C3FC45E8FD5}"/>
          </ac:picMkLst>
        </pc:picChg>
      </pc:sldChg>
      <pc:sldChg chg="modSp mod">
        <pc:chgData name="Benjámin Bakos" userId="43e20cc1-df8c-4a8b-907a-600566fd3664" providerId="ADAL" clId="{7F857FC6-F5E2-49B7-8CE3-B76341CD2288}" dt="2025-02-20T13:43:15.327" v="47" actId="14100"/>
        <pc:sldMkLst>
          <pc:docMk/>
          <pc:sldMk cId="2364281794" sldId="2134805979"/>
        </pc:sldMkLst>
        <pc:picChg chg="mod">
          <ac:chgData name="Benjámin Bakos" userId="43e20cc1-df8c-4a8b-907a-600566fd3664" providerId="ADAL" clId="{7F857FC6-F5E2-49B7-8CE3-B76341CD2288}" dt="2025-02-20T13:43:15.327" v="47" actId="14100"/>
          <ac:picMkLst>
            <pc:docMk/>
            <pc:sldMk cId="2364281794" sldId="2134805979"/>
            <ac:picMk id="30" creationId="{211331C7-4C8E-EC6B-9499-336BED4FA3C0}"/>
          </ac:picMkLst>
        </pc:picChg>
        <pc:picChg chg="mod">
          <ac:chgData name="Benjámin Bakos" userId="43e20cc1-df8c-4a8b-907a-600566fd3664" providerId="ADAL" clId="{7F857FC6-F5E2-49B7-8CE3-B76341CD2288}" dt="2025-02-20T13:43:14.915" v="46" actId="14100"/>
          <ac:picMkLst>
            <pc:docMk/>
            <pc:sldMk cId="2364281794" sldId="2134805979"/>
            <ac:picMk id="58" creationId="{34DFCC41-C545-78DB-7E26-E92B0371DB9B}"/>
          </ac:picMkLst>
        </pc:picChg>
      </pc:sldChg>
      <pc:sldChg chg="modSp mod">
        <pc:chgData name="Benjámin Bakos" userId="43e20cc1-df8c-4a8b-907a-600566fd3664" providerId="ADAL" clId="{7F857FC6-F5E2-49B7-8CE3-B76341CD2288}" dt="2025-02-20T13:51:01.909" v="78" actId="14100"/>
        <pc:sldMkLst>
          <pc:docMk/>
          <pc:sldMk cId="3964233397" sldId="2134805980"/>
        </pc:sldMkLst>
      </pc:sldChg>
      <pc:sldChg chg="modSp mod">
        <pc:chgData name="Benjámin Bakos" userId="43e20cc1-df8c-4a8b-907a-600566fd3664" providerId="ADAL" clId="{7F857FC6-F5E2-49B7-8CE3-B76341CD2288}" dt="2025-02-20T13:48:31.057" v="70" actId="14100"/>
        <pc:sldMkLst>
          <pc:docMk/>
          <pc:sldMk cId="1879302680" sldId="2134805986"/>
        </pc:sldMkLst>
        <pc:picChg chg="mod">
          <ac:chgData name="Benjámin Bakos" userId="43e20cc1-df8c-4a8b-907a-600566fd3664" providerId="ADAL" clId="{7F857FC6-F5E2-49B7-8CE3-B76341CD2288}" dt="2025-02-20T13:48:01.407" v="61" actId="14100"/>
          <ac:picMkLst>
            <pc:docMk/>
            <pc:sldMk cId="1879302680" sldId="2134805986"/>
            <ac:picMk id="17" creationId="{BD2E03E8-110D-BF14-7533-AA361FD59F25}"/>
          </ac:picMkLst>
        </pc:picChg>
        <pc:picChg chg="mod">
          <ac:chgData name="Benjámin Bakos" userId="43e20cc1-df8c-4a8b-907a-600566fd3664" providerId="ADAL" clId="{7F857FC6-F5E2-49B7-8CE3-B76341CD2288}" dt="2025-02-20T13:48:04.827" v="63" actId="14100"/>
          <ac:picMkLst>
            <pc:docMk/>
            <pc:sldMk cId="1879302680" sldId="2134805986"/>
            <ac:picMk id="18" creationId="{31D76CC1-5F42-7945-E9BC-9E9C0640A443}"/>
          </ac:picMkLst>
        </pc:picChg>
        <pc:picChg chg="mod">
          <ac:chgData name="Benjámin Bakos" userId="43e20cc1-df8c-4a8b-907a-600566fd3664" providerId="ADAL" clId="{7F857FC6-F5E2-49B7-8CE3-B76341CD2288}" dt="2025-02-20T13:48:31.057" v="70" actId="14100"/>
          <ac:picMkLst>
            <pc:docMk/>
            <pc:sldMk cId="1879302680" sldId="2134805986"/>
            <ac:picMk id="19" creationId="{96C4E6D5-887F-3709-DBB7-D13A16DC38CC}"/>
          </ac:picMkLst>
        </pc:picChg>
        <pc:picChg chg="mod">
          <ac:chgData name="Benjámin Bakos" userId="43e20cc1-df8c-4a8b-907a-600566fd3664" providerId="ADAL" clId="{7F857FC6-F5E2-49B7-8CE3-B76341CD2288}" dt="2025-02-20T13:48:08.606" v="65" actId="14100"/>
          <ac:picMkLst>
            <pc:docMk/>
            <pc:sldMk cId="1879302680" sldId="2134805986"/>
            <ac:picMk id="98" creationId="{4CE521ED-228E-9631-82A3-330D44EB4978}"/>
          </ac:picMkLst>
        </pc:picChg>
      </pc:sldChg>
      <pc:sldChg chg="modSp mod">
        <pc:chgData name="Benjámin Bakos" userId="43e20cc1-df8c-4a8b-907a-600566fd3664" providerId="ADAL" clId="{7F857FC6-F5E2-49B7-8CE3-B76341CD2288}" dt="2025-02-20T13:51:45.862" v="82" actId="14100"/>
        <pc:sldMkLst>
          <pc:docMk/>
          <pc:sldMk cId="2891202667" sldId="2134805988"/>
        </pc:sldMkLst>
        <pc:picChg chg="mod">
          <ac:chgData name="Benjámin Bakos" userId="43e20cc1-df8c-4a8b-907a-600566fd3664" providerId="ADAL" clId="{7F857FC6-F5E2-49B7-8CE3-B76341CD2288}" dt="2025-02-20T13:51:45.862" v="82" actId="14100"/>
          <ac:picMkLst>
            <pc:docMk/>
            <pc:sldMk cId="2891202667" sldId="2134805988"/>
            <ac:picMk id="4" creationId="{13877D33-D80D-FB94-C42D-FE832144C86A}"/>
          </ac:picMkLst>
        </pc:picChg>
      </pc:sldChg>
      <pc:sldChg chg="modSp mod">
        <pc:chgData name="Benjámin Bakos" userId="43e20cc1-df8c-4a8b-907a-600566fd3664" providerId="ADAL" clId="{7F857FC6-F5E2-49B7-8CE3-B76341CD2288}" dt="2025-02-18T12:15:31.505" v="13" actId="14100"/>
        <pc:sldMkLst>
          <pc:docMk/>
          <pc:sldMk cId="2483803822" sldId="2134805989"/>
        </pc:sldMkLst>
        <pc:picChg chg="mod">
          <ac:chgData name="Benjámin Bakos" userId="43e20cc1-df8c-4a8b-907a-600566fd3664" providerId="ADAL" clId="{7F857FC6-F5E2-49B7-8CE3-B76341CD2288}" dt="2025-02-18T12:15:31.505" v="13" actId="14100"/>
          <ac:picMkLst>
            <pc:docMk/>
            <pc:sldMk cId="2483803822" sldId="2134805989"/>
            <ac:picMk id="2" creationId="{23E643E8-AE93-4D0F-8392-902BEB789432}"/>
          </ac:picMkLst>
        </pc:picChg>
        <pc:picChg chg="mod">
          <ac:chgData name="Benjámin Bakos" userId="43e20cc1-df8c-4a8b-907a-600566fd3664" providerId="ADAL" clId="{7F857FC6-F5E2-49B7-8CE3-B76341CD2288}" dt="2025-02-18T12:15:24.618" v="11" actId="14100"/>
          <ac:picMkLst>
            <pc:docMk/>
            <pc:sldMk cId="2483803822" sldId="2134805989"/>
            <ac:picMk id="12" creationId="{F26B8D16-34E9-29AC-57ED-85913D960F5E}"/>
          </ac:picMkLst>
        </pc:picChg>
        <pc:picChg chg="mod">
          <ac:chgData name="Benjámin Bakos" userId="43e20cc1-df8c-4a8b-907a-600566fd3664" providerId="ADAL" clId="{7F857FC6-F5E2-49B7-8CE3-B76341CD2288}" dt="2025-02-18T12:08:23.584" v="1" actId="14100"/>
          <ac:picMkLst>
            <pc:docMk/>
            <pc:sldMk cId="2483803822" sldId="2134805989"/>
            <ac:picMk id="14" creationId="{168BF0FF-5E09-81C4-770F-203E359F2790}"/>
          </ac:picMkLst>
        </pc:picChg>
        <pc:picChg chg="mod">
          <ac:chgData name="Benjámin Bakos" userId="43e20cc1-df8c-4a8b-907a-600566fd3664" providerId="ADAL" clId="{7F857FC6-F5E2-49B7-8CE3-B76341CD2288}" dt="2025-02-18T12:15:18.219" v="9" actId="14100"/>
          <ac:picMkLst>
            <pc:docMk/>
            <pc:sldMk cId="2483803822" sldId="2134805989"/>
            <ac:picMk id="26" creationId="{FB29675E-6582-94DB-7F85-CDC65F7255B6}"/>
          </ac:picMkLst>
        </pc:picChg>
      </pc:sldChg>
      <pc:sldChg chg="modSp mod">
        <pc:chgData name="Benjámin Bakos" userId="43e20cc1-df8c-4a8b-907a-600566fd3664" providerId="ADAL" clId="{7F857FC6-F5E2-49B7-8CE3-B76341CD2288}" dt="2025-02-19T07:40:20.064" v="31" actId="14100"/>
        <pc:sldMkLst>
          <pc:docMk/>
          <pc:sldMk cId="2897335782" sldId="2134805995"/>
        </pc:sldMkLst>
        <pc:picChg chg="mod">
          <ac:chgData name="Benjámin Bakos" userId="43e20cc1-df8c-4a8b-907a-600566fd3664" providerId="ADAL" clId="{7F857FC6-F5E2-49B7-8CE3-B76341CD2288}" dt="2025-02-18T12:20:19.453" v="15" actId="14100"/>
          <ac:picMkLst>
            <pc:docMk/>
            <pc:sldMk cId="2897335782" sldId="2134805995"/>
            <ac:picMk id="37" creationId="{D1EE6E9B-3A50-7E4D-026C-7B277D793DF4}"/>
          </ac:picMkLst>
        </pc:picChg>
        <pc:picChg chg="mod">
          <ac:chgData name="Benjámin Bakos" userId="43e20cc1-df8c-4a8b-907a-600566fd3664" providerId="ADAL" clId="{7F857FC6-F5E2-49B7-8CE3-B76341CD2288}" dt="2025-02-19T07:40:20.064" v="31" actId="14100"/>
          <ac:picMkLst>
            <pc:docMk/>
            <pc:sldMk cId="2897335782" sldId="2134805995"/>
            <ac:picMk id="42" creationId="{BDCA1807-A3C7-B085-1E36-48FE9FD76BA9}"/>
          </ac:picMkLst>
        </pc:picChg>
      </pc:sldChg>
      <pc:sldChg chg="modSp mod">
        <pc:chgData name="Benjámin Bakos" userId="43e20cc1-df8c-4a8b-907a-600566fd3664" providerId="ADAL" clId="{7F857FC6-F5E2-49B7-8CE3-B76341CD2288}" dt="2025-02-19T07:41:12.418" v="33" actId="14100"/>
        <pc:sldMkLst>
          <pc:docMk/>
          <pc:sldMk cId="3700847209" sldId="2134805999"/>
        </pc:sldMkLst>
        <pc:picChg chg="mod">
          <ac:chgData name="Benjámin Bakos" userId="43e20cc1-df8c-4a8b-907a-600566fd3664" providerId="ADAL" clId="{7F857FC6-F5E2-49B7-8CE3-B76341CD2288}" dt="2025-02-19T07:41:12.418" v="33" actId="14100"/>
          <ac:picMkLst>
            <pc:docMk/>
            <pc:sldMk cId="3700847209" sldId="2134805999"/>
            <ac:picMk id="13" creationId="{B994B758-21C2-74B6-AF5F-82E35670CC44}"/>
          </ac:picMkLst>
        </pc:picChg>
      </pc:sldChg>
      <pc:sldChg chg="modSp mod">
        <pc:chgData name="Benjámin Bakos" userId="43e20cc1-df8c-4a8b-907a-600566fd3664" providerId="ADAL" clId="{7F857FC6-F5E2-49B7-8CE3-B76341CD2288}" dt="2025-02-20T13:37:02.991" v="43" actId="14100"/>
        <pc:sldMkLst>
          <pc:docMk/>
          <pc:sldMk cId="3088050963" sldId="2134806010"/>
        </pc:sldMkLst>
        <pc:picChg chg="mod">
          <ac:chgData name="Benjámin Bakos" userId="43e20cc1-df8c-4a8b-907a-600566fd3664" providerId="ADAL" clId="{7F857FC6-F5E2-49B7-8CE3-B76341CD2288}" dt="2025-02-20T13:36:59.313" v="41" actId="14100"/>
          <ac:picMkLst>
            <pc:docMk/>
            <pc:sldMk cId="3088050963" sldId="2134806010"/>
            <ac:picMk id="21" creationId="{D081EB00-A0F6-FC5E-1739-F8E38A82DFA1}"/>
          </ac:picMkLst>
        </pc:picChg>
        <pc:picChg chg="mod">
          <ac:chgData name="Benjámin Bakos" userId="43e20cc1-df8c-4a8b-907a-600566fd3664" providerId="ADAL" clId="{7F857FC6-F5E2-49B7-8CE3-B76341CD2288}" dt="2025-02-20T13:37:02.991" v="43" actId="14100"/>
          <ac:picMkLst>
            <pc:docMk/>
            <pc:sldMk cId="3088050963" sldId="2134806010"/>
            <ac:picMk id="23" creationId="{1BA0CB86-29CA-B901-F7D5-2E7FCA40D025}"/>
          </ac:picMkLst>
        </pc:picChg>
      </pc:sldChg>
      <pc:sldChg chg="modSp mod">
        <pc:chgData name="Benjámin Bakos" userId="43e20cc1-df8c-4a8b-907a-600566fd3664" providerId="ADAL" clId="{7F857FC6-F5E2-49B7-8CE3-B76341CD2288}" dt="2025-02-20T13:49:23.135" v="74" actId="14100"/>
        <pc:sldMkLst>
          <pc:docMk/>
          <pc:sldMk cId="2747048787" sldId="2134806021"/>
        </pc:sldMkLst>
        <pc:picChg chg="mod">
          <ac:chgData name="Benjámin Bakos" userId="43e20cc1-df8c-4a8b-907a-600566fd3664" providerId="ADAL" clId="{7F857FC6-F5E2-49B7-8CE3-B76341CD2288}" dt="2025-02-20T13:49:23.135" v="74" actId="14100"/>
          <ac:picMkLst>
            <pc:docMk/>
            <pc:sldMk cId="2747048787" sldId="2134806021"/>
            <ac:picMk id="8" creationId="{FD577745-7BDD-5896-A3F3-E3430EAFB3F1}"/>
          </ac:picMkLst>
        </pc:picChg>
        <pc:picChg chg="mod">
          <ac:chgData name="Benjámin Bakos" userId="43e20cc1-df8c-4a8b-907a-600566fd3664" providerId="ADAL" clId="{7F857FC6-F5E2-49B7-8CE3-B76341CD2288}" dt="2025-02-20T13:49:18.706" v="72" actId="14100"/>
          <ac:picMkLst>
            <pc:docMk/>
            <pc:sldMk cId="2747048787" sldId="2134806021"/>
            <ac:picMk id="11" creationId="{A9D32641-1298-9F48-15B3-15885885B739}"/>
          </ac:picMkLst>
        </pc:picChg>
      </pc:sldChg>
      <pc:sldChg chg="modSp mod">
        <pc:chgData name="Benjámin Bakos" userId="43e20cc1-df8c-4a8b-907a-600566fd3664" providerId="ADAL" clId="{7F857FC6-F5E2-49B7-8CE3-B76341CD2288}" dt="2025-02-18T12:51:52.426" v="27" actId="14100"/>
        <pc:sldMkLst>
          <pc:docMk/>
          <pc:sldMk cId="2545566061" sldId="2134806022"/>
        </pc:sldMkLst>
        <pc:picChg chg="mod">
          <ac:chgData name="Benjámin Bakos" userId="43e20cc1-df8c-4a8b-907a-600566fd3664" providerId="ADAL" clId="{7F857FC6-F5E2-49B7-8CE3-B76341CD2288}" dt="2025-02-18T12:51:52.426" v="27" actId="14100"/>
          <ac:picMkLst>
            <pc:docMk/>
            <pc:sldMk cId="2545566061" sldId="2134806022"/>
            <ac:picMk id="81" creationId="{B5A789CF-6EFE-9F0C-8880-261CB1199ECD}"/>
          </ac:picMkLst>
        </pc:picChg>
      </pc:sldChg>
    </pc:docChg>
  </pc:docChgLst>
  <pc:docChgLst>
    <pc:chgData name="Laura Casadio" userId="66d3dc7e-795b-4a92-887c-7e990ee4a717" providerId="ADAL" clId="{9191A4F2-8941-47C6-967C-515073933828}"/>
    <pc:docChg chg="undo custSel addSld modSld sldOrd modSection">
      <pc:chgData name="Laura Casadio" userId="66d3dc7e-795b-4a92-887c-7e990ee4a717" providerId="ADAL" clId="{9191A4F2-8941-47C6-967C-515073933828}" dt="2025-03-11T13:23:09.441" v="729" actId="20577"/>
      <pc:docMkLst>
        <pc:docMk/>
      </pc:docMkLst>
      <pc:sldChg chg="addSp modSp mod">
        <pc:chgData name="Laura Casadio" userId="66d3dc7e-795b-4a92-887c-7e990ee4a717" providerId="ADAL" clId="{9191A4F2-8941-47C6-967C-515073933828}" dt="2025-03-10T15:08:22.394" v="609" actId="20577"/>
        <pc:sldMkLst>
          <pc:docMk/>
          <pc:sldMk cId="4248740932" sldId="2134805931"/>
        </pc:sldMkLst>
        <pc:spChg chg="add mod ord">
          <ac:chgData name="Laura Casadio" userId="66d3dc7e-795b-4a92-887c-7e990ee4a717" providerId="ADAL" clId="{9191A4F2-8941-47C6-967C-515073933828}" dt="2025-03-10T14:59:10.274" v="548" actId="167"/>
          <ac:spMkLst>
            <pc:docMk/>
            <pc:sldMk cId="4248740932" sldId="2134805931"/>
            <ac:spMk id="4" creationId="{E1E723AC-E1EA-C9A3-F113-20E4C6FA0038}"/>
          </ac:spMkLst>
        </pc:spChg>
        <pc:spChg chg="add mod">
          <ac:chgData name="Laura Casadio" userId="66d3dc7e-795b-4a92-887c-7e990ee4a717" providerId="ADAL" clId="{9191A4F2-8941-47C6-967C-515073933828}" dt="2025-03-10T15:08:22.394" v="609" actId="20577"/>
          <ac:spMkLst>
            <pc:docMk/>
            <pc:sldMk cId="4248740932" sldId="2134805931"/>
            <ac:spMk id="8" creationId="{C9D8DA26-6A90-03C0-F280-EA0CC3A53679}"/>
          </ac:spMkLst>
        </pc:spChg>
        <pc:spChg chg="add mod">
          <ac:chgData name="Laura Casadio" userId="66d3dc7e-795b-4a92-887c-7e990ee4a717" providerId="ADAL" clId="{9191A4F2-8941-47C6-967C-515073933828}" dt="2025-03-10T14:59:39.655" v="563" actId="20577"/>
          <ac:spMkLst>
            <pc:docMk/>
            <pc:sldMk cId="4248740932" sldId="2134805931"/>
            <ac:spMk id="15" creationId="{2BD32532-D996-62CE-1287-1C2C38DDE23B}"/>
          </ac:spMkLst>
        </pc:spChg>
        <pc:spChg chg="add mod">
          <ac:chgData name="Laura Casadio" userId="66d3dc7e-795b-4a92-887c-7e990ee4a717" providerId="ADAL" clId="{9191A4F2-8941-47C6-967C-515073933828}" dt="2025-03-10T15:01:45.230" v="577" actId="20577"/>
          <ac:spMkLst>
            <pc:docMk/>
            <pc:sldMk cId="4248740932" sldId="2134805931"/>
            <ac:spMk id="17" creationId="{513C4900-4515-BF8A-AEFB-9417AF1CF83B}"/>
          </ac:spMkLst>
        </pc:spChg>
        <pc:picChg chg="add mod">
          <ac:chgData name="Laura Casadio" userId="66d3dc7e-795b-4a92-887c-7e990ee4a717" providerId="ADAL" clId="{9191A4F2-8941-47C6-967C-515073933828}" dt="2025-03-10T14:59:44.529" v="564" actId="1076"/>
          <ac:picMkLst>
            <pc:docMk/>
            <pc:sldMk cId="4248740932" sldId="2134805931"/>
            <ac:picMk id="14" creationId="{7D94FBCE-A545-470A-9A40-53D182AF0F87}"/>
          </ac:picMkLst>
        </pc:picChg>
        <pc:picChg chg="add mod">
          <ac:chgData name="Laura Casadio" userId="66d3dc7e-795b-4a92-887c-7e990ee4a717" providerId="ADAL" clId="{9191A4F2-8941-47C6-967C-515073933828}" dt="2025-03-10T15:01:35.518" v="572" actId="14100"/>
          <ac:picMkLst>
            <pc:docMk/>
            <pc:sldMk cId="4248740932" sldId="2134805931"/>
            <ac:picMk id="16" creationId="{DC032012-5639-4298-82B8-A4720B3B7EA2}"/>
          </ac:picMkLst>
        </pc:picChg>
      </pc:sldChg>
      <pc:sldChg chg="addSp modSp mod">
        <pc:chgData name="Laura Casadio" userId="66d3dc7e-795b-4a92-887c-7e990ee4a717" providerId="ADAL" clId="{9191A4F2-8941-47C6-967C-515073933828}" dt="2025-02-20T08:24:11.356" v="313" actId="14100"/>
        <pc:sldMkLst>
          <pc:docMk/>
          <pc:sldMk cId="4766551" sldId="2134805942"/>
        </pc:sldMkLst>
        <pc:spChg chg="add mod">
          <ac:chgData name="Laura Casadio" userId="66d3dc7e-795b-4a92-887c-7e990ee4a717" providerId="ADAL" clId="{9191A4F2-8941-47C6-967C-515073933828}" dt="2025-02-20T08:23:52.766" v="311" actId="14100"/>
          <ac:spMkLst>
            <pc:docMk/>
            <pc:sldMk cId="4766551" sldId="2134805942"/>
            <ac:spMk id="3" creationId="{849A7593-40DC-23CA-85EB-CC2B0A960B2F}"/>
          </ac:spMkLst>
        </pc:spChg>
        <pc:spChg chg="mod">
          <ac:chgData name="Laura Casadio" userId="66d3dc7e-795b-4a92-887c-7e990ee4a717" providerId="ADAL" clId="{9191A4F2-8941-47C6-967C-515073933828}" dt="2025-02-20T08:23:31.085" v="309" actId="14100"/>
          <ac:spMkLst>
            <pc:docMk/>
            <pc:sldMk cId="4766551" sldId="2134805942"/>
            <ac:spMk id="13" creationId="{9C83B014-365B-CE5F-61B1-D0323B12113D}"/>
          </ac:spMkLst>
        </pc:spChg>
        <pc:picChg chg="mod modCrop">
          <ac:chgData name="Laura Casadio" userId="66d3dc7e-795b-4a92-887c-7e990ee4a717" providerId="ADAL" clId="{9191A4F2-8941-47C6-967C-515073933828}" dt="2025-02-20T08:24:11.356" v="313" actId="14100"/>
          <ac:picMkLst>
            <pc:docMk/>
            <pc:sldMk cId="4766551" sldId="2134805942"/>
            <ac:picMk id="11" creationId="{6FBB9804-557F-9EE8-7B9A-BAC5AB27E164}"/>
          </ac:picMkLst>
        </pc:picChg>
      </pc:sldChg>
      <pc:sldChg chg="modSp mod">
        <pc:chgData name="Laura Casadio" userId="66d3dc7e-795b-4a92-887c-7e990ee4a717" providerId="ADAL" clId="{9191A4F2-8941-47C6-967C-515073933828}" dt="2025-02-10T21:14:13.209" v="60" actId="14100"/>
        <pc:sldMkLst>
          <pc:docMk/>
          <pc:sldMk cId="334095102" sldId="2134805962"/>
        </pc:sldMkLst>
        <pc:picChg chg="mod">
          <ac:chgData name="Laura Casadio" userId="66d3dc7e-795b-4a92-887c-7e990ee4a717" providerId="ADAL" clId="{9191A4F2-8941-47C6-967C-515073933828}" dt="2025-02-10T21:14:13.209" v="60" actId="14100"/>
          <ac:picMkLst>
            <pc:docMk/>
            <pc:sldMk cId="334095102" sldId="2134805962"/>
            <ac:picMk id="8" creationId="{3E8AA242-8C0A-1C2A-611D-B0B09630531C}"/>
          </ac:picMkLst>
        </pc:picChg>
      </pc:sldChg>
      <pc:sldChg chg="addSp modSp mod">
        <pc:chgData name="Laura Casadio" userId="66d3dc7e-795b-4a92-887c-7e990ee4a717" providerId="ADAL" clId="{9191A4F2-8941-47C6-967C-515073933828}" dt="2025-02-11T08:49:04.909" v="168" actId="20577"/>
        <pc:sldMkLst>
          <pc:docMk/>
          <pc:sldMk cId="2835748674" sldId="2134805972"/>
        </pc:sldMkLst>
        <pc:spChg chg="mod">
          <ac:chgData name="Laura Casadio" userId="66d3dc7e-795b-4a92-887c-7e990ee4a717" providerId="ADAL" clId="{9191A4F2-8941-47C6-967C-515073933828}" dt="2025-02-11T08:48:45.649" v="147" actId="14100"/>
          <ac:spMkLst>
            <pc:docMk/>
            <pc:sldMk cId="2835748674" sldId="2134805972"/>
            <ac:spMk id="3" creationId="{C3CCBAA7-2C38-5CB8-6C38-870D3C8D27A7}"/>
          </ac:spMkLst>
        </pc:spChg>
        <pc:spChg chg="add mod">
          <ac:chgData name="Laura Casadio" userId="66d3dc7e-795b-4a92-887c-7e990ee4a717" providerId="ADAL" clId="{9191A4F2-8941-47C6-967C-515073933828}" dt="2025-02-11T08:47:14.139" v="130" actId="20577"/>
          <ac:spMkLst>
            <pc:docMk/>
            <pc:sldMk cId="2835748674" sldId="2134805972"/>
            <ac:spMk id="8" creationId="{9D0DA5C4-93EC-030D-AABE-30ED647BC5E7}"/>
          </ac:spMkLst>
        </pc:spChg>
        <pc:spChg chg="add mod">
          <ac:chgData name="Laura Casadio" userId="66d3dc7e-795b-4a92-887c-7e990ee4a717" providerId="ADAL" clId="{9191A4F2-8941-47C6-967C-515073933828}" dt="2025-02-11T08:47:17.756" v="133" actId="20577"/>
          <ac:spMkLst>
            <pc:docMk/>
            <pc:sldMk cId="2835748674" sldId="2134805972"/>
            <ac:spMk id="9" creationId="{51E195C9-385A-7C90-14D4-D39DEECB9F57}"/>
          </ac:spMkLst>
        </pc:spChg>
        <pc:spChg chg="mod">
          <ac:chgData name="Laura Casadio" userId="66d3dc7e-795b-4a92-887c-7e990ee4a717" providerId="ADAL" clId="{9191A4F2-8941-47C6-967C-515073933828}" dt="2025-02-11T08:48:39.448" v="146" actId="14100"/>
          <ac:spMkLst>
            <pc:docMk/>
            <pc:sldMk cId="2835748674" sldId="2134805972"/>
            <ac:spMk id="10" creationId="{4AC399DE-D4E4-C4AF-59E7-215433152576}"/>
          </ac:spMkLst>
        </pc:spChg>
        <pc:spChg chg="add mod">
          <ac:chgData name="Laura Casadio" userId="66d3dc7e-795b-4a92-887c-7e990ee4a717" providerId="ADAL" clId="{9191A4F2-8941-47C6-967C-515073933828}" dt="2025-02-11T08:49:04.909" v="168" actId="20577"/>
          <ac:spMkLst>
            <pc:docMk/>
            <pc:sldMk cId="2835748674" sldId="2134805972"/>
            <ac:spMk id="17" creationId="{8CFA3A33-94D2-EDD9-650B-7BA743A95F26}"/>
          </ac:spMkLst>
        </pc:spChg>
        <pc:spChg chg="add mod ord">
          <ac:chgData name="Laura Casadio" userId="66d3dc7e-795b-4a92-887c-7e990ee4a717" providerId="ADAL" clId="{9191A4F2-8941-47C6-967C-515073933828}" dt="2025-02-11T08:48:16.436" v="143" actId="167"/>
          <ac:spMkLst>
            <pc:docMk/>
            <pc:sldMk cId="2835748674" sldId="2134805972"/>
            <ac:spMk id="18" creationId="{7759CCD0-A3F1-DE0D-B75C-78CED463913F}"/>
          </ac:spMkLst>
        </pc:spChg>
        <pc:spChg chg="mod">
          <ac:chgData name="Laura Casadio" userId="66d3dc7e-795b-4a92-887c-7e990ee4a717" providerId="ADAL" clId="{9191A4F2-8941-47C6-967C-515073933828}" dt="2025-02-11T08:48:35.402" v="145" actId="14100"/>
          <ac:spMkLst>
            <pc:docMk/>
            <pc:sldMk cId="2835748674" sldId="2134805972"/>
            <ac:spMk id="36" creationId="{2D139AAF-0BE5-2D76-25FB-BFB9F37520B9}"/>
          </ac:spMkLst>
        </pc:spChg>
        <pc:spChg chg="mod">
          <ac:chgData name="Laura Casadio" userId="66d3dc7e-795b-4a92-887c-7e990ee4a717" providerId="ADAL" clId="{9191A4F2-8941-47C6-967C-515073933828}" dt="2025-02-11T08:48:53.453" v="166" actId="1036"/>
          <ac:spMkLst>
            <pc:docMk/>
            <pc:sldMk cId="2835748674" sldId="2134805972"/>
            <ac:spMk id="39" creationId="{95D27816-4B53-D7A4-807C-FB7A693E4FF3}"/>
          </ac:spMkLst>
        </pc:spChg>
        <pc:spChg chg="mod">
          <ac:chgData name="Laura Casadio" userId="66d3dc7e-795b-4a92-887c-7e990ee4a717" providerId="ADAL" clId="{9191A4F2-8941-47C6-967C-515073933828}" dt="2025-02-11T08:48:53.453" v="166" actId="1036"/>
          <ac:spMkLst>
            <pc:docMk/>
            <pc:sldMk cId="2835748674" sldId="2134805972"/>
            <ac:spMk id="51" creationId="{8D8BDA2F-65BC-52D7-9D5A-6ECC000E7CE3}"/>
          </ac:spMkLst>
        </pc:spChg>
        <pc:spChg chg="mod">
          <ac:chgData name="Laura Casadio" userId="66d3dc7e-795b-4a92-887c-7e990ee4a717" providerId="ADAL" clId="{9191A4F2-8941-47C6-967C-515073933828}" dt="2025-02-11T08:48:53.453" v="166" actId="1036"/>
          <ac:spMkLst>
            <pc:docMk/>
            <pc:sldMk cId="2835748674" sldId="2134805972"/>
            <ac:spMk id="52" creationId="{964A01FC-E46E-1D78-9E4F-D6CFEACE8CDF}"/>
          </ac:spMkLst>
        </pc:spChg>
        <pc:picChg chg="add mod modCrop">
          <ac:chgData name="Laura Casadio" userId="66d3dc7e-795b-4a92-887c-7e990ee4a717" providerId="ADAL" clId="{9191A4F2-8941-47C6-967C-515073933828}" dt="2025-02-11T08:46:44.482" v="119" actId="1076"/>
          <ac:picMkLst>
            <pc:docMk/>
            <pc:sldMk cId="2835748674" sldId="2134805972"/>
            <ac:picMk id="5" creationId="{6798D7D9-41FD-4B5E-AEF8-0A47A5ED9994}"/>
          </ac:picMkLst>
        </pc:picChg>
        <pc:picChg chg="add mod">
          <ac:chgData name="Laura Casadio" userId="66d3dc7e-795b-4a92-887c-7e990ee4a717" providerId="ADAL" clId="{9191A4F2-8941-47C6-967C-515073933828}" dt="2025-02-11T08:46:55.322" v="121" actId="14100"/>
          <ac:picMkLst>
            <pc:docMk/>
            <pc:sldMk cId="2835748674" sldId="2134805972"/>
            <ac:picMk id="7" creationId="{0323253D-C802-4C99-81E1-8EE42CA34595}"/>
          </ac:picMkLst>
        </pc:picChg>
      </pc:sldChg>
      <pc:sldChg chg="addSp modSp mod">
        <pc:chgData name="Laura Casadio" userId="66d3dc7e-795b-4a92-887c-7e990ee4a717" providerId="ADAL" clId="{9191A4F2-8941-47C6-967C-515073933828}" dt="2025-03-10T13:19:38.687" v="470" actId="1076"/>
        <pc:sldMkLst>
          <pc:docMk/>
          <pc:sldMk cId="2129768714" sldId="2134805975"/>
        </pc:sldMkLst>
        <pc:spChg chg="mod">
          <ac:chgData name="Laura Casadio" userId="66d3dc7e-795b-4a92-887c-7e990ee4a717" providerId="ADAL" clId="{9191A4F2-8941-47C6-967C-515073933828}" dt="2025-03-10T13:19:38.687" v="470" actId="1076"/>
          <ac:spMkLst>
            <pc:docMk/>
            <pc:sldMk cId="2129768714" sldId="2134805975"/>
            <ac:spMk id="3" creationId="{9FF2C42B-1ACF-5612-B48C-F21F1FF671BD}"/>
          </ac:spMkLst>
        </pc:spChg>
        <pc:spChg chg="mod">
          <ac:chgData name="Laura Casadio" userId="66d3dc7e-795b-4a92-887c-7e990ee4a717" providerId="ADAL" clId="{9191A4F2-8941-47C6-967C-515073933828}" dt="2025-03-10T13:19:38.687" v="470" actId="1076"/>
          <ac:spMkLst>
            <pc:docMk/>
            <pc:sldMk cId="2129768714" sldId="2134805975"/>
            <ac:spMk id="4" creationId="{DFC98069-7EC7-529B-0A6C-33009A814FF4}"/>
          </ac:spMkLst>
        </pc:spChg>
        <pc:spChg chg="mod">
          <ac:chgData name="Laura Casadio" userId="66d3dc7e-795b-4a92-887c-7e990ee4a717" providerId="ADAL" clId="{9191A4F2-8941-47C6-967C-515073933828}" dt="2025-03-10T13:19:27.559" v="468" actId="1076"/>
          <ac:spMkLst>
            <pc:docMk/>
            <pc:sldMk cId="2129768714" sldId="2134805975"/>
            <ac:spMk id="19" creationId="{DBCA78F3-70A9-BE0B-8977-ED3BE14D0D10}"/>
          </ac:spMkLst>
        </pc:spChg>
        <pc:spChg chg="mod">
          <ac:chgData name="Laura Casadio" userId="66d3dc7e-795b-4a92-887c-7e990ee4a717" providerId="ADAL" clId="{9191A4F2-8941-47C6-967C-515073933828}" dt="2025-03-10T13:19:27.559" v="468" actId="1076"/>
          <ac:spMkLst>
            <pc:docMk/>
            <pc:sldMk cId="2129768714" sldId="2134805975"/>
            <ac:spMk id="20" creationId="{4532A52D-1BE2-307A-06F0-96FE0E329088}"/>
          </ac:spMkLst>
        </pc:spChg>
        <pc:picChg chg="mod">
          <ac:chgData name="Laura Casadio" userId="66d3dc7e-795b-4a92-887c-7e990ee4a717" providerId="ADAL" clId="{9191A4F2-8941-47C6-967C-515073933828}" dt="2025-03-10T13:19:27.559" v="468" actId="1076"/>
          <ac:picMkLst>
            <pc:docMk/>
            <pc:sldMk cId="2129768714" sldId="2134805975"/>
            <ac:picMk id="14" creationId="{8EC22651-FDBF-2679-5740-52B7FE6CDFAC}"/>
          </ac:picMkLst>
        </pc:picChg>
        <pc:picChg chg="mod">
          <ac:chgData name="Laura Casadio" userId="66d3dc7e-795b-4a92-887c-7e990ee4a717" providerId="ADAL" clId="{9191A4F2-8941-47C6-967C-515073933828}" dt="2025-03-10T13:19:27.559" v="468" actId="1076"/>
          <ac:picMkLst>
            <pc:docMk/>
            <pc:sldMk cId="2129768714" sldId="2134805975"/>
            <ac:picMk id="15" creationId="{9E2382D8-E137-AD3F-402B-1CB15ED3BA91}"/>
          </ac:picMkLst>
        </pc:picChg>
      </pc:sldChg>
      <pc:sldChg chg="addSp modSp mod">
        <pc:chgData name="Laura Casadio" userId="66d3dc7e-795b-4a92-887c-7e990ee4a717" providerId="ADAL" clId="{9191A4F2-8941-47C6-967C-515073933828}" dt="2025-03-10T13:19:13.240" v="467" actId="1076"/>
        <pc:sldMkLst>
          <pc:docMk/>
          <pc:sldMk cId="3546854409" sldId="2134805976"/>
        </pc:sldMkLst>
        <pc:spChg chg="mod">
          <ac:chgData name="Laura Casadio" userId="66d3dc7e-795b-4a92-887c-7e990ee4a717" providerId="ADAL" clId="{9191A4F2-8941-47C6-967C-515073933828}" dt="2025-03-10T13:19:13.240" v="467" actId="1076"/>
          <ac:spMkLst>
            <pc:docMk/>
            <pc:sldMk cId="3546854409" sldId="2134805976"/>
            <ac:spMk id="29" creationId="{8E37EBFC-F1ED-BBD1-7E83-95B1546A8835}"/>
          </ac:spMkLst>
        </pc:spChg>
        <pc:spChg chg="mod">
          <ac:chgData name="Laura Casadio" userId="66d3dc7e-795b-4a92-887c-7e990ee4a717" providerId="ADAL" clId="{9191A4F2-8941-47C6-967C-515073933828}" dt="2025-03-10T13:19:06.816" v="466" actId="1076"/>
          <ac:spMkLst>
            <pc:docMk/>
            <pc:sldMk cId="3546854409" sldId="2134805976"/>
            <ac:spMk id="31" creationId="{1C2B7B96-AFD8-87CC-2286-B167B487525B}"/>
          </ac:spMkLst>
        </pc:spChg>
      </pc:sldChg>
      <pc:sldChg chg="addSp modSp mod">
        <pc:chgData name="Laura Casadio" userId="66d3dc7e-795b-4a92-887c-7e990ee4a717" providerId="ADAL" clId="{9191A4F2-8941-47C6-967C-515073933828}" dt="2025-03-10T14:57:44.841" v="531" actId="1076"/>
        <pc:sldMkLst>
          <pc:docMk/>
          <pc:sldMk cId="2364281794" sldId="2134805979"/>
        </pc:sldMkLst>
        <pc:spChg chg="mod">
          <ac:chgData name="Laura Casadio" userId="66d3dc7e-795b-4a92-887c-7e990ee4a717" providerId="ADAL" clId="{9191A4F2-8941-47C6-967C-515073933828}" dt="2025-03-10T14:56:58.608" v="513" actId="1035"/>
          <ac:spMkLst>
            <pc:docMk/>
            <pc:sldMk cId="2364281794" sldId="2134805979"/>
            <ac:spMk id="5" creationId="{C2EC2384-6CFA-EFCE-6EA8-2EF1C61E60C6}"/>
          </ac:spMkLst>
        </pc:spChg>
        <pc:spChg chg="add mod">
          <ac:chgData name="Laura Casadio" userId="66d3dc7e-795b-4a92-887c-7e990ee4a717" providerId="ADAL" clId="{9191A4F2-8941-47C6-967C-515073933828}" dt="2025-03-10T14:57:44.841" v="531" actId="1076"/>
          <ac:spMkLst>
            <pc:docMk/>
            <pc:sldMk cId="2364281794" sldId="2134805979"/>
            <ac:spMk id="6" creationId="{F9549394-92EE-A54E-0E4D-1EBF618CC757}"/>
          </ac:spMkLst>
        </pc:spChg>
        <pc:spChg chg="mod">
          <ac:chgData name="Laura Casadio" userId="66d3dc7e-795b-4a92-887c-7e990ee4a717" providerId="ADAL" clId="{9191A4F2-8941-47C6-967C-515073933828}" dt="2025-03-10T14:56:58.608" v="513" actId="1035"/>
          <ac:spMkLst>
            <pc:docMk/>
            <pc:sldMk cId="2364281794" sldId="2134805979"/>
            <ac:spMk id="9" creationId="{2B2BC842-20B8-3A9F-DEDC-0FCF2AAB2A5B}"/>
          </ac:spMkLst>
        </pc:spChg>
        <pc:spChg chg="mod">
          <ac:chgData name="Laura Casadio" userId="66d3dc7e-795b-4a92-887c-7e990ee4a717" providerId="ADAL" clId="{9191A4F2-8941-47C6-967C-515073933828}" dt="2025-03-10T14:57:10.641" v="515" actId="14100"/>
          <ac:spMkLst>
            <pc:docMk/>
            <pc:sldMk cId="2364281794" sldId="2134805979"/>
            <ac:spMk id="10" creationId="{4AC399DE-D4E4-C4AF-59E7-215433152576}"/>
          </ac:spMkLst>
        </pc:spChg>
        <pc:spChg chg="mod">
          <ac:chgData name="Laura Casadio" userId="66d3dc7e-795b-4a92-887c-7e990ee4a717" providerId="ADAL" clId="{9191A4F2-8941-47C6-967C-515073933828}" dt="2025-03-10T14:56:58.608" v="513" actId="1035"/>
          <ac:spMkLst>
            <pc:docMk/>
            <pc:sldMk cId="2364281794" sldId="2134805979"/>
            <ac:spMk id="12" creationId="{8104ACB1-5F29-09AB-4527-8EACD2F2C399}"/>
          </ac:spMkLst>
        </pc:spChg>
        <pc:spChg chg="mod">
          <ac:chgData name="Laura Casadio" userId="66d3dc7e-795b-4a92-887c-7e990ee4a717" providerId="ADAL" clId="{9191A4F2-8941-47C6-967C-515073933828}" dt="2025-03-10T14:57:14.162" v="516" actId="14100"/>
          <ac:spMkLst>
            <pc:docMk/>
            <pc:sldMk cId="2364281794" sldId="2134805979"/>
            <ac:spMk id="13" creationId="{9C83B014-365B-CE5F-61B1-D0323B12113D}"/>
          </ac:spMkLst>
        </pc:spChg>
        <pc:spChg chg="mod">
          <ac:chgData name="Laura Casadio" userId="66d3dc7e-795b-4a92-887c-7e990ee4a717" providerId="ADAL" clId="{9191A4F2-8941-47C6-967C-515073933828}" dt="2025-03-10T14:56:58.608" v="513" actId="1035"/>
          <ac:spMkLst>
            <pc:docMk/>
            <pc:sldMk cId="2364281794" sldId="2134805979"/>
            <ac:spMk id="14" creationId="{A784AE07-A3E2-0B65-9640-DB486D1163D3}"/>
          </ac:spMkLst>
        </pc:spChg>
        <pc:spChg chg="mod">
          <ac:chgData name="Laura Casadio" userId="66d3dc7e-795b-4a92-887c-7e990ee4a717" providerId="ADAL" clId="{9191A4F2-8941-47C6-967C-515073933828}" dt="2025-03-10T14:56:58.608" v="513" actId="1035"/>
          <ac:spMkLst>
            <pc:docMk/>
            <pc:sldMk cId="2364281794" sldId="2134805979"/>
            <ac:spMk id="15" creationId="{A36CABAC-9262-EAC8-4CE5-B2DE2C981329}"/>
          </ac:spMkLst>
        </pc:spChg>
        <pc:spChg chg="mod">
          <ac:chgData name="Laura Casadio" userId="66d3dc7e-795b-4a92-887c-7e990ee4a717" providerId="ADAL" clId="{9191A4F2-8941-47C6-967C-515073933828}" dt="2025-03-10T14:56:58.608" v="513" actId="1035"/>
          <ac:spMkLst>
            <pc:docMk/>
            <pc:sldMk cId="2364281794" sldId="2134805979"/>
            <ac:spMk id="16" creationId="{E429BA8F-4FDB-42AA-DDB3-4E785B6CB7C3}"/>
          </ac:spMkLst>
        </pc:spChg>
        <pc:spChg chg="mod">
          <ac:chgData name="Laura Casadio" userId="66d3dc7e-795b-4a92-887c-7e990ee4a717" providerId="ADAL" clId="{9191A4F2-8941-47C6-967C-515073933828}" dt="2025-03-10T14:57:05.357" v="514" actId="14100"/>
          <ac:spMkLst>
            <pc:docMk/>
            <pc:sldMk cId="2364281794" sldId="2134805979"/>
            <ac:spMk id="66" creationId="{E3D66219-C056-79DF-43B6-AD9C57CCEB15}"/>
          </ac:spMkLst>
        </pc:spChg>
        <pc:spChg chg="mod">
          <ac:chgData name="Laura Casadio" userId="66d3dc7e-795b-4a92-887c-7e990ee4a717" providerId="ADAL" clId="{9191A4F2-8941-47C6-967C-515073933828}" dt="2025-03-10T14:56:58.608" v="513" actId="1035"/>
          <ac:spMkLst>
            <pc:docMk/>
            <pc:sldMk cId="2364281794" sldId="2134805979"/>
            <ac:spMk id="71" creationId="{2AD15FC7-13C1-7EAF-160A-6AFB645E257B}"/>
          </ac:spMkLst>
        </pc:spChg>
        <pc:picChg chg="add mod">
          <ac:chgData name="Laura Casadio" userId="66d3dc7e-795b-4a92-887c-7e990ee4a717" providerId="ADAL" clId="{9191A4F2-8941-47C6-967C-515073933828}" dt="2025-03-10T14:57:31.755" v="521" actId="1076"/>
          <ac:picMkLst>
            <pc:docMk/>
            <pc:sldMk cId="2364281794" sldId="2134805979"/>
            <ac:picMk id="3" creationId="{8B21A621-E4AE-4AB8-B167-C900183BF557}"/>
          </ac:picMkLst>
        </pc:picChg>
        <pc:picChg chg="mod">
          <ac:chgData name="Laura Casadio" userId="66d3dc7e-795b-4a92-887c-7e990ee4a717" providerId="ADAL" clId="{9191A4F2-8941-47C6-967C-515073933828}" dt="2025-03-10T14:56:58.608" v="513" actId="1035"/>
          <ac:picMkLst>
            <pc:docMk/>
            <pc:sldMk cId="2364281794" sldId="2134805979"/>
            <ac:picMk id="29" creationId="{B2DE51B2-3015-FFF6-BC08-DC4DA2005230}"/>
          </ac:picMkLst>
        </pc:picChg>
        <pc:picChg chg="mod">
          <ac:chgData name="Laura Casadio" userId="66d3dc7e-795b-4a92-887c-7e990ee4a717" providerId="ADAL" clId="{9191A4F2-8941-47C6-967C-515073933828}" dt="2025-03-10T14:56:58.608" v="513" actId="1035"/>
          <ac:picMkLst>
            <pc:docMk/>
            <pc:sldMk cId="2364281794" sldId="2134805979"/>
            <ac:picMk id="30" creationId="{211331C7-4C8E-EC6B-9499-336BED4FA3C0}"/>
          </ac:picMkLst>
        </pc:picChg>
        <pc:picChg chg="mod">
          <ac:chgData name="Laura Casadio" userId="66d3dc7e-795b-4a92-887c-7e990ee4a717" providerId="ADAL" clId="{9191A4F2-8941-47C6-967C-515073933828}" dt="2025-03-10T14:56:58.608" v="513" actId="1035"/>
          <ac:picMkLst>
            <pc:docMk/>
            <pc:sldMk cId="2364281794" sldId="2134805979"/>
            <ac:picMk id="58" creationId="{34DFCC41-C545-78DB-7E26-E92B0371DB9B}"/>
          </ac:picMkLst>
        </pc:picChg>
      </pc:sldChg>
      <pc:sldChg chg="modSp mod">
        <pc:chgData name="Laura Casadio" userId="66d3dc7e-795b-4a92-887c-7e990ee4a717" providerId="ADAL" clId="{9191A4F2-8941-47C6-967C-515073933828}" dt="2025-03-11T13:22:26.174" v="727" actId="20577"/>
        <pc:sldMkLst>
          <pc:docMk/>
          <pc:sldMk cId="3964233397" sldId="2134805980"/>
        </pc:sldMkLst>
        <pc:spChg chg="mod">
          <ac:chgData name="Laura Casadio" userId="66d3dc7e-795b-4a92-887c-7e990ee4a717" providerId="ADAL" clId="{9191A4F2-8941-47C6-967C-515073933828}" dt="2025-03-11T13:22:26.174" v="727" actId="20577"/>
          <ac:spMkLst>
            <pc:docMk/>
            <pc:sldMk cId="3964233397" sldId="2134805980"/>
            <ac:spMk id="14" creationId="{1D365FCA-CD1B-9B70-F8CF-510929DD1237}"/>
          </ac:spMkLst>
        </pc:spChg>
        <pc:spChg chg="mod">
          <ac:chgData name="Laura Casadio" userId="66d3dc7e-795b-4a92-887c-7e990ee4a717" providerId="ADAL" clId="{9191A4F2-8941-47C6-967C-515073933828}" dt="2025-03-10T13:20:27.151" v="473" actId="1076"/>
          <ac:spMkLst>
            <pc:docMk/>
            <pc:sldMk cId="3964233397" sldId="2134805980"/>
            <ac:spMk id="16" creationId="{F6660846-EEAB-3357-4467-D5046D08C238}"/>
          </ac:spMkLst>
        </pc:spChg>
        <pc:spChg chg="mod">
          <ac:chgData name="Laura Casadio" userId="66d3dc7e-795b-4a92-887c-7e990ee4a717" providerId="ADAL" clId="{9191A4F2-8941-47C6-967C-515073933828}" dt="2025-03-10T13:20:27.151" v="473" actId="1076"/>
          <ac:spMkLst>
            <pc:docMk/>
            <pc:sldMk cId="3964233397" sldId="2134805980"/>
            <ac:spMk id="20" creationId="{4DF470D2-A451-2DA4-C8B9-80CAD037405B}"/>
          </ac:spMkLst>
        </pc:spChg>
        <pc:spChg chg="mod">
          <ac:chgData name="Laura Casadio" userId="66d3dc7e-795b-4a92-887c-7e990ee4a717" providerId="ADAL" clId="{9191A4F2-8941-47C6-967C-515073933828}" dt="2025-03-10T13:20:27.151" v="473" actId="1076"/>
          <ac:spMkLst>
            <pc:docMk/>
            <pc:sldMk cId="3964233397" sldId="2134805980"/>
            <ac:spMk id="21" creationId="{4F0BFE79-AD9B-3204-27A2-EFA8F2511BB2}"/>
          </ac:spMkLst>
        </pc:spChg>
        <pc:picChg chg="mod">
          <ac:chgData name="Laura Casadio" userId="66d3dc7e-795b-4a92-887c-7e990ee4a717" providerId="ADAL" clId="{9191A4F2-8941-47C6-967C-515073933828}" dt="2025-03-10T13:20:27.151" v="473" actId="1076"/>
          <ac:picMkLst>
            <pc:docMk/>
            <pc:sldMk cId="3964233397" sldId="2134805980"/>
            <ac:picMk id="4" creationId="{472734A7-6F5B-25AF-0AB9-E2CC4B0D07CA}"/>
          </ac:picMkLst>
        </pc:picChg>
        <pc:picChg chg="mod">
          <ac:chgData name="Laura Casadio" userId="66d3dc7e-795b-4a92-887c-7e990ee4a717" providerId="ADAL" clId="{9191A4F2-8941-47C6-967C-515073933828}" dt="2025-03-10T13:20:27.151" v="473" actId="1076"/>
          <ac:picMkLst>
            <pc:docMk/>
            <pc:sldMk cId="3964233397" sldId="2134805980"/>
            <ac:picMk id="8" creationId="{D24A2E13-C904-2D8B-C6F8-E32B51407BA9}"/>
          </ac:picMkLst>
        </pc:picChg>
        <pc:picChg chg="mod">
          <ac:chgData name="Laura Casadio" userId="66d3dc7e-795b-4a92-887c-7e990ee4a717" providerId="ADAL" clId="{9191A4F2-8941-47C6-967C-515073933828}" dt="2025-03-10T13:20:27.151" v="473" actId="1076"/>
          <ac:picMkLst>
            <pc:docMk/>
            <pc:sldMk cId="3964233397" sldId="2134805980"/>
            <ac:picMk id="30" creationId="{211331C7-4C8E-EC6B-9499-336BED4FA3C0}"/>
          </ac:picMkLst>
        </pc:picChg>
      </pc:sldChg>
      <pc:sldChg chg="addSp modSp mod">
        <pc:chgData name="Laura Casadio" userId="66d3dc7e-795b-4a92-887c-7e990ee4a717" providerId="ADAL" clId="{9191A4F2-8941-47C6-967C-515073933828}" dt="2025-02-13T08:06:44.207" v="271" actId="20577"/>
        <pc:sldMkLst>
          <pc:docMk/>
          <pc:sldMk cId="1879302680" sldId="2134805986"/>
        </pc:sldMkLst>
        <pc:spChg chg="add mod">
          <ac:chgData name="Laura Casadio" userId="66d3dc7e-795b-4a92-887c-7e990ee4a717" providerId="ADAL" clId="{9191A4F2-8941-47C6-967C-515073933828}" dt="2025-02-13T08:06:44.207" v="271" actId="20577"/>
          <ac:spMkLst>
            <pc:docMk/>
            <pc:sldMk cId="1879302680" sldId="2134805986"/>
            <ac:spMk id="3" creationId="{0B68372C-7D6F-2AE6-5971-771E63A1678E}"/>
          </ac:spMkLst>
        </pc:spChg>
      </pc:sldChg>
      <pc:sldChg chg="addSp modSp mod">
        <pc:chgData name="Laura Casadio" userId="66d3dc7e-795b-4a92-887c-7e990ee4a717" providerId="ADAL" clId="{9191A4F2-8941-47C6-967C-515073933828}" dt="2025-02-10T21:12:43.368" v="59" actId="1035"/>
        <pc:sldMkLst>
          <pc:docMk/>
          <pc:sldMk cId="2483803822" sldId="2134805989"/>
        </pc:sldMkLst>
        <pc:spChg chg="mod">
          <ac:chgData name="Laura Casadio" userId="66d3dc7e-795b-4a92-887c-7e990ee4a717" providerId="ADAL" clId="{9191A4F2-8941-47C6-967C-515073933828}" dt="2025-02-10T21:10:32.311" v="39" actId="1035"/>
          <ac:spMkLst>
            <pc:docMk/>
            <pc:sldMk cId="2483803822" sldId="2134805989"/>
            <ac:spMk id="24" creationId="{DC92F888-D6F9-FB98-B293-A5B454772AEB}"/>
          </ac:spMkLst>
        </pc:spChg>
        <pc:spChg chg="mod">
          <ac:chgData name="Laura Casadio" userId="66d3dc7e-795b-4a92-887c-7e990ee4a717" providerId="ADAL" clId="{9191A4F2-8941-47C6-967C-515073933828}" dt="2025-02-10T21:12:43.368" v="59" actId="1035"/>
          <ac:spMkLst>
            <pc:docMk/>
            <pc:sldMk cId="2483803822" sldId="2134805989"/>
            <ac:spMk id="25" creationId="{A64C6C6F-21AA-D3BE-D8E6-6BA31BBF9820}"/>
          </ac:spMkLst>
        </pc:spChg>
        <pc:spChg chg="mod">
          <ac:chgData name="Laura Casadio" userId="66d3dc7e-795b-4a92-887c-7e990ee4a717" providerId="ADAL" clId="{9191A4F2-8941-47C6-967C-515073933828}" dt="2025-02-10T21:10:32.311" v="39" actId="1035"/>
          <ac:spMkLst>
            <pc:docMk/>
            <pc:sldMk cId="2483803822" sldId="2134805989"/>
            <ac:spMk id="27" creationId="{6C5C5021-03B1-CB5C-D6C8-45A92CB44F2D}"/>
          </ac:spMkLst>
        </pc:spChg>
        <pc:picChg chg="mod">
          <ac:chgData name="Laura Casadio" userId="66d3dc7e-795b-4a92-887c-7e990ee4a717" providerId="ADAL" clId="{9191A4F2-8941-47C6-967C-515073933828}" dt="2025-02-10T21:10:32.311" v="39" actId="1035"/>
          <ac:picMkLst>
            <pc:docMk/>
            <pc:sldMk cId="2483803822" sldId="2134805989"/>
            <ac:picMk id="2" creationId="{23E643E8-AE93-4D0F-8392-902BEB789432}"/>
          </ac:picMkLst>
        </pc:picChg>
        <pc:picChg chg="mod">
          <ac:chgData name="Laura Casadio" userId="66d3dc7e-795b-4a92-887c-7e990ee4a717" providerId="ADAL" clId="{9191A4F2-8941-47C6-967C-515073933828}" dt="2025-02-10T21:10:32.311" v="39" actId="1035"/>
          <ac:picMkLst>
            <pc:docMk/>
            <pc:sldMk cId="2483803822" sldId="2134805989"/>
            <ac:picMk id="8" creationId="{D2BBB641-3562-AC32-A1DE-ED2C3639D0AB}"/>
          </ac:picMkLst>
        </pc:picChg>
        <pc:picChg chg="mod">
          <ac:chgData name="Laura Casadio" userId="66d3dc7e-795b-4a92-887c-7e990ee4a717" providerId="ADAL" clId="{9191A4F2-8941-47C6-967C-515073933828}" dt="2025-02-10T21:10:32.311" v="39" actId="1035"/>
          <ac:picMkLst>
            <pc:docMk/>
            <pc:sldMk cId="2483803822" sldId="2134805989"/>
            <ac:picMk id="23" creationId="{6F2020A6-DA68-A6AE-E8DF-94F441E2FC05}"/>
          </ac:picMkLst>
        </pc:picChg>
      </pc:sldChg>
      <pc:sldChg chg="modSp mod">
        <pc:chgData name="Laura Casadio" userId="66d3dc7e-795b-4a92-887c-7e990ee4a717" providerId="ADAL" clId="{9191A4F2-8941-47C6-967C-515073933828}" dt="2025-03-03T12:45:30.565" v="455" actId="20577"/>
        <pc:sldMkLst>
          <pc:docMk/>
          <pc:sldMk cId="2897335782" sldId="2134805995"/>
        </pc:sldMkLst>
        <pc:spChg chg="mod">
          <ac:chgData name="Laura Casadio" userId="66d3dc7e-795b-4a92-887c-7e990ee4a717" providerId="ADAL" clId="{9191A4F2-8941-47C6-967C-515073933828}" dt="2025-03-03T12:45:30.565" v="455" actId="20577"/>
          <ac:spMkLst>
            <pc:docMk/>
            <pc:sldMk cId="2897335782" sldId="2134805995"/>
            <ac:spMk id="6" creationId="{8304188E-AF24-A51E-41DD-5C0C9E5A5EA2}"/>
          </ac:spMkLst>
        </pc:spChg>
      </pc:sldChg>
      <pc:sldChg chg="modSp mod">
        <pc:chgData name="Laura Casadio" userId="66d3dc7e-795b-4a92-887c-7e990ee4a717" providerId="ADAL" clId="{9191A4F2-8941-47C6-967C-515073933828}" dt="2025-03-10T13:20:03.783" v="472" actId="1076"/>
        <pc:sldMkLst>
          <pc:docMk/>
          <pc:sldMk cId="1104744956" sldId="2134805998"/>
        </pc:sldMkLst>
        <pc:spChg chg="mod">
          <ac:chgData name="Laura Casadio" userId="66d3dc7e-795b-4a92-887c-7e990ee4a717" providerId="ADAL" clId="{9191A4F2-8941-47C6-967C-515073933828}" dt="2025-03-10T13:19:56.318" v="471" actId="1076"/>
          <ac:spMkLst>
            <pc:docMk/>
            <pc:sldMk cId="1104744956" sldId="2134805998"/>
            <ac:spMk id="9" creationId="{FA9449C1-A6F2-61B8-D5D1-31DC0C841929}"/>
          </ac:spMkLst>
        </pc:spChg>
        <pc:spChg chg="mod">
          <ac:chgData name="Laura Casadio" userId="66d3dc7e-795b-4a92-887c-7e990ee4a717" providerId="ADAL" clId="{9191A4F2-8941-47C6-967C-515073933828}" dt="2025-03-10T13:19:56.318" v="471" actId="1076"/>
          <ac:spMkLst>
            <pc:docMk/>
            <pc:sldMk cId="1104744956" sldId="2134805998"/>
            <ac:spMk id="12" creationId="{5AAA6515-6968-1541-7BD7-EC3605CE65D5}"/>
          </ac:spMkLst>
        </pc:spChg>
        <pc:spChg chg="mod">
          <ac:chgData name="Laura Casadio" userId="66d3dc7e-795b-4a92-887c-7e990ee4a717" providerId="ADAL" clId="{9191A4F2-8941-47C6-967C-515073933828}" dt="2025-03-10T13:20:03.783" v="472" actId="1076"/>
          <ac:spMkLst>
            <pc:docMk/>
            <pc:sldMk cId="1104744956" sldId="2134805998"/>
            <ac:spMk id="32" creationId="{994CC8ED-BB7C-7D56-971B-3557A5F823D4}"/>
          </ac:spMkLst>
        </pc:spChg>
        <pc:spChg chg="mod">
          <ac:chgData name="Laura Casadio" userId="66d3dc7e-795b-4a92-887c-7e990ee4a717" providerId="ADAL" clId="{9191A4F2-8941-47C6-967C-515073933828}" dt="2025-03-10T13:20:03.783" v="472" actId="1076"/>
          <ac:spMkLst>
            <pc:docMk/>
            <pc:sldMk cId="1104744956" sldId="2134805998"/>
            <ac:spMk id="33" creationId="{239AE4AA-9728-09F9-DAB4-690778895FF3}"/>
          </ac:spMkLst>
        </pc:spChg>
      </pc:sldChg>
      <pc:sldChg chg="addSp delSp modSp mod ord">
        <pc:chgData name="Laura Casadio" userId="66d3dc7e-795b-4a92-887c-7e990ee4a717" providerId="ADAL" clId="{9191A4F2-8941-47C6-967C-515073933828}" dt="2025-03-10T15:05:14.308" v="580" actId="478"/>
        <pc:sldMkLst>
          <pc:docMk/>
          <pc:sldMk cId="3700847209" sldId="2134805999"/>
        </pc:sldMkLst>
        <pc:spChg chg="mod">
          <ac:chgData name="Laura Casadio" userId="66d3dc7e-795b-4a92-887c-7e990ee4a717" providerId="ADAL" clId="{9191A4F2-8941-47C6-967C-515073933828}" dt="2025-03-03T12:42:30.899" v="408" actId="20577"/>
          <ac:spMkLst>
            <pc:docMk/>
            <pc:sldMk cId="3700847209" sldId="2134805999"/>
            <ac:spMk id="6" creationId="{8304188E-AF24-A51E-41DD-5C0C9E5A5EA2}"/>
          </ac:spMkLst>
        </pc:spChg>
        <pc:spChg chg="mod">
          <ac:chgData name="Laura Casadio" userId="66d3dc7e-795b-4a92-887c-7e990ee4a717" providerId="ADAL" clId="{9191A4F2-8941-47C6-967C-515073933828}" dt="2025-03-03T12:39:58.597" v="328" actId="14100"/>
          <ac:spMkLst>
            <pc:docMk/>
            <pc:sldMk cId="3700847209" sldId="2134805999"/>
            <ac:spMk id="10" creationId="{4AC399DE-D4E4-C4AF-59E7-215433152576}"/>
          </ac:spMkLst>
        </pc:spChg>
      </pc:sldChg>
      <pc:sldChg chg="delSp modSp mod">
        <pc:chgData name="Laura Casadio" userId="66d3dc7e-795b-4a92-887c-7e990ee4a717" providerId="ADAL" clId="{9191A4F2-8941-47C6-967C-515073933828}" dt="2025-02-20T08:22:53.052" v="308" actId="1036"/>
        <pc:sldMkLst>
          <pc:docMk/>
          <pc:sldMk cId="3088050963" sldId="2134806010"/>
        </pc:sldMkLst>
        <pc:spChg chg="mod">
          <ac:chgData name="Laura Casadio" userId="66d3dc7e-795b-4a92-887c-7e990ee4a717" providerId="ADAL" clId="{9191A4F2-8941-47C6-967C-515073933828}" dt="2025-02-20T08:22:53.052" v="308" actId="1036"/>
          <ac:spMkLst>
            <pc:docMk/>
            <pc:sldMk cId="3088050963" sldId="2134806010"/>
            <ac:spMk id="3" creationId="{24140D50-86BA-3C88-8591-E528283D080C}"/>
          </ac:spMkLst>
        </pc:spChg>
        <pc:spChg chg="mod">
          <ac:chgData name="Laura Casadio" userId="66d3dc7e-795b-4a92-887c-7e990ee4a717" providerId="ADAL" clId="{9191A4F2-8941-47C6-967C-515073933828}" dt="2025-02-20T08:22:53.052" v="308" actId="1036"/>
          <ac:spMkLst>
            <pc:docMk/>
            <pc:sldMk cId="3088050963" sldId="2134806010"/>
            <ac:spMk id="17" creationId="{5794F48F-E8C0-7454-5F38-DC66B103FB88}"/>
          </ac:spMkLst>
        </pc:spChg>
        <pc:spChg chg="mod">
          <ac:chgData name="Laura Casadio" userId="66d3dc7e-795b-4a92-887c-7e990ee4a717" providerId="ADAL" clId="{9191A4F2-8941-47C6-967C-515073933828}" dt="2025-02-20T08:22:53.052" v="308" actId="1036"/>
          <ac:spMkLst>
            <pc:docMk/>
            <pc:sldMk cId="3088050963" sldId="2134806010"/>
            <ac:spMk id="18" creationId="{E7B7A537-5BC2-B59A-E5A0-74EB5CA9928C}"/>
          </ac:spMkLst>
        </pc:spChg>
      </pc:sldChg>
      <pc:sldChg chg="modSp">
        <pc:chgData name="Laura Casadio" userId="66d3dc7e-795b-4a92-887c-7e990ee4a717" providerId="ADAL" clId="{9191A4F2-8941-47C6-967C-515073933828}" dt="2025-03-10T15:08:42.500" v="610" actId="14100"/>
        <pc:sldMkLst>
          <pc:docMk/>
          <pc:sldMk cId="2931584499" sldId="2134806011"/>
        </pc:sldMkLst>
        <pc:picChg chg="mod">
          <ac:chgData name="Laura Casadio" userId="66d3dc7e-795b-4a92-887c-7e990ee4a717" providerId="ADAL" clId="{9191A4F2-8941-47C6-967C-515073933828}" dt="2025-03-10T15:08:42.500" v="610" actId="14100"/>
          <ac:picMkLst>
            <pc:docMk/>
            <pc:sldMk cId="2931584499" sldId="2134806011"/>
            <ac:picMk id="22" creationId="{85E6D024-583C-F34A-FBB8-41F4063C3FDA}"/>
          </ac:picMkLst>
        </pc:picChg>
      </pc:sldChg>
      <pc:sldChg chg="modSp mod">
        <pc:chgData name="Laura Casadio" userId="66d3dc7e-795b-4a92-887c-7e990ee4a717" providerId="ADAL" clId="{9191A4F2-8941-47C6-967C-515073933828}" dt="2025-02-25T14:52:50.549" v="317" actId="20577"/>
        <pc:sldMkLst>
          <pc:docMk/>
          <pc:sldMk cId="2328368962" sldId="2134806013"/>
        </pc:sldMkLst>
        <pc:spChg chg="mod">
          <ac:chgData name="Laura Casadio" userId="66d3dc7e-795b-4a92-887c-7e990ee4a717" providerId="ADAL" clId="{9191A4F2-8941-47C6-967C-515073933828}" dt="2025-02-25T14:52:50.549" v="317" actId="20577"/>
          <ac:spMkLst>
            <pc:docMk/>
            <pc:sldMk cId="2328368962" sldId="2134806013"/>
            <ac:spMk id="6" creationId="{2B778E66-9420-FB9B-5D50-1D3F8F7988A7}"/>
          </ac:spMkLst>
        </pc:spChg>
      </pc:sldChg>
      <pc:sldChg chg="addSp modSp mod">
        <pc:chgData name="Laura Casadio" userId="66d3dc7e-795b-4a92-887c-7e990ee4a717" providerId="ADAL" clId="{9191A4F2-8941-47C6-967C-515073933828}" dt="2025-03-10T15:12:59.150" v="723" actId="1035"/>
        <pc:sldMkLst>
          <pc:docMk/>
          <pc:sldMk cId="2881419956" sldId="2134806015"/>
        </pc:sldMkLst>
      </pc:sldChg>
      <pc:sldChg chg="delSp mod">
        <pc:chgData name="Laura Casadio" userId="66d3dc7e-795b-4a92-887c-7e990ee4a717" providerId="ADAL" clId="{9191A4F2-8941-47C6-967C-515073933828}" dt="2025-02-18T15:16:00.510" v="303" actId="478"/>
        <pc:sldMkLst>
          <pc:docMk/>
          <pc:sldMk cId="36743179" sldId="2134806016"/>
        </pc:sldMkLst>
      </pc:sldChg>
      <pc:sldChg chg="modSp mod">
        <pc:chgData name="Laura Casadio" userId="66d3dc7e-795b-4a92-887c-7e990ee4a717" providerId="ADAL" clId="{9191A4F2-8941-47C6-967C-515073933828}" dt="2025-02-11T09:53:16.669" v="266" actId="1076"/>
        <pc:sldMkLst>
          <pc:docMk/>
          <pc:sldMk cId="2398141139" sldId="2134806020"/>
        </pc:sldMkLst>
        <pc:spChg chg="mod">
          <ac:chgData name="Laura Casadio" userId="66d3dc7e-795b-4a92-887c-7e990ee4a717" providerId="ADAL" clId="{9191A4F2-8941-47C6-967C-515073933828}" dt="2025-02-11T09:53:16.669" v="266" actId="1076"/>
          <ac:spMkLst>
            <pc:docMk/>
            <pc:sldMk cId="2398141139" sldId="2134806020"/>
            <ac:spMk id="21" creationId="{93B4EDB5-1875-42E9-7285-54B0174B4E42}"/>
          </ac:spMkLst>
        </pc:spChg>
      </pc:sldChg>
      <pc:sldChg chg="delSp modSp mod">
        <pc:chgData name="Laura Casadio" userId="66d3dc7e-795b-4a92-887c-7e990ee4a717" providerId="ADAL" clId="{9191A4F2-8941-47C6-967C-515073933828}" dt="2025-02-11T09:58:45.102" v="267" actId="478"/>
        <pc:sldMkLst>
          <pc:docMk/>
          <pc:sldMk cId="3546132926" sldId="2134806024"/>
        </pc:sldMkLst>
        <pc:spChg chg="mod">
          <ac:chgData name="Laura Casadio" userId="66d3dc7e-795b-4a92-887c-7e990ee4a717" providerId="ADAL" clId="{9191A4F2-8941-47C6-967C-515073933828}" dt="2025-02-10T21:10:56.662" v="52" actId="1035"/>
          <ac:spMkLst>
            <pc:docMk/>
            <pc:sldMk cId="3546132926" sldId="2134806024"/>
            <ac:spMk id="15" creationId="{1AA69007-B1E3-CDF7-1929-529AB2B8D7E1}"/>
          </ac:spMkLst>
        </pc:spChg>
        <pc:spChg chg="mod">
          <ac:chgData name="Laura Casadio" userId="66d3dc7e-795b-4a92-887c-7e990ee4a717" providerId="ADAL" clId="{9191A4F2-8941-47C6-967C-515073933828}" dt="2025-02-10T21:10:53.304" v="46" actId="1035"/>
          <ac:spMkLst>
            <pc:docMk/>
            <pc:sldMk cId="3546132926" sldId="2134806024"/>
            <ac:spMk id="31" creationId="{80787BF6-2617-D46C-8FC9-B274441E739C}"/>
          </ac:spMkLst>
        </pc:spChg>
      </pc:sldChg>
      <pc:sldChg chg="addSp delSp modSp add mod">
        <pc:chgData name="Laura Casadio" userId="66d3dc7e-795b-4a92-887c-7e990ee4a717" providerId="ADAL" clId="{9191A4F2-8941-47C6-967C-515073933828}" dt="2025-03-11T13:23:09.441" v="729" actId="20577"/>
        <pc:sldMkLst>
          <pc:docMk/>
          <pc:sldMk cId="491730171" sldId="2134806029"/>
        </pc:sldMkLst>
        <pc:spChg chg="add mod">
          <ac:chgData name="Laura Casadio" userId="66d3dc7e-795b-4a92-887c-7e990ee4a717" providerId="ADAL" clId="{9191A4F2-8941-47C6-967C-515073933828}" dt="2025-03-11T13:23:09.441" v="729" actId="20577"/>
          <ac:spMkLst>
            <pc:docMk/>
            <pc:sldMk cId="491730171" sldId="2134806029"/>
            <ac:spMk id="2" creationId="{42A78225-21F3-A822-971E-E1305B377D67}"/>
          </ac:spMkLst>
        </pc:spChg>
        <pc:spChg chg="mod">
          <ac:chgData name="Laura Casadio" userId="66d3dc7e-795b-4a92-887c-7e990ee4a717" providerId="ADAL" clId="{9191A4F2-8941-47C6-967C-515073933828}" dt="2025-03-03T12:43:22.704" v="413" actId="14100"/>
          <ac:spMkLst>
            <pc:docMk/>
            <pc:sldMk cId="491730171" sldId="2134806029"/>
            <ac:spMk id="4" creationId="{A1FC20BB-C57E-EF65-0E0E-885BFEFE7739}"/>
          </ac:spMkLst>
        </pc:spChg>
        <pc:spChg chg="mod">
          <ac:chgData name="Laura Casadio" userId="66d3dc7e-795b-4a92-887c-7e990ee4a717" providerId="ADAL" clId="{9191A4F2-8941-47C6-967C-515073933828}" dt="2025-03-03T12:45:40.129" v="460" actId="20577"/>
          <ac:spMkLst>
            <pc:docMk/>
            <pc:sldMk cId="491730171" sldId="2134806029"/>
            <ac:spMk id="6" creationId="{86DD99DE-5D3D-17B3-F1DB-8D68BA897A43}"/>
          </ac:spMkLst>
        </pc:spChg>
        <pc:spChg chg="add mod">
          <ac:chgData name="Laura Casadio" userId="66d3dc7e-795b-4a92-887c-7e990ee4a717" providerId="ADAL" clId="{9191A4F2-8941-47C6-967C-515073933828}" dt="2025-03-10T15:09:18.517" v="623" actId="20577"/>
          <ac:spMkLst>
            <pc:docMk/>
            <pc:sldMk cId="491730171" sldId="2134806029"/>
            <ac:spMk id="7" creationId="{94F638AD-A0C4-E0E5-0037-DF366CDC71BA}"/>
          </ac:spMkLst>
        </pc:spChg>
        <pc:spChg chg="add mod">
          <ac:chgData name="Laura Casadio" userId="66d3dc7e-795b-4a92-887c-7e990ee4a717" providerId="ADAL" clId="{9191A4F2-8941-47C6-967C-515073933828}" dt="2025-03-10T15:09:49.591" v="627" actId="20577"/>
          <ac:spMkLst>
            <pc:docMk/>
            <pc:sldMk cId="491730171" sldId="2134806029"/>
            <ac:spMk id="8" creationId="{A26A3183-7158-F02E-C8A2-4865D33AB263}"/>
          </ac:spMkLst>
        </pc:spChg>
        <pc:spChg chg="mod">
          <ac:chgData name="Laura Casadio" userId="66d3dc7e-795b-4a92-887c-7e990ee4a717" providerId="ADAL" clId="{9191A4F2-8941-47C6-967C-515073933828}" dt="2025-03-03T12:43:36.777" v="415" actId="14100"/>
          <ac:spMkLst>
            <pc:docMk/>
            <pc:sldMk cId="491730171" sldId="2134806029"/>
            <ac:spMk id="17" creationId="{BB3B439C-71AB-45F3-450E-6EAE4383BE5B}"/>
          </ac:spMkLst>
        </pc:spChg>
        <pc:spChg chg="mod">
          <ac:chgData name="Laura Casadio" userId="66d3dc7e-795b-4a92-887c-7e990ee4a717" providerId="ADAL" clId="{9191A4F2-8941-47C6-967C-515073933828}" dt="2025-03-03T12:43:16.551" v="412" actId="1076"/>
          <ac:spMkLst>
            <pc:docMk/>
            <pc:sldMk cId="491730171" sldId="2134806029"/>
            <ac:spMk id="19" creationId="{5E4C37AB-32A0-076D-0760-A1D391660C7C}"/>
          </ac:spMkLst>
        </pc:spChg>
        <pc:spChg chg="mod">
          <ac:chgData name="Laura Casadio" userId="66d3dc7e-795b-4a92-887c-7e990ee4a717" providerId="ADAL" clId="{9191A4F2-8941-47C6-967C-515073933828}" dt="2025-03-03T12:43:16.551" v="412" actId="1076"/>
          <ac:spMkLst>
            <pc:docMk/>
            <pc:sldMk cId="491730171" sldId="2134806029"/>
            <ac:spMk id="20" creationId="{015DC701-FE46-29DD-01CC-48352A4EAAC6}"/>
          </ac:spMkLst>
        </pc:spChg>
        <pc:spChg chg="mod">
          <ac:chgData name="Laura Casadio" userId="66d3dc7e-795b-4a92-887c-7e990ee4a717" providerId="ADAL" clId="{9191A4F2-8941-47C6-967C-515073933828}" dt="2025-03-03T12:43:16.551" v="412" actId="1076"/>
          <ac:spMkLst>
            <pc:docMk/>
            <pc:sldMk cId="491730171" sldId="2134806029"/>
            <ac:spMk id="21" creationId="{98AF24FB-DD3D-5751-434B-29E6F1D5B46D}"/>
          </ac:spMkLst>
        </pc:spChg>
        <pc:spChg chg="mod">
          <ac:chgData name="Laura Casadio" userId="66d3dc7e-795b-4a92-887c-7e990ee4a717" providerId="ADAL" clId="{9191A4F2-8941-47C6-967C-515073933828}" dt="2025-03-03T12:43:16.551" v="412" actId="1076"/>
          <ac:spMkLst>
            <pc:docMk/>
            <pc:sldMk cId="491730171" sldId="2134806029"/>
            <ac:spMk id="24" creationId="{CBD2C152-5109-CA4A-1E0F-C90CA024316D}"/>
          </ac:spMkLst>
        </pc:spChg>
        <pc:spChg chg="mod">
          <ac:chgData name="Laura Casadio" userId="66d3dc7e-795b-4a92-887c-7e990ee4a717" providerId="ADAL" clId="{9191A4F2-8941-47C6-967C-515073933828}" dt="2025-03-03T12:43:16.551" v="412" actId="1076"/>
          <ac:spMkLst>
            <pc:docMk/>
            <pc:sldMk cId="491730171" sldId="2134806029"/>
            <ac:spMk id="26" creationId="{66B1EE08-BCDF-C470-B523-8A80AA5B1C5F}"/>
          </ac:spMkLst>
        </pc:spChg>
        <pc:spChg chg="mod">
          <ac:chgData name="Laura Casadio" userId="66d3dc7e-795b-4a92-887c-7e990ee4a717" providerId="ADAL" clId="{9191A4F2-8941-47C6-967C-515073933828}" dt="2025-03-03T12:43:16.551" v="412" actId="1076"/>
          <ac:spMkLst>
            <pc:docMk/>
            <pc:sldMk cId="491730171" sldId="2134806029"/>
            <ac:spMk id="28" creationId="{314AF2F2-D46E-7570-228D-CB98D7AAC81E}"/>
          </ac:spMkLst>
        </pc:spChg>
        <pc:spChg chg="mod">
          <ac:chgData name="Laura Casadio" userId="66d3dc7e-795b-4a92-887c-7e990ee4a717" providerId="ADAL" clId="{9191A4F2-8941-47C6-967C-515073933828}" dt="2025-03-03T12:42:47.456" v="411" actId="14100"/>
          <ac:spMkLst>
            <pc:docMk/>
            <pc:sldMk cId="491730171" sldId="2134806029"/>
            <ac:spMk id="29" creationId="{3E5E717A-5615-47A1-D0E2-F4F5515D01A5}"/>
          </ac:spMkLst>
        </pc:spChg>
        <pc:picChg chg="add mod">
          <ac:chgData name="Laura Casadio" userId="66d3dc7e-795b-4a92-887c-7e990ee4a717" providerId="ADAL" clId="{9191A4F2-8941-47C6-967C-515073933828}" dt="2025-03-10T15:09:09.378" v="618" actId="1076"/>
          <ac:picMkLst>
            <pc:docMk/>
            <pc:sldMk cId="491730171" sldId="2134806029"/>
            <ac:picMk id="3" creationId="{FB8E9462-8EBA-40BE-8A14-2A8A32BA923D}"/>
          </ac:picMkLst>
        </pc:picChg>
      </pc:sldChg>
    </pc:docChg>
  </pc:docChgLst>
  <pc:docChgLst>
    <pc:chgData name="Benjámin Bakos" userId="43e20cc1-df8c-4a8b-907a-600566fd3664" providerId="ADAL" clId="{7B4E2604-F364-472F-B5D7-845B921A05C6}"/>
    <pc:docChg chg="undo modSld">
      <pc:chgData name="Benjámin Bakos" userId="43e20cc1-df8c-4a8b-907a-600566fd3664" providerId="ADAL" clId="{7B4E2604-F364-472F-B5D7-845B921A05C6}" dt="2025-04-23T08:42:34.752" v="7" actId="14100"/>
      <pc:docMkLst>
        <pc:docMk/>
      </pc:docMkLst>
      <pc:sldChg chg="modSp mod">
        <pc:chgData name="Benjámin Bakos" userId="43e20cc1-df8c-4a8b-907a-600566fd3664" providerId="ADAL" clId="{7B4E2604-F364-472F-B5D7-845B921A05C6}" dt="2025-04-23T08:41:53.280" v="5" actId="14100"/>
        <pc:sldMkLst>
          <pc:docMk/>
          <pc:sldMk cId="3907843048" sldId="2134805937"/>
        </pc:sldMkLst>
        <pc:picChg chg="mod">
          <ac:chgData name="Benjámin Bakos" userId="43e20cc1-df8c-4a8b-907a-600566fd3664" providerId="ADAL" clId="{7B4E2604-F364-472F-B5D7-845B921A05C6}" dt="2025-04-23T08:41:53.280" v="5" actId="14100"/>
          <ac:picMkLst>
            <pc:docMk/>
            <pc:sldMk cId="3907843048" sldId="2134805937"/>
            <ac:picMk id="16" creationId="{8EC08975-8DA2-4C54-2912-0F067DDAAE51}"/>
          </ac:picMkLst>
        </pc:picChg>
      </pc:sldChg>
      <pc:sldChg chg="modSp mod">
        <pc:chgData name="Benjámin Bakos" userId="43e20cc1-df8c-4a8b-907a-600566fd3664" providerId="ADAL" clId="{7B4E2604-F364-472F-B5D7-845B921A05C6}" dt="2025-04-23T08:40:41.975" v="3" actId="14100"/>
        <pc:sldMkLst>
          <pc:docMk/>
          <pc:sldMk cId="1005058865" sldId="2134805977"/>
        </pc:sldMkLst>
        <pc:picChg chg="mod">
          <ac:chgData name="Benjámin Bakos" userId="43e20cc1-df8c-4a8b-907a-600566fd3664" providerId="ADAL" clId="{7B4E2604-F364-472F-B5D7-845B921A05C6}" dt="2025-04-23T08:40:41.975" v="3" actId="14100"/>
          <ac:picMkLst>
            <pc:docMk/>
            <pc:sldMk cId="1005058865" sldId="2134805977"/>
            <ac:picMk id="2" creationId="{55DCF4F8-6A91-B2CF-493F-4CFBAE97BF60}"/>
          </ac:picMkLst>
        </pc:picChg>
        <pc:picChg chg="mod">
          <ac:chgData name="Benjámin Bakos" userId="43e20cc1-df8c-4a8b-907a-600566fd3664" providerId="ADAL" clId="{7B4E2604-F364-472F-B5D7-845B921A05C6}" dt="2025-04-23T08:40:41.975" v="3" actId="14100"/>
          <ac:picMkLst>
            <pc:docMk/>
            <pc:sldMk cId="1005058865" sldId="2134805977"/>
            <ac:picMk id="6" creationId="{3ED7EBE3-DD29-6B51-CC8C-95E3732DCE37}"/>
          </ac:picMkLst>
        </pc:picChg>
      </pc:sldChg>
      <pc:sldChg chg="modSp mod">
        <pc:chgData name="Benjámin Bakos" userId="43e20cc1-df8c-4a8b-907a-600566fd3664" providerId="ADAL" clId="{7B4E2604-F364-472F-B5D7-845B921A05C6}" dt="2025-04-23T08:42:34.752" v="7" actId="14100"/>
        <pc:sldMkLst>
          <pc:docMk/>
          <pc:sldMk cId="831149825" sldId="2134806018"/>
        </pc:sldMkLst>
        <pc:picChg chg="mod">
          <ac:chgData name="Benjámin Bakos" userId="43e20cc1-df8c-4a8b-907a-600566fd3664" providerId="ADAL" clId="{7B4E2604-F364-472F-B5D7-845B921A05C6}" dt="2025-04-23T08:42:34.752" v="7" actId="14100"/>
          <ac:picMkLst>
            <pc:docMk/>
            <pc:sldMk cId="831149825" sldId="2134806018"/>
            <ac:picMk id="5" creationId="{EE4A305C-A4D7-F404-0185-E52A53FA4E9F}"/>
          </ac:picMkLst>
        </pc:picChg>
        <pc:picChg chg="mod">
          <ac:chgData name="Benjámin Bakos" userId="43e20cc1-df8c-4a8b-907a-600566fd3664" providerId="ADAL" clId="{7B4E2604-F364-472F-B5D7-845B921A05C6}" dt="2025-04-23T08:39:53.493" v="1" actId="14100"/>
          <ac:picMkLst>
            <pc:docMk/>
            <pc:sldMk cId="831149825" sldId="2134806018"/>
            <ac:picMk id="6" creationId="{02429394-8C78-1984-66E5-E77A36033631}"/>
          </ac:picMkLst>
        </pc:picChg>
      </pc:sldChg>
    </pc:docChg>
  </pc:docChgLst>
  <pc:docChgLst>
    <pc:chgData name="Igor Vettorello" userId="534004bd-f06e-4d6c-8e65-3c3369d764d0" providerId="ADAL" clId="{393C3745-1D95-4DCB-8604-656B4BFEFEC0}"/>
    <pc:docChg chg="undo custSel modSld">
      <pc:chgData name="Igor Vettorello" userId="534004bd-f06e-4d6c-8e65-3c3369d764d0" providerId="ADAL" clId="{393C3745-1D95-4DCB-8604-656B4BFEFEC0}" dt="2025-02-04T08:56:40.456" v="96" actId="20577"/>
      <pc:docMkLst>
        <pc:docMk/>
      </pc:docMkLst>
      <pc:sldChg chg="addSp modSp mod modShow">
        <pc:chgData name="Igor Vettorello" userId="534004bd-f06e-4d6c-8e65-3c3369d764d0" providerId="ADAL" clId="{393C3745-1D95-4DCB-8604-656B4BFEFEC0}" dt="2025-02-04T08:50:10.247" v="48" actId="729"/>
        <pc:sldMkLst>
          <pc:docMk/>
          <pc:sldMk cId="327601946" sldId="2134805953"/>
        </pc:sldMkLst>
      </pc:sldChg>
      <pc:sldChg chg="addSp modSp mod">
        <pc:chgData name="Igor Vettorello" userId="534004bd-f06e-4d6c-8e65-3c3369d764d0" providerId="ADAL" clId="{393C3745-1D95-4DCB-8604-656B4BFEFEC0}" dt="2025-02-04T08:56:40.456" v="96" actId="20577"/>
        <pc:sldMkLst>
          <pc:docMk/>
          <pc:sldMk cId="2364281794" sldId="2134805979"/>
        </pc:sldMkLst>
        <pc:picChg chg="mod">
          <ac:chgData name="Igor Vettorello" userId="534004bd-f06e-4d6c-8e65-3c3369d764d0" providerId="ADAL" clId="{393C3745-1D95-4DCB-8604-656B4BFEFEC0}" dt="2025-02-04T08:47:05.457" v="14" actId="14100"/>
          <ac:picMkLst>
            <pc:docMk/>
            <pc:sldMk cId="2364281794" sldId="2134805979"/>
            <ac:picMk id="38" creationId="{32F63A19-6B03-0F56-A590-8AC067DAA236}"/>
          </ac:picMkLst>
        </pc:picChg>
      </pc:sldChg>
      <pc:sldChg chg="modSp mod">
        <pc:chgData name="Igor Vettorello" userId="534004bd-f06e-4d6c-8e65-3c3369d764d0" providerId="ADAL" clId="{393C3745-1D95-4DCB-8604-656B4BFEFEC0}" dt="2025-02-04T08:52:52.419" v="86" actId="14100"/>
        <pc:sldMkLst>
          <pc:docMk/>
          <pc:sldMk cId="354827328" sldId="2134805984"/>
        </pc:sldMkLst>
        <pc:picChg chg="mod">
          <ac:chgData name="Igor Vettorello" userId="534004bd-f06e-4d6c-8e65-3c3369d764d0" providerId="ADAL" clId="{393C3745-1D95-4DCB-8604-656B4BFEFEC0}" dt="2025-02-04T08:52:52.419" v="86" actId="14100"/>
          <ac:picMkLst>
            <pc:docMk/>
            <pc:sldMk cId="354827328" sldId="2134805984"/>
            <ac:picMk id="16" creationId="{3F1B3581-866C-2C4E-6337-01037DDD0DE5}"/>
          </ac:picMkLst>
        </pc:picChg>
      </pc:sldChg>
      <pc:sldChg chg="addSp modSp mod">
        <pc:chgData name="Igor Vettorello" userId="534004bd-f06e-4d6c-8e65-3c3369d764d0" providerId="ADAL" clId="{393C3745-1D95-4DCB-8604-656B4BFEFEC0}" dt="2025-02-04T08:48:10.222" v="43" actId="14100"/>
        <pc:sldMkLst>
          <pc:docMk/>
          <pc:sldMk cId="2483803822" sldId="2134805989"/>
        </pc:sldMkLst>
      </pc:sldChg>
      <pc:sldChg chg="delSp mod">
        <pc:chgData name="Igor Vettorello" userId="534004bd-f06e-4d6c-8e65-3c3369d764d0" providerId="ADAL" clId="{393C3745-1D95-4DCB-8604-656B4BFEFEC0}" dt="2025-02-04T08:49:32.031" v="44" actId="478"/>
        <pc:sldMkLst>
          <pc:docMk/>
          <pc:sldMk cId="3255695404" sldId="2134805993"/>
        </pc:sldMkLst>
      </pc:sldChg>
      <pc:sldChg chg="addSp modSp mod">
        <pc:chgData name="Igor Vettorello" userId="534004bd-f06e-4d6c-8e65-3c3369d764d0" providerId="ADAL" clId="{393C3745-1D95-4DCB-8604-656B4BFEFEC0}" dt="2025-02-04T08:50:40.808" v="77" actId="20577"/>
        <pc:sldMkLst>
          <pc:docMk/>
          <pc:sldMk cId="3700847209" sldId="2134805999"/>
        </pc:sldMkLst>
      </pc:sldChg>
      <pc:sldChg chg="delSp mod">
        <pc:chgData name="Igor Vettorello" userId="534004bd-f06e-4d6c-8e65-3c3369d764d0" providerId="ADAL" clId="{393C3745-1D95-4DCB-8604-656B4BFEFEC0}" dt="2025-02-04T08:55:05.644" v="87" actId="478"/>
        <pc:sldMkLst>
          <pc:docMk/>
          <pc:sldMk cId="2267328279" sldId="2134806001"/>
        </pc:sldMkLst>
      </pc:sldChg>
      <pc:sldChg chg="modSp mod">
        <pc:chgData name="Igor Vettorello" userId="534004bd-f06e-4d6c-8e65-3c3369d764d0" providerId="ADAL" clId="{393C3745-1D95-4DCB-8604-656B4BFEFEC0}" dt="2025-02-04T08:56:01.969" v="89" actId="14100"/>
        <pc:sldMkLst>
          <pc:docMk/>
          <pc:sldMk cId="2762555401" sldId="2134806003"/>
        </pc:sldMkLst>
      </pc:sldChg>
      <pc:sldChg chg="addSp delSp modSp mod modShow">
        <pc:chgData name="Igor Vettorello" userId="534004bd-f06e-4d6c-8e65-3c3369d764d0" providerId="ADAL" clId="{393C3745-1D95-4DCB-8604-656B4BFEFEC0}" dt="2025-02-04T08:40:00.117" v="8" actId="729"/>
        <pc:sldMkLst>
          <pc:docMk/>
          <pc:sldMk cId="3609014689" sldId="2134806007"/>
        </pc:sldMkLst>
      </pc:sldChg>
    </pc:docChg>
  </pc:docChgLst>
  <pc:docChgLst>
    <pc:chgData name="Tomas Johannessen" userId="a3097e5c-2310-4bef-aa0a-0ae753910098" providerId="ADAL" clId="{E5C95B88-71B3-4F03-8856-35476236C04A}"/>
    <pc:docChg chg="addSld delSld modSld">
      <pc:chgData name="Tomas Johannessen" userId="a3097e5c-2310-4bef-aa0a-0ae753910098" providerId="ADAL" clId="{E5C95B88-71B3-4F03-8856-35476236C04A}" dt="2025-04-01T11:47:22.599" v="1"/>
      <pc:docMkLst>
        <pc:docMk/>
      </pc:docMkLst>
      <pc:sldChg chg="add del">
        <pc:chgData name="Tomas Johannessen" userId="a3097e5c-2310-4bef-aa0a-0ae753910098" providerId="ADAL" clId="{E5C95B88-71B3-4F03-8856-35476236C04A}" dt="2025-04-01T11:47:22.599" v="1"/>
        <pc:sldMkLst>
          <pc:docMk/>
          <pc:sldMk cId="1851596201" sldId="2134806031"/>
        </pc:sldMkLst>
      </pc:sldChg>
    </pc:docChg>
  </pc:docChgLst>
  <pc:docChgLst>
    <pc:chgData name="Chang Wu" userId="b5f3334d-b408-4abd-bf9e-602c19a714bb" providerId="ADAL" clId="{87856024-45F9-4AB4-A9FB-CFE1FCCD4AAD}"/>
    <pc:docChg chg="undo custSel modSld">
      <pc:chgData name="Chang Wu" userId="b5f3334d-b408-4abd-bf9e-602c19a714bb" providerId="ADAL" clId="{87856024-45F9-4AB4-A9FB-CFE1FCCD4AAD}" dt="2025-02-03T08:33:43.898" v="11" actId="14100"/>
      <pc:docMkLst>
        <pc:docMk/>
      </pc:docMkLst>
      <pc:sldChg chg="addSp delSp modSp mod">
        <pc:chgData name="Chang Wu" userId="b5f3334d-b408-4abd-bf9e-602c19a714bb" providerId="ADAL" clId="{87856024-45F9-4AB4-A9FB-CFE1FCCD4AAD}" dt="2025-02-03T08:25:52.653" v="9" actId="1076"/>
        <pc:sldMkLst>
          <pc:docMk/>
          <pc:sldMk cId="354827328" sldId="2134805984"/>
        </pc:sldMkLst>
      </pc:sldChg>
      <pc:sldChg chg="modSp mod">
        <pc:chgData name="Chang Wu" userId="b5f3334d-b408-4abd-bf9e-602c19a714bb" providerId="ADAL" clId="{87856024-45F9-4AB4-A9FB-CFE1FCCD4AAD}" dt="2025-02-03T08:33:43.898" v="11" actId="14100"/>
        <pc:sldMkLst>
          <pc:docMk/>
          <pc:sldMk cId="2267328279" sldId="2134806001"/>
        </pc:sldMkLst>
        <pc:picChg chg="mod">
          <ac:chgData name="Chang Wu" userId="b5f3334d-b408-4abd-bf9e-602c19a714bb" providerId="ADAL" clId="{87856024-45F9-4AB4-A9FB-CFE1FCCD4AAD}" dt="2025-02-03T08:33:43.898" v="11" actId="14100"/>
          <ac:picMkLst>
            <pc:docMk/>
            <pc:sldMk cId="2267328279" sldId="2134806001"/>
            <ac:picMk id="12" creationId="{4AB2470A-8998-639A-7AB3-CDC00AFE12BE}"/>
          </ac:picMkLst>
        </pc:picChg>
      </pc:sldChg>
    </pc:docChg>
  </pc:docChgLst>
  <pc:docChgLst>
    <pc:chgData name="Laura Casadio" userId="66d3dc7e-795b-4a92-887c-7e990ee4a717" providerId="ADAL" clId="{B9C6494A-EA6C-463D-AF6F-B4D95287F778}"/>
    <pc:docChg chg="custSel addSld delSld modSld modSection">
      <pc:chgData name="Laura Casadio" userId="66d3dc7e-795b-4a92-887c-7e990ee4a717" providerId="ADAL" clId="{B9C6494A-EA6C-463D-AF6F-B4D95287F778}" dt="2025-03-19T10:17:19.117" v="87" actId="14100"/>
      <pc:docMkLst>
        <pc:docMk/>
      </pc:docMkLst>
      <pc:sldChg chg="delSp mod">
        <pc:chgData name="Laura Casadio" userId="66d3dc7e-795b-4a92-887c-7e990ee4a717" providerId="ADAL" clId="{B9C6494A-EA6C-463D-AF6F-B4D95287F778}" dt="2025-03-17T15:44:43.310" v="1" actId="478"/>
        <pc:sldMkLst>
          <pc:docMk/>
          <pc:sldMk cId="2129768714" sldId="2134805975"/>
        </pc:sldMkLst>
      </pc:sldChg>
      <pc:sldChg chg="delSp mod">
        <pc:chgData name="Laura Casadio" userId="66d3dc7e-795b-4a92-887c-7e990ee4a717" providerId="ADAL" clId="{B9C6494A-EA6C-463D-AF6F-B4D95287F778}" dt="2025-03-17T15:44:38.177" v="0" actId="478"/>
        <pc:sldMkLst>
          <pc:docMk/>
          <pc:sldMk cId="3546854409" sldId="2134805976"/>
        </pc:sldMkLst>
      </pc:sldChg>
      <pc:sldChg chg="addSp modSp mod">
        <pc:chgData name="Laura Casadio" userId="66d3dc7e-795b-4a92-887c-7e990ee4a717" providerId="ADAL" clId="{B9C6494A-EA6C-463D-AF6F-B4D95287F778}" dt="2025-03-19T10:17:19.117" v="87" actId="14100"/>
        <pc:sldMkLst>
          <pc:docMk/>
          <pc:sldMk cId="3088050963" sldId="2134806010"/>
        </pc:sldMkLst>
        <pc:spChg chg="add mod">
          <ac:chgData name="Laura Casadio" userId="66d3dc7e-795b-4a92-887c-7e990ee4a717" providerId="ADAL" clId="{B9C6494A-EA6C-463D-AF6F-B4D95287F778}" dt="2025-03-19T10:17:17.014" v="86" actId="14100"/>
          <ac:spMkLst>
            <pc:docMk/>
            <pc:sldMk cId="3088050963" sldId="2134806010"/>
            <ac:spMk id="2" creationId="{AD2D1AA9-C3B5-ED6C-A3C5-12CE12A7F679}"/>
          </ac:spMkLst>
        </pc:spChg>
        <pc:spChg chg="mod">
          <ac:chgData name="Laura Casadio" userId="66d3dc7e-795b-4a92-887c-7e990ee4a717" providerId="ADAL" clId="{B9C6494A-EA6C-463D-AF6F-B4D95287F778}" dt="2025-03-19T10:17:11.176" v="85" actId="1036"/>
          <ac:spMkLst>
            <pc:docMk/>
            <pc:sldMk cId="3088050963" sldId="2134806010"/>
            <ac:spMk id="3" creationId="{24140D50-86BA-3C88-8591-E528283D080C}"/>
          </ac:spMkLst>
        </pc:spChg>
        <pc:spChg chg="mod">
          <ac:chgData name="Laura Casadio" userId="66d3dc7e-795b-4a92-887c-7e990ee4a717" providerId="ADAL" clId="{B9C6494A-EA6C-463D-AF6F-B4D95287F778}" dt="2025-03-19T10:17:19.117" v="87" actId="14100"/>
          <ac:spMkLst>
            <pc:docMk/>
            <pc:sldMk cId="3088050963" sldId="2134806010"/>
            <ac:spMk id="13" creationId="{9C83B014-365B-CE5F-61B1-D0323B12113D}"/>
          </ac:spMkLst>
        </pc:spChg>
        <pc:spChg chg="mod">
          <ac:chgData name="Laura Casadio" userId="66d3dc7e-795b-4a92-887c-7e990ee4a717" providerId="ADAL" clId="{B9C6494A-EA6C-463D-AF6F-B4D95287F778}" dt="2025-03-19T10:17:11.176" v="85" actId="1036"/>
          <ac:spMkLst>
            <pc:docMk/>
            <pc:sldMk cId="3088050963" sldId="2134806010"/>
            <ac:spMk id="18" creationId="{E7B7A537-5BC2-B59A-E5A0-74EB5CA9928C}"/>
          </ac:spMkLst>
        </pc:spChg>
        <pc:cxnChg chg="add mod">
          <ac:chgData name="Laura Casadio" userId="66d3dc7e-795b-4a92-887c-7e990ee4a717" providerId="ADAL" clId="{B9C6494A-EA6C-463D-AF6F-B4D95287F778}" dt="2025-03-19T10:17:11.176" v="85" actId="1036"/>
          <ac:cxnSpMkLst>
            <pc:docMk/>
            <pc:sldMk cId="3088050963" sldId="2134806010"/>
            <ac:cxnSpMk id="5" creationId="{43B57824-4F6A-847E-1BCE-E93381548DAA}"/>
          </ac:cxnSpMkLst>
        </pc:cxnChg>
      </pc:sldChg>
      <pc:sldChg chg="del">
        <pc:chgData name="Laura Casadio" userId="66d3dc7e-795b-4a92-887c-7e990ee4a717" providerId="ADAL" clId="{B9C6494A-EA6C-463D-AF6F-B4D95287F778}" dt="2025-03-18T10:22:21.185" v="54" actId="2696"/>
        <pc:sldMkLst>
          <pc:docMk/>
          <pc:sldMk cId="2881419956" sldId="2134806015"/>
        </pc:sldMkLst>
      </pc:sldChg>
      <pc:sldChg chg="addSp delSp modSp add mod">
        <pc:chgData name="Laura Casadio" userId="66d3dc7e-795b-4a92-887c-7e990ee4a717" providerId="ADAL" clId="{B9C6494A-EA6C-463D-AF6F-B4D95287F778}" dt="2025-03-18T10:29:58.279" v="70" actId="1076"/>
        <pc:sldMkLst>
          <pc:docMk/>
          <pc:sldMk cId="3334234693" sldId="2134806030"/>
        </pc:sldMkLst>
        <pc:spChg chg="mod">
          <ac:chgData name="Laura Casadio" userId="66d3dc7e-795b-4a92-887c-7e990ee4a717" providerId="ADAL" clId="{B9C6494A-EA6C-463D-AF6F-B4D95287F778}" dt="2025-03-18T10:29:50.021" v="66" actId="20577"/>
          <ac:spMkLst>
            <pc:docMk/>
            <pc:sldMk cId="3334234693" sldId="2134806030"/>
            <ac:spMk id="5" creationId="{70AFC74F-C5DE-58ED-34C9-4677E0976A1A}"/>
          </ac:spMkLst>
        </pc:spChg>
        <pc:spChg chg="mod">
          <ac:chgData name="Laura Casadio" userId="66d3dc7e-795b-4a92-887c-7e990ee4a717" providerId="ADAL" clId="{B9C6494A-EA6C-463D-AF6F-B4D95287F778}" dt="2025-03-18T10:29:58.279" v="70" actId="1076"/>
          <ac:spMkLst>
            <pc:docMk/>
            <pc:sldMk cId="3334234693" sldId="2134806030"/>
            <ac:spMk id="6" creationId="{91737956-4E98-D1B9-8EB4-A56E857B5F2A}"/>
          </ac:spMkLst>
        </pc:spChg>
        <pc:spChg chg="mod">
          <ac:chgData name="Laura Casadio" userId="66d3dc7e-795b-4a92-887c-7e990ee4a717" providerId="ADAL" clId="{B9C6494A-EA6C-463D-AF6F-B4D95287F778}" dt="2025-03-18T10:21:06.454" v="44" actId="20577"/>
          <ac:spMkLst>
            <pc:docMk/>
            <pc:sldMk cId="3334234693" sldId="2134806030"/>
            <ac:spMk id="13" creationId="{2F6BF5C6-8EBA-C987-60CF-506AB7EC3E47}"/>
          </ac:spMkLst>
        </pc:spChg>
        <pc:spChg chg="add mod">
          <ac:chgData name="Laura Casadio" userId="66d3dc7e-795b-4a92-887c-7e990ee4a717" providerId="ADAL" clId="{B9C6494A-EA6C-463D-AF6F-B4D95287F778}" dt="2025-03-18T10:21:31.950" v="46" actId="1076"/>
          <ac:spMkLst>
            <pc:docMk/>
            <pc:sldMk cId="3334234693" sldId="2134806030"/>
            <ac:spMk id="23" creationId="{87014F02-64B3-4147-8F8F-8DFC179774AC}"/>
          </ac:spMkLst>
        </pc:spChg>
        <pc:spChg chg="add mod">
          <ac:chgData name="Laura Casadio" userId="66d3dc7e-795b-4a92-887c-7e990ee4a717" providerId="ADAL" clId="{B9C6494A-EA6C-463D-AF6F-B4D95287F778}" dt="2025-03-18T10:21:31.950" v="46" actId="1076"/>
          <ac:spMkLst>
            <pc:docMk/>
            <pc:sldMk cId="3334234693" sldId="2134806030"/>
            <ac:spMk id="24" creationId="{7CB73BD9-697D-1ED1-94B0-32D04A825D29}"/>
          </ac:spMkLst>
        </pc:spChg>
        <pc:spChg chg="add mod">
          <ac:chgData name="Laura Casadio" userId="66d3dc7e-795b-4a92-887c-7e990ee4a717" providerId="ADAL" clId="{B9C6494A-EA6C-463D-AF6F-B4D95287F778}" dt="2025-03-18T10:21:31.950" v="46" actId="1076"/>
          <ac:spMkLst>
            <pc:docMk/>
            <pc:sldMk cId="3334234693" sldId="2134806030"/>
            <ac:spMk id="25" creationId="{80789891-CF0A-EF6A-3CCC-F582AE83D192}"/>
          </ac:spMkLst>
        </pc:spChg>
        <pc:spChg chg="add mod">
          <ac:chgData name="Laura Casadio" userId="66d3dc7e-795b-4a92-887c-7e990ee4a717" providerId="ADAL" clId="{B9C6494A-EA6C-463D-AF6F-B4D95287F778}" dt="2025-03-18T10:21:31.950" v="46" actId="1076"/>
          <ac:spMkLst>
            <pc:docMk/>
            <pc:sldMk cId="3334234693" sldId="2134806030"/>
            <ac:spMk id="26" creationId="{AE1FF801-0B4C-7819-5939-4CB66E37C807}"/>
          </ac:spMkLst>
        </pc:spChg>
        <pc:spChg chg="add mod">
          <ac:chgData name="Laura Casadio" userId="66d3dc7e-795b-4a92-887c-7e990ee4a717" providerId="ADAL" clId="{B9C6494A-EA6C-463D-AF6F-B4D95287F778}" dt="2025-03-18T10:21:31.950" v="46" actId="1076"/>
          <ac:spMkLst>
            <pc:docMk/>
            <pc:sldMk cId="3334234693" sldId="2134806030"/>
            <ac:spMk id="27" creationId="{0134DD75-C594-E7B4-E8F8-C2E5ED70CC91}"/>
          </ac:spMkLst>
        </pc:spChg>
        <pc:spChg chg="add mod">
          <ac:chgData name="Laura Casadio" userId="66d3dc7e-795b-4a92-887c-7e990ee4a717" providerId="ADAL" clId="{B9C6494A-EA6C-463D-AF6F-B4D95287F778}" dt="2025-03-18T10:21:31.950" v="46" actId="1076"/>
          <ac:spMkLst>
            <pc:docMk/>
            <pc:sldMk cId="3334234693" sldId="2134806030"/>
            <ac:spMk id="29" creationId="{0B75A34E-FAF4-2C9B-DBC8-FC54D1E90DA9}"/>
          </ac:spMkLst>
        </pc:spChg>
        <pc:spChg chg="add mod">
          <ac:chgData name="Laura Casadio" userId="66d3dc7e-795b-4a92-887c-7e990ee4a717" providerId="ADAL" clId="{B9C6494A-EA6C-463D-AF6F-B4D95287F778}" dt="2025-03-18T10:21:31.950" v="46" actId="1076"/>
          <ac:spMkLst>
            <pc:docMk/>
            <pc:sldMk cId="3334234693" sldId="2134806030"/>
            <ac:spMk id="31" creationId="{0F1409E3-E23A-F905-DBF8-36937B64A087}"/>
          </ac:spMkLst>
        </pc:spChg>
        <pc:spChg chg="add mod">
          <ac:chgData name="Laura Casadio" userId="66d3dc7e-795b-4a92-887c-7e990ee4a717" providerId="ADAL" clId="{B9C6494A-EA6C-463D-AF6F-B4D95287F778}" dt="2025-03-18T10:21:31.950" v="46" actId="1076"/>
          <ac:spMkLst>
            <pc:docMk/>
            <pc:sldMk cId="3334234693" sldId="2134806030"/>
            <ac:spMk id="32" creationId="{F08C8629-217E-0F23-7411-CC78C30F2814}"/>
          </ac:spMkLst>
        </pc:spChg>
        <pc:spChg chg="add mod">
          <ac:chgData name="Laura Casadio" userId="66d3dc7e-795b-4a92-887c-7e990ee4a717" providerId="ADAL" clId="{B9C6494A-EA6C-463D-AF6F-B4D95287F778}" dt="2025-03-18T10:21:31.950" v="46" actId="1076"/>
          <ac:spMkLst>
            <pc:docMk/>
            <pc:sldMk cId="3334234693" sldId="2134806030"/>
            <ac:spMk id="34" creationId="{FF5F90BE-709B-2CD0-1DBE-6BD4BC216F18}"/>
          </ac:spMkLst>
        </pc:spChg>
        <pc:spChg chg="add mod ord">
          <ac:chgData name="Laura Casadio" userId="66d3dc7e-795b-4a92-887c-7e990ee4a717" providerId="ADAL" clId="{B9C6494A-EA6C-463D-AF6F-B4D95287F778}" dt="2025-03-18T10:22:16.779" v="53" actId="167"/>
          <ac:spMkLst>
            <pc:docMk/>
            <pc:sldMk cId="3334234693" sldId="2134806030"/>
            <ac:spMk id="35" creationId="{4787BCEC-07DD-57CA-A413-8E2C0987CB7C}"/>
          </ac:spMkLst>
        </pc:spChg>
        <pc:spChg chg="add mod ord">
          <ac:chgData name="Laura Casadio" userId="66d3dc7e-795b-4a92-887c-7e990ee4a717" providerId="ADAL" clId="{B9C6494A-EA6C-463D-AF6F-B4D95287F778}" dt="2025-03-18T10:22:16.779" v="53" actId="167"/>
          <ac:spMkLst>
            <pc:docMk/>
            <pc:sldMk cId="3334234693" sldId="2134806030"/>
            <ac:spMk id="36" creationId="{167A5B70-F03C-93B9-E67E-15C0CACA98E9}"/>
          </ac:spMkLst>
        </pc:spChg>
        <pc:spChg chg="add mod ord">
          <ac:chgData name="Laura Casadio" userId="66d3dc7e-795b-4a92-887c-7e990ee4a717" providerId="ADAL" clId="{B9C6494A-EA6C-463D-AF6F-B4D95287F778}" dt="2025-03-18T10:23:31.491" v="64" actId="14100"/>
          <ac:spMkLst>
            <pc:docMk/>
            <pc:sldMk cId="3334234693" sldId="2134806030"/>
            <ac:spMk id="37" creationId="{9CF1D8A9-BC59-774A-60B7-B5E225B29360}"/>
          </ac:spMkLst>
        </pc:spChg>
        <pc:spChg chg="add mod ord">
          <ac:chgData name="Laura Casadio" userId="66d3dc7e-795b-4a92-887c-7e990ee4a717" providerId="ADAL" clId="{B9C6494A-EA6C-463D-AF6F-B4D95287F778}" dt="2025-03-18T10:23:36.705" v="65" actId="167"/>
          <ac:spMkLst>
            <pc:docMk/>
            <pc:sldMk cId="3334234693" sldId="2134806030"/>
            <ac:spMk id="38" creationId="{8CFB12D5-3AAD-ED20-72C3-00F8FD719F05}"/>
          </ac:spMkLst>
        </pc:spChg>
        <pc:spChg chg="mod">
          <ac:chgData name="Laura Casadio" userId="66d3dc7e-795b-4a92-887c-7e990ee4a717" providerId="ADAL" clId="{B9C6494A-EA6C-463D-AF6F-B4D95287F778}" dt="2025-03-18T10:20:51.947" v="38" actId="20577"/>
          <ac:spMkLst>
            <pc:docMk/>
            <pc:sldMk cId="3334234693" sldId="2134806030"/>
            <ac:spMk id="70" creationId="{A2B9C49B-FF08-6737-E5E4-A088AE2C1675}"/>
          </ac:spMkLst>
        </pc:spChg>
        <pc:picChg chg="mod">
          <ac:chgData name="Laura Casadio" userId="66d3dc7e-795b-4a92-887c-7e990ee4a717" providerId="ADAL" clId="{B9C6494A-EA6C-463D-AF6F-B4D95287F778}" dt="2025-03-18T10:20:09.595" v="9" actId="14826"/>
          <ac:picMkLst>
            <pc:docMk/>
            <pc:sldMk cId="3334234693" sldId="2134806030"/>
            <ac:picMk id="2" creationId="{6A69CF5B-37E5-2B6C-D133-7EF040D9627A}"/>
          </ac:picMkLst>
        </pc:picChg>
        <pc:picChg chg="mod">
          <ac:chgData name="Laura Casadio" userId="66d3dc7e-795b-4a92-887c-7e990ee4a717" providerId="ADAL" clId="{B9C6494A-EA6C-463D-AF6F-B4D95287F778}" dt="2025-03-18T10:20:01.604" v="8" actId="14826"/>
          <ac:picMkLst>
            <pc:docMk/>
            <pc:sldMk cId="3334234693" sldId="2134806030"/>
            <ac:picMk id="14" creationId="{73F2B7BC-30F7-BAB7-7614-3B16D1F3C27B}"/>
          </ac:picMkLst>
        </pc:picChg>
      </pc:sldChg>
    </pc:docChg>
  </pc:docChgLst>
  <pc:docChgLst>
    <pc:chgData name="Menno Rood" userId="4c9e5a0b-642f-4e97-82b2-a9dd8b03bdc0" providerId="ADAL" clId="{8A7C765A-D75F-478B-9F08-AE3856F58FC3}"/>
    <pc:docChg chg="modSld">
      <pc:chgData name="Menno Rood" userId="4c9e5a0b-642f-4e97-82b2-a9dd8b03bdc0" providerId="ADAL" clId="{8A7C765A-D75F-478B-9F08-AE3856F58FC3}" dt="2025-02-27T10:13:53.351" v="6" actId="1036"/>
      <pc:docMkLst>
        <pc:docMk/>
      </pc:docMkLst>
      <pc:sldChg chg="modSp mod">
        <pc:chgData name="Menno Rood" userId="4c9e5a0b-642f-4e97-82b2-a9dd8b03bdc0" providerId="ADAL" clId="{8A7C765A-D75F-478B-9F08-AE3856F58FC3}" dt="2025-02-27T10:13:53.351" v="6" actId="1036"/>
        <pc:sldMkLst>
          <pc:docMk/>
          <pc:sldMk cId="2897335782" sldId="2134805995"/>
        </pc:sldMkLst>
        <pc:picChg chg="mod">
          <ac:chgData name="Menno Rood" userId="4c9e5a0b-642f-4e97-82b2-a9dd8b03bdc0" providerId="ADAL" clId="{8A7C765A-D75F-478B-9F08-AE3856F58FC3}" dt="2025-02-27T10:11:39.749" v="1" actId="1035"/>
          <ac:picMkLst>
            <pc:docMk/>
            <pc:sldMk cId="2897335782" sldId="2134805995"/>
            <ac:picMk id="37" creationId="{D1EE6E9B-3A50-7E4D-026C-7B277D793DF4}"/>
          </ac:picMkLst>
        </pc:picChg>
        <pc:picChg chg="mod">
          <ac:chgData name="Menno Rood" userId="4c9e5a0b-642f-4e97-82b2-a9dd8b03bdc0" providerId="ADAL" clId="{8A7C765A-D75F-478B-9F08-AE3856F58FC3}" dt="2025-02-27T10:11:39.749" v="1" actId="1035"/>
          <ac:picMkLst>
            <pc:docMk/>
            <pc:sldMk cId="2897335782" sldId="2134805995"/>
            <ac:picMk id="38" creationId="{96CFC8EA-1AA0-70DF-9744-22A0EDF6EF38}"/>
          </ac:picMkLst>
        </pc:picChg>
        <pc:picChg chg="mod">
          <ac:chgData name="Menno Rood" userId="4c9e5a0b-642f-4e97-82b2-a9dd8b03bdc0" providerId="ADAL" clId="{8A7C765A-D75F-478B-9F08-AE3856F58FC3}" dt="2025-02-27T10:11:39.749" v="1" actId="1035"/>
          <ac:picMkLst>
            <pc:docMk/>
            <pc:sldMk cId="2897335782" sldId="2134805995"/>
            <ac:picMk id="39" creationId="{884213EE-C1B0-36C7-3DA4-B7B3AA0623E9}"/>
          </ac:picMkLst>
        </pc:picChg>
        <pc:picChg chg="mod">
          <ac:chgData name="Menno Rood" userId="4c9e5a0b-642f-4e97-82b2-a9dd8b03bdc0" providerId="ADAL" clId="{8A7C765A-D75F-478B-9F08-AE3856F58FC3}" dt="2025-02-27T10:13:53.351" v="6" actId="1036"/>
          <ac:picMkLst>
            <pc:docMk/>
            <pc:sldMk cId="2897335782" sldId="2134805995"/>
            <ac:picMk id="40" creationId="{DE99A9D0-AD6B-94CF-EC56-4125CE7EE7CE}"/>
          </ac:picMkLst>
        </pc:picChg>
        <pc:picChg chg="mod">
          <ac:chgData name="Menno Rood" userId="4c9e5a0b-642f-4e97-82b2-a9dd8b03bdc0" providerId="ADAL" clId="{8A7C765A-D75F-478B-9F08-AE3856F58FC3}" dt="2025-02-27T10:11:39.749" v="1" actId="1035"/>
          <ac:picMkLst>
            <pc:docMk/>
            <pc:sldMk cId="2897335782" sldId="2134805995"/>
            <ac:picMk id="42" creationId="{BDCA1807-A3C7-B085-1E36-48FE9FD76BA9}"/>
          </ac:picMkLst>
        </pc:picChg>
        <pc:picChg chg="mod">
          <ac:chgData name="Menno Rood" userId="4c9e5a0b-642f-4e97-82b2-a9dd8b03bdc0" providerId="ADAL" clId="{8A7C765A-D75F-478B-9F08-AE3856F58FC3}" dt="2025-02-27T10:11:39.749" v="1" actId="1035"/>
          <ac:picMkLst>
            <pc:docMk/>
            <pc:sldMk cId="2897335782" sldId="2134805995"/>
            <ac:picMk id="44" creationId="{3AEC9C1A-770A-8012-31F7-0736A9FFE7B9}"/>
          </ac:picMkLst>
        </pc:picChg>
        <pc:picChg chg="mod">
          <ac:chgData name="Menno Rood" userId="4c9e5a0b-642f-4e97-82b2-a9dd8b03bdc0" providerId="ADAL" clId="{8A7C765A-D75F-478B-9F08-AE3856F58FC3}" dt="2025-02-27T10:13:53.351" v="6" actId="1036"/>
          <ac:picMkLst>
            <pc:docMk/>
            <pc:sldMk cId="2897335782" sldId="2134805995"/>
            <ac:picMk id="45" creationId="{8533EFF4-CCAB-E274-CB1C-B04B36433F0E}"/>
          </ac:picMkLst>
        </pc:picChg>
        <pc:picChg chg="mod">
          <ac:chgData name="Menno Rood" userId="4c9e5a0b-642f-4e97-82b2-a9dd8b03bdc0" providerId="ADAL" clId="{8A7C765A-D75F-478B-9F08-AE3856F58FC3}" dt="2025-02-27T10:11:39.749" v="1" actId="1035"/>
          <ac:picMkLst>
            <pc:docMk/>
            <pc:sldMk cId="2897335782" sldId="2134805995"/>
            <ac:picMk id="46" creationId="{24DB8273-882C-4E8A-31EA-D4DEAF605961}"/>
          </ac:picMkLst>
        </pc:picChg>
      </pc:sldChg>
    </pc:docChg>
  </pc:docChgLst>
  <pc:docChgLst>
    <pc:chgData name="Carla Teissier" userId="07b304b7-f21f-411e-8f83-22eb1709e4ba" providerId="ADAL" clId="{27D614FB-094E-476D-9BF1-C81E02EDDA71}"/>
    <pc:docChg chg="modSld">
      <pc:chgData name="Carla Teissier" userId="07b304b7-f21f-411e-8f83-22eb1709e4ba" providerId="ADAL" clId="{27D614FB-094E-476D-9BF1-C81E02EDDA71}" dt="2025-04-22T14:48:32.654" v="0" actId="14100"/>
      <pc:docMkLst>
        <pc:docMk/>
      </pc:docMkLst>
      <pc:sldChg chg="modSp mod">
        <pc:chgData name="Carla Teissier" userId="07b304b7-f21f-411e-8f83-22eb1709e4ba" providerId="ADAL" clId="{27D614FB-094E-476D-9BF1-C81E02EDDA71}" dt="2025-04-22T14:48:32.654" v="0" actId="14100"/>
        <pc:sldMkLst>
          <pc:docMk/>
          <pc:sldMk cId="3907843048" sldId="2134805937"/>
        </pc:sldMkLst>
        <pc:picChg chg="mod">
          <ac:chgData name="Carla Teissier" userId="07b304b7-f21f-411e-8f83-22eb1709e4ba" providerId="ADAL" clId="{27D614FB-094E-476D-9BF1-C81E02EDDA71}" dt="2025-04-22T14:48:32.654" v="0" actId="14100"/>
          <ac:picMkLst>
            <pc:docMk/>
            <pc:sldMk cId="3907843048" sldId="2134805937"/>
            <ac:picMk id="5" creationId="{D84C9D84-906C-FAF2-09EA-B6F532F1854F}"/>
          </ac:picMkLst>
        </pc:picChg>
      </pc:sldChg>
    </pc:docChg>
  </pc:docChgLst>
  <pc:docChgLst>
    <pc:chgData name="Carla Teissier" userId="07b304b7-f21f-411e-8f83-22eb1709e4ba" providerId="ADAL" clId="{D2D3F5C0-F1C0-47E7-9022-DE5D0EB7882C}"/>
    <pc:docChg chg="undo custSel modSld">
      <pc:chgData name="Carla Teissier" userId="07b304b7-f21f-411e-8f83-22eb1709e4ba" providerId="ADAL" clId="{D2D3F5C0-F1C0-47E7-9022-DE5D0EB7882C}" dt="2025-02-26T09:58:18.116" v="135" actId="14100"/>
      <pc:docMkLst>
        <pc:docMk/>
      </pc:docMkLst>
      <pc:sldChg chg="addSp delSp modSp mod">
        <pc:chgData name="Carla Teissier" userId="07b304b7-f21f-411e-8f83-22eb1709e4ba" providerId="ADAL" clId="{D2D3F5C0-F1C0-47E7-9022-DE5D0EB7882C}" dt="2025-02-24T08:38:48.605" v="85" actId="478"/>
        <pc:sldMkLst>
          <pc:docMk/>
          <pc:sldMk cId="4248740932" sldId="2134805931"/>
        </pc:sldMkLst>
        <pc:picChg chg="mod">
          <ac:chgData name="Carla Teissier" userId="07b304b7-f21f-411e-8f83-22eb1709e4ba" providerId="ADAL" clId="{D2D3F5C0-F1C0-47E7-9022-DE5D0EB7882C}" dt="2025-02-21T14:04:37.243" v="79" actId="14100"/>
          <ac:picMkLst>
            <pc:docMk/>
            <pc:sldMk cId="4248740932" sldId="2134805931"/>
            <ac:picMk id="25" creationId="{5CBD2090-8162-5D58-B7E3-22DC2AF4F669}"/>
          </ac:picMkLst>
        </pc:picChg>
      </pc:sldChg>
      <pc:sldChg chg="modSp mod">
        <pc:chgData name="Carla Teissier" userId="07b304b7-f21f-411e-8f83-22eb1709e4ba" providerId="ADAL" clId="{D2D3F5C0-F1C0-47E7-9022-DE5D0EB7882C}" dt="2025-02-26T09:37:49.975" v="95" actId="14100"/>
        <pc:sldMkLst>
          <pc:docMk/>
          <pc:sldMk cId="4766551" sldId="2134805942"/>
        </pc:sldMkLst>
      </pc:sldChg>
      <pc:sldChg chg="modSp mod">
        <pc:chgData name="Carla Teissier" userId="07b304b7-f21f-411e-8f83-22eb1709e4ba" providerId="ADAL" clId="{D2D3F5C0-F1C0-47E7-9022-DE5D0EB7882C}" dt="2025-02-26T09:39:44.820" v="99" actId="14100"/>
        <pc:sldMkLst>
          <pc:docMk/>
          <pc:sldMk cId="334095102" sldId="2134805962"/>
        </pc:sldMkLst>
        <pc:picChg chg="mod">
          <ac:chgData name="Carla Teissier" userId="07b304b7-f21f-411e-8f83-22eb1709e4ba" providerId="ADAL" clId="{D2D3F5C0-F1C0-47E7-9022-DE5D0EB7882C}" dt="2025-02-26T09:39:44.820" v="99" actId="14100"/>
          <ac:picMkLst>
            <pc:docMk/>
            <pc:sldMk cId="334095102" sldId="2134805962"/>
            <ac:picMk id="8" creationId="{3E8AA242-8C0A-1C2A-611D-B0B09630531C}"/>
          </ac:picMkLst>
        </pc:picChg>
      </pc:sldChg>
      <pc:sldChg chg="addSp delSp modSp mod">
        <pc:chgData name="Carla Teissier" userId="07b304b7-f21f-411e-8f83-22eb1709e4ba" providerId="ADAL" clId="{D2D3F5C0-F1C0-47E7-9022-DE5D0EB7882C}" dt="2025-02-26T09:49:55.126" v="117" actId="14100"/>
        <pc:sldMkLst>
          <pc:docMk/>
          <pc:sldMk cId="2364281794" sldId="2134805979"/>
        </pc:sldMkLst>
        <pc:picChg chg="mod">
          <ac:chgData name="Carla Teissier" userId="07b304b7-f21f-411e-8f83-22eb1709e4ba" providerId="ADAL" clId="{D2D3F5C0-F1C0-47E7-9022-DE5D0EB7882C}" dt="2025-02-21T10:45:25.772" v="42" actId="14100"/>
          <ac:picMkLst>
            <pc:docMk/>
            <pc:sldMk cId="2364281794" sldId="2134805979"/>
            <ac:picMk id="29" creationId="{B2DE51B2-3015-FFF6-BC08-DC4DA2005230}"/>
          </ac:picMkLst>
        </pc:picChg>
        <pc:picChg chg="mod">
          <ac:chgData name="Carla Teissier" userId="07b304b7-f21f-411e-8f83-22eb1709e4ba" providerId="ADAL" clId="{D2D3F5C0-F1C0-47E7-9022-DE5D0EB7882C}" dt="2025-02-26T09:49:48.135" v="115" actId="14100"/>
          <ac:picMkLst>
            <pc:docMk/>
            <pc:sldMk cId="2364281794" sldId="2134805979"/>
            <ac:picMk id="30" creationId="{211331C7-4C8E-EC6B-9499-336BED4FA3C0}"/>
          </ac:picMkLst>
        </pc:picChg>
        <pc:picChg chg="mod">
          <ac:chgData name="Carla Teissier" userId="07b304b7-f21f-411e-8f83-22eb1709e4ba" providerId="ADAL" clId="{D2D3F5C0-F1C0-47E7-9022-DE5D0EB7882C}" dt="2025-02-21T10:43:52.471" v="18" actId="14100"/>
          <ac:picMkLst>
            <pc:docMk/>
            <pc:sldMk cId="2364281794" sldId="2134805979"/>
            <ac:picMk id="50" creationId="{87A2E21C-7EE2-09B4-D487-70A3EBAC1D0A}"/>
          </ac:picMkLst>
        </pc:picChg>
        <pc:picChg chg="mod">
          <ac:chgData name="Carla Teissier" userId="07b304b7-f21f-411e-8f83-22eb1709e4ba" providerId="ADAL" clId="{D2D3F5C0-F1C0-47E7-9022-DE5D0EB7882C}" dt="2025-02-24T09:28:01.613" v="91" actId="14100"/>
          <ac:picMkLst>
            <pc:docMk/>
            <pc:sldMk cId="2364281794" sldId="2134805979"/>
            <ac:picMk id="54" creationId="{AAAD5C1B-2D1D-4503-2C32-CEAA73EFE644}"/>
          </ac:picMkLst>
        </pc:picChg>
        <pc:picChg chg="mod">
          <ac:chgData name="Carla Teissier" userId="07b304b7-f21f-411e-8f83-22eb1709e4ba" providerId="ADAL" clId="{D2D3F5C0-F1C0-47E7-9022-DE5D0EB7882C}" dt="2025-02-26T09:49:55.126" v="117" actId="14100"/>
          <ac:picMkLst>
            <pc:docMk/>
            <pc:sldMk cId="2364281794" sldId="2134805979"/>
            <ac:picMk id="58" creationId="{34DFCC41-C545-78DB-7E26-E92B0371DB9B}"/>
          </ac:picMkLst>
        </pc:picChg>
      </pc:sldChg>
      <pc:sldChg chg="modSp mod">
        <pc:chgData name="Carla Teissier" userId="07b304b7-f21f-411e-8f83-22eb1709e4ba" providerId="ADAL" clId="{D2D3F5C0-F1C0-47E7-9022-DE5D0EB7882C}" dt="2025-02-26T09:58:18.116" v="135" actId="14100"/>
        <pc:sldMkLst>
          <pc:docMk/>
          <pc:sldMk cId="2897335782" sldId="2134805995"/>
        </pc:sldMkLst>
        <pc:picChg chg="mod">
          <ac:chgData name="Carla Teissier" userId="07b304b7-f21f-411e-8f83-22eb1709e4ba" providerId="ADAL" clId="{D2D3F5C0-F1C0-47E7-9022-DE5D0EB7882C}" dt="2025-02-26T09:43:42.901" v="113" actId="14100"/>
          <ac:picMkLst>
            <pc:docMk/>
            <pc:sldMk cId="2897335782" sldId="2134805995"/>
            <ac:picMk id="37" creationId="{D1EE6E9B-3A50-7E4D-026C-7B277D793DF4}"/>
          </ac:picMkLst>
        </pc:picChg>
        <pc:picChg chg="mod">
          <ac:chgData name="Carla Teissier" userId="07b304b7-f21f-411e-8f83-22eb1709e4ba" providerId="ADAL" clId="{D2D3F5C0-F1C0-47E7-9022-DE5D0EB7882C}" dt="2025-02-26T09:57:22.230" v="129" actId="14100"/>
          <ac:picMkLst>
            <pc:docMk/>
            <pc:sldMk cId="2897335782" sldId="2134805995"/>
            <ac:picMk id="38" creationId="{96CFC8EA-1AA0-70DF-9744-22A0EDF6EF38}"/>
          </ac:picMkLst>
        </pc:picChg>
        <pc:picChg chg="mod">
          <ac:chgData name="Carla Teissier" userId="07b304b7-f21f-411e-8f83-22eb1709e4ba" providerId="ADAL" clId="{D2D3F5C0-F1C0-47E7-9022-DE5D0EB7882C}" dt="2025-02-26T09:57:36.405" v="131" actId="14100"/>
          <ac:picMkLst>
            <pc:docMk/>
            <pc:sldMk cId="2897335782" sldId="2134805995"/>
            <ac:picMk id="42" creationId="{BDCA1807-A3C7-B085-1E36-48FE9FD76BA9}"/>
          </ac:picMkLst>
        </pc:picChg>
        <pc:picChg chg="mod">
          <ac:chgData name="Carla Teissier" userId="07b304b7-f21f-411e-8f83-22eb1709e4ba" providerId="ADAL" clId="{D2D3F5C0-F1C0-47E7-9022-DE5D0EB7882C}" dt="2025-02-26T09:57:36.405" v="131" actId="14100"/>
          <ac:picMkLst>
            <pc:docMk/>
            <pc:sldMk cId="2897335782" sldId="2134805995"/>
            <ac:picMk id="44" creationId="{3AEC9C1A-770A-8012-31F7-0736A9FFE7B9}"/>
          </ac:picMkLst>
        </pc:picChg>
      </pc:sldChg>
      <pc:sldChg chg="modSp mod">
        <pc:chgData name="Carla Teissier" userId="07b304b7-f21f-411e-8f83-22eb1709e4ba" providerId="ADAL" clId="{D2D3F5C0-F1C0-47E7-9022-DE5D0EB7882C}" dt="2025-02-26T09:52:05.622" v="125" actId="14100"/>
        <pc:sldMkLst>
          <pc:docMk/>
          <pc:sldMk cId="3088050963" sldId="2134806010"/>
        </pc:sldMkLst>
        <pc:picChg chg="mod">
          <ac:chgData name="Carla Teissier" userId="07b304b7-f21f-411e-8f83-22eb1709e4ba" providerId="ADAL" clId="{D2D3F5C0-F1C0-47E7-9022-DE5D0EB7882C}" dt="2025-02-26T09:52:00.037" v="121" actId="14100"/>
          <ac:picMkLst>
            <pc:docMk/>
            <pc:sldMk cId="3088050963" sldId="2134806010"/>
            <ac:picMk id="22" creationId="{FAF278FE-2229-FB27-4C16-6DA95CE1A10F}"/>
          </ac:picMkLst>
        </pc:picChg>
        <pc:picChg chg="mod">
          <ac:chgData name="Carla Teissier" userId="07b304b7-f21f-411e-8f83-22eb1709e4ba" providerId="ADAL" clId="{D2D3F5C0-F1C0-47E7-9022-DE5D0EB7882C}" dt="2025-02-26T09:52:05.622" v="125" actId="14100"/>
          <ac:picMkLst>
            <pc:docMk/>
            <pc:sldMk cId="3088050963" sldId="2134806010"/>
            <ac:picMk id="23" creationId="{1BA0CB86-29CA-B901-F7D5-2E7FCA40D025}"/>
          </ac:picMkLst>
        </pc:picChg>
      </pc:sldChg>
      <pc:sldChg chg="modSp mod">
        <pc:chgData name="Carla Teissier" userId="07b304b7-f21f-411e-8f83-22eb1709e4ba" providerId="ADAL" clId="{D2D3F5C0-F1C0-47E7-9022-DE5D0EB7882C}" dt="2025-02-26T09:40:06.869" v="101" actId="14100"/>
        <pc:sldMkLst>
          <pc:docMk/>
          <pc:sldMk cId="2328368962" sldId="2134806013"/>
        </pc:sldMkLst>
      </pc:sldChg>
      <pc:sldChg chg="modSp mod">
        <pc:chgData name="Carla Teissier" userId="07b304b7-f21f-411e-8f83-22eb1709e4ba" providerId="ADAL" clId="{D2D3F5C0-F1C0-47E7-9022-DE5D0EB7882C}" dt="2025-02-26T09:40:41.221" v="105" actId="14100"/>
        <pc:sldMkLst>
          <pc:docMk/>
          <pc:sldMk cId="2881419956" sldId="2134806015"/>
        </pc:sldMkLst>
      </pc:sldChg>
    </pc:docChg>
  </pc:docChgLst>
  <pc:docChgLst>
    <pc:chgData name="Stefan Severing" userId="e87137f8-9beb-4a79-baf9-8658a8205ecd" providerId="ADAL" clId="{07E2352E-1B59-4978-8CB1-E47EB7228A17}"/>
    <pc:docChg chg="sldOrd">
      <pc:chgData name="Stefan Severing" userId="e87137f8-9beb-4a79-baf9-8658a8205ecd" providerId="ADAL" clId="{07E2352E-1B59-4978-8CB1-E47EB7228A17}" dt="2025-03-27T13:55:20.131" v="0" actId="20578"/>
      <pc:docMkLst>
        <pc:docMk/>
      </pc:docMkLst>
      <pc:sldChg chg="ord">
        <pc:chgData name="Stefan Severing" userId="e87137f8-9beb-4a79-baf9-8658a8205ecd" providerId="ADAL" clId="{07E2352E-1B59-4978-8CB1-E47EB7228A17}" dt="2025-03-27T13:55:20.131" v="0" actId="20578"/>
        <pc:sldMkLst>
          <pc:docMk/>
          <pc:sldMk cId="3546854409" sldId="2134805976"/>
        </pc:sldMkLst>
      </pc:sldChg>
    </pc:docChg>
  </pc:docChgLst>
  <pc:docChgLst>
    <pc:chgData name="Igor Vettorello" userId="534004bd-f06e-4d6c-8e65-3c3369d764d0" providerId="ADAL" clId="{C47069AC-5291-4145-B6E5-F9C10D517759}"/>
    <pc:docChg chg="undo modSld">
      <pc:chgData name="Igor Vettorello" userId="534004bd-f06e-4d6c-8e65-3c3369d764d0" providerId="ADAL" clId="{C47069AC-5291-4145-B6E5-F9C10D517759}" dt="2025-03-03T07:55:17.850" v="5" actId="14100"/>
      <pc:docMkLst>
        <pc:docMk/>
      </pc:docMkLst>
      <pc:sldChg chg="modSp mod">
        <pc:chgData name="Igor Vettorello" userId="534004bd-f06e-4d6c-8e65-3c3369d764d0" providerId="ADAL" clId="{C47069AC-5291-4145-B6E5-F9C10D517759}" dt="2025-03-03T07:55:17.850" v="5" actId="14100"/>
        <pc:sldMkLst>
          <pc:docMk/>
          <pc:sldMk cId="831149825" sldId="2134806018"/>
        </pc:sldMkLst>
      </pc:sldChg>
    </pc:docChg>
  </pc:docChgLst>
  <pc:docChgLst>
    <pc:chgData name="Shohei Kitao" userId="S::shohei.kitao@asics.com::1c6d2ad6-b645-43b8-8b3d-892a80391f65" providerId="AD" clId="Web-{D08E5128-5398-54E7-2251-364F1E86E5AA}"/>
    <pc:docChg chg="delSld modSection">
      <pc:chgData name="Shohei Kitao" userId="S::shohei.kitao@asics.com::1c6d2ad6-b645-43b8-8b3d-892a80391f65" providerId="AD" clId="Web-{D08E5128-5398-54E7-2251-364F1E86E5AA}" dt="2025-01-31T13:39:02.698" v="0"/>
      <pc:docMkLst>
        <pc:docMk/>
      </pc:docMkLst>
      <pc:sldChg chg="del">
        <pc:chgData name="Shohei Kitao" userId="S::shohei.kitao@asics.com::1c6d2ad6-b645-43b8-8b3d-892a80391f65" providerId="AD" clId="Web-{D08E5128-5398-54E7-2251-364F1E86E5AA}" dt="2025-01-31T13:39:02.698" v="0"/>
        <pc:sldMkLst>
          <pc:docMk/>
          <pc:sldMk cId="846665254" sldId="2134805926"/>
        </pc:sldMkLst>
      </pc:sldChg>
    </pc:docChg>
  </pc:docChgLst>
  <pc:docChgLst>
    <pc:chgData name="Maisie Reid" userId="95be9bc7-4ca3-490a-9fed-edcbf4a680f2" providerId="ADAL" clId="{8E6947FE-27CC-4B6F-AC92-F31733B8B71F}"/>
    <pc:docChg chg="undo custSel modSld sldOrd modSection">
      <pc:chgData name="Maisie Reid" userId="95be9bc7-4ca3-490a-9fed-edcbf4a680f2" providerId="ADAL" clId="{8E6947FE-27CC-4B6F-AC92-F31733B8B71F}" dt="2025-03-24T08:46:41.552" v="59" actId="14100"/>
      <pc:docMkLst>
        <pc:docMk/>
      </pc:docMkLst>
      <pc:sldChg chg="ord">
        <pc:chgData name="Maisie Reid" userId="95be9bc7-4ca3-490a-9fed-edcbf4a680f2" providerId="ADAL" clId="{8E6947FE-27CC-4B6F-AC92-F31733B8B71F}" dt="2025-02-12T10:42:28.514" v="25"/>
        <pc:sldMkLst>
          <pc:docMk/>
          <pc:sldMk cId="1677506481" sldId="2134804001"/>
        </pc:sldMkLst>
      </pc:sldChg>
      <pc:sldChg chg="ord">
        <pc:chgData name="Maisie Reid" userId="95be9bc7-4ca3-490a-9fed-edcbf4a680f2" providerId="ADAL" clId="{8E6947FE-27CC-4B6F-AC92-F31733B8B71F}" dt="2025-02-12T10:42:28.514" v="25"/>
        <pc:sldMkLst>
          <pc:docMk/>
          <pc:sldMk cId="4166116178" sldId="2134805946"/>
        </pc:sldMkLst>
      </pc:sldChg>
      <pc:sldChg chg="ord">
        <pc:chgData name="Maisie Reid" userId="95be9bc7-4ca3-490a-9fed-edcbf4a680f2" providerId="ADAL" clId="{8E6947FE-27CC-4B6F-AC92-F31733B8B71F}" dt="2025-02-12T10:42:28.514" v="25"/>
        <pc:sldMkLst>
          <pc:docMk/>
          <pc:sldMk cId="1802627569" sldId="2134805949"/>
        </pc:sldMkLst>
      </pc:sldChg>
      <pc:sldChg chg="ord">
        <pc:chgData name="Maisie Reid" userId="95be9bc7-4ca3-490a-9fed-edcbf4a680f2" providerId="ADAL" clId="{8E6947FE-27CC-4B6F-AC92-F31733B8B71F}" dt="2025-02-12T10:42:28.514" v="25"/>
        <pc:sldMkLst>
          <pc:docMk/>
          <pc:sldMk cId="1883618646" sldId="2134805954"/>
        </pc:sldMkLst>
      </pc:sldChg>
      <pc:sldChg chg="modSp mod">
        <pc:chgData name="Maisie Reid" userId="95be9bc7-4ca3-490a-9fed-edcbf4a680f2" providerId="ADAL" clId="{8E6947FE-27CC-4B6F-AC92-F31733B8B71F}" dt="2025-02-18T09:04:45.539" v="42" actId="14100"/>
        <pc:sldMkLst>
          <pc:docMk/>
          <pc:sldMk cId="2835748674" sldId="2134805972"/>
        </pc:sldMkLst>
      </pc:sldChg>
      <pc:sldChg chg="ord">
        <pc:chgData name="Maisie Reid" userId="95be9bc7-4ca3-490a-9fed-edcbf4a680f2" providerId="ADAL" clId="{8E6947FE-27CC-4B6F-AC92-F31733B8B71F}" dt="2025-02-12T10:42:28.514" v="25"/>
        <pc:sldMkLst>
          <pc:docMk/>
          <pc:sldMk cId="533282322" sldId="2134805973"/>
        </pc:sldMkLst>
      </pc:sldChg>
      <pc:sldChg chg="modSp mod">
        <pc:chgData name="Maisie Reid" userId="95be9bc7-4ca3-490a-9fed-edcbf4a680f2" providerId="ADAL" clId="{8E6947FE-27CC-4B6F-AC92-F31733B8B71F}" dt="2025-02-18T08:25:13.813" v="40" actId="14100"/>
        <pc:sldMkLst>
          <pc:docMk/>
          <pc:sldMk cId="2129768714" sldId="2134805975"/>
        </pc:sldMkLst>
        <pc:picChg chg="mod">
          <ac:chgData name="Maisie Reid" userId="95be9bc7-4ca3-490a-9fed-edcbf4a680f2" providerId="ADAL" clId="{8E6947FE-27CC-4B6F-AC92-F31733B8B71F}" dt="2025-02-18T08:25:13.813" v="40" actId="14100"/>
          <ac:picMkLst>
            <pc:docMk/>
            <pc:sldMk cId="2129768714" sldId="2134805975"/>
            <ac:picMk id="14" creationId="{8EC22651-FDBF-2679-5740-52B7FE6CDFAC}"/>
          </ac:picMkLst>
        </pc:picChg>
        <pc:picChg chg="mod">
          <ac:chgData name="Maisie Reid" userId="95be9bc7-4ca3-490a-9fed-edcbf4a680f2" providerId="ADAL" clId="{8E6947FE-27CC-4B6F-AC92-F31733B8B71F}" dt="2025-02-18T08:25:13.813" v="40" actId="14100"/>
          <ac:picMkLst>
            <pc:docMk/>
            <pc:sldMk cId="2129768714" sldId="2134805975"/>
            <ac:picMk id="15" creationId="{9E2382D8-E137-AD3F-402B-1CB15ED3BA91}"/>
          </ac:picMkLst>
        </pc:picChg>
      </pc:sldChg>
      <pc:sldChg chg="modSp mod">
        <pc:chgData name="Maisie Reid" userId="95be9bc7-4ca3-490a-9fed-edcbf4a680f2" providerId="ADAL" clId="{8E6947FE-27CC-4B6F-AC92-F31733B8B71F}" dt="2025-02-18T08:21:06.361" v="34" actId="14100"/>
        <pc:sldMkLst>
          <pc:docMk/>
          <pc:sldMk cId="3546854409" sldId="2134805976"/>
        </pc:sldMkLst>
      </pc:sldChg>
      <pc:sldChg chg="modSp mod ord">
        <pc:chgData name="Maisie Reid" userId="95be9bc7-4ca3-490a-9fed-edcbf4a680f2" providerId="ADAL" clId="{8E6947FE-27CC-4B6F-AC92-F31733B8B71F}" dt="2025-02-12T10:42:28.514" v="25"/>
        <pc:sldMkLst>
          <pc:docMk/>
          <pc:sldMk cId="1005058865" sldId="2134805977"/>
        </pc:sldMkLst>
        <pc:picChg chg="mod">
          <ac:chgData name="Maisie Reid" userId="95be9bc7-4ca3-490a-9fed-edcbf4a680f2" providerId="ADAL" clId="{8E6947FE-27CC-4B6F-AC92-F31733B8B71F}" dt="2025-02-11T14:30:23.434" v="19" actId="14100"/>
          <ac:picMkLst>
            <pc:docMk/>
            <pc:sldMk cId="1005058865" sldId="2134805977"/>
            <ac:picMk id="6" creationId="{3ED7EBE3-DD29-6B51-CC8C-95E3732DCE37}"/>
          </ac:picMkLst>
        </pc:picChg>
      </pc:sldChg>
      <pc:sldChg chg="modSp mod ord">
        <pc:chgData name="Maisie Reid" userId="95be9bc7-4ca3-490a-9fed-edcbf4a680f2" providerId="ADAL" clId="{8E6947FE-27CC-4B6F-AC92-F31733B8B71F}" dt="2025-03-24T08:46:41.552" v="59" actId="14100"/>
        <pc:sldMkLst>
          <pc:docMk/>
          <pc:sldMk cId="3964233397" sldId="2134805980"/>
        </pc:sldMkLst>
        <pc:picChg chg="mod">
          <ac:chgData name="Maisie Reid" userId="95be9bc7-4ca3-490a-9fed-edcbf4a680f2" providerId="ADAL" clId="{8E6947FE-27CC-4B6F-AC92-F31733B8B71F}" dt="2025-02-10T22:17:36.366" v="1" actId="14100"/>
          <ac:picMkLst>
            <pc:docMk/>
            <pc:sldMk cId="3964233397" sldId="2134805980"/>
            <ac:picMk id="6" creationId="{1CB1D092-4F50-3019-62FF-0E9523CF3624}"/>
          </ac:picMkLst>
        </pc:picChg>
      </pc:sldChg>
      <pc:sldChg chg="modSp mod">
        <pc:chgData name="Maisie Reid" userId="95be9bc7-4ca3-490a-9fed-edcbf4a680f2" providerId="ADAL" clId="{8E6947FE-27CC-4B6F-AC92-F31733B8B71F}" dt="2025-02-18T09:05:18.791" v="45" actId="14100"/>
        <pc:sldMkLst>
          <pc:docMk/>
          <pc:sldMk cId="1879302680" sldId="2134805986"/>
        </pc:sldMkLst>
        <pc:picChg chg="mod">
          <ac:chgData name="Maisie Reid" userId="95be9bc7-4ca3-490a-9fed-edcbf4a680f2" providerId="ADAL" clId="{8E6947FE-27CC-4B6F-AC92-F31733B8B71F}" dt="2025-02-12T10:42:01.234" v="23" actId="14100"/>
          <ac:picMkLst>
            <pc:docMk/>
            <pc:sldMk cId="1879302680" sldId="2134805986"/>
            <ac:picMk id="22" creationId="{9927DF5B-8A3B-309E-792A-05958F2C1850}"/>
          </ac:picMkLst>
        </pc:picChg>
        <pc:picChg chg="mod">
          <ac:chgData name="Maisie Reid" userId="95be9bc7-4ca3-490a-9fed-edcbf4a680f2" providerId="ADAL" clId="{8E6947FE-27CC-4B6F-AC92-F31733B8B71F}" dt="2025-02-14T14:49:45.024" v="32" actId="14100"/>
          <ac:picMkLst>
            <pc:docMk/>
            <pc:sldMk cId="1879302680" sldId="2134805986"/>
            <ac:picMk id="57" creationId="{5C861F9B-BB71-9555-62CA-7BD7457432E8}"/>
          </ac:picMkLst>
        </pc:picChg>
      </pc:sldChg>
      <pc:sldChg chg="ord">
        <pc:chgData name="Maisie Reid" userId="95be9bc7-4ca3-490a-9fed-edcbf4a680f2" providerId="ADAL" clId="{8E6947FE-27CC-4B6F-AC92-F31733B8B71F}" dt="2025-02-12T10:42:28.514" v="25"/>
        <pc:sldMkLst>
          <pc:docMk/>
          <pc:sldMk cId="2891202667" sldId="2134805988"/>
        </pc:sldMkLst>
      </pc:sldChg>
      <pc:sldChg chg="ord">
        <pc:chgData name="Maisie Reid" userId="95be9bc7-4ca3-490a-9fed-edcbf4a680f2" providerId="ADAL" clId="{8E6947FE-27CC-4B6F-AC92-F31733B8B71F}" dt="2025-02-12T10:42:28.514" v="25"/>
        <pc:sldMkLst>
          <pc:docMk/>
          <pc:sldMk cId="2483803822" sldId="2134805989"/>
        </pc:sldMkLst>
      </pc:sldChg>
      <pc:sldChg chg="modSp mod ord">
        <pc:chgData name="Maisie Reid" userId="95be9bc7-4ca3-490a-9fed-edcbf4a680f2" providerId="ADAL" clId="{8E6947FE-27CC-4B6F-AC92-F31733B8B71F}" dt="2025-03-03T10:31:13.792" v="51" actId="14100"/>
        <pc:sldMkLst>
          <pc:docMk/>
          <pc:sldMk cId="2897335782" sldId="2134805995"/>
        </pc:sldMkLst>
        <pc:picChg chg="mod">
          <ac:chgData name="Maisie Reid" userId="95be9bc7-4ca3-490a-9fed-edcbf4a680f2" providerId="ADAL" clId="{8E6947FE-27CC-4B6F-AC92-F31733B8B71F}" dt="2025-03-03T10:31:08.712" v="49" actId="1076"/>
          <ac:picMkLst>
            <pc:docMk/>
            <pc:sldMk cId="2897335782" sldId="2134805995"/>
            <ac:picMk id="39" creationId="{884213EE-C1B0-36C7-3DA4-B7B3AA0623E9}"/>
          </ac:picMkLst>
        </pc:picChg>
      </pc:sldChg>
      <pc:sldChg chg="modSp mod">
        <pc:chgData name="Maisie Reid" userId="95be9bc7-4ca3-490a-9fed-edcbf4a680f2" providerId="ADAL" clId="{8E6947FE-27CC-4B6F-AC92-F31733B8B71F}" dt="2025-02-18T12:14:27.535" v="47" actId="14100"/>
        <pc:sldMkLst>
          <pc:docMk/>
          <pc:sldMk cId="1104744956" sldId="2134805998"/>
        </pc:sldMkLst>
        <pc:spChg chg="mod">
          <ac:chgData name="Maisie Reid" userId="95be9bc7-4ca3-490a-9fed-edcbf4a680f2" providerId="ADAL" clId="{8E6947FE-27CC-4B6F-AC92-F31733B8B71F}" dt="2025-02-13T08:31:43.991" v="26" actId="20578"/>
          <ac:spMkLst>
            <pc:docMk/>
            <pc:sldMk cId="1104744956" sldId="2134805998"/>
            <ac:spMk id="70" creationId="{806B8040-186A-DF35-242B-F6AD41CEFC9B}"/>
          </ac:spMkLst>
        </pc:spChg>
      </pc:sldChg>
      <pc:sldChg chg="ord">
        <pc:chgData name="Maisie Reid" userId="95be9bc7-4ca3-490a-9fed-edcbf4a680f2" providerId="ADAL" clId="{8E6947FE-27CC-4B6F-AC92-F31733B8B71F}" dt="2025-02-12T10:42:28.514" v="25"/>
        <pc:sldMkLst>
          <pc:docMk/>
          <pc:sldMk cId="3700847209" sldId="2134805999"/>
        </pc:sldMkLst>
      </pc:sldChg>
      <pc:sldChg chg="ord">
        <pc:chgData name="Maisie Reid" userId="95be9bc7-4ca3-490a-9fed-edcbf4a680f2" providerId="ADAL" clId="{8E6947FE-27CC-4B6F-AC92-F31733B8B71F}" dt="2025-02-12T10:42:28.514" v="25"/>
        <pc:sldMkLst>
          <pc:docMk/>
          <pc:sldMk cId="3925124587" sldId="2134806012"/>
        </pc:sldMkLst>
      </pc:sldChg>
      <pc:sldChg chg="ord">
        <pc:chgData name="Maisie Reid" userId="95be9bc7-4ca3-490a-9fed-edcbf4a680f2" providerId="ADAL" clId="{8E6947FE-27CC-4B6F-AC92-F31733B8B71F}" dt="2025-02-12T10:42:28.514" v="25"/>
        <pc:sldMkLst>
          <pc:docMk/>
          <pc:sldMk cId="347654087" sldId="2134806019"/>
        </pc:sldMkLst>
      </pc:sldChg>
      <pc:sldChg chg="ord">
        <pc:chgData name="Maisie Reid" userId="95be9bc7-4ca3-490a-9fed-edcbf4a680f2" providerId="ADAL" clId="{8E6947FE-27CC-4B6F-AC92-F31733B8B71F}" dt="2025-02-12T10:42:28.514" v="25"/>
        <pc:sldMkLst>
          <pc:docMk/>
          <pc:sldMk cId="2545566061" sldId="2134806022"/>
        </pc:sldMkLst>
      </pc:sldChg>
      <pc:sldChg chg="ord">
        <pc:chgData name="Maisie Reid" userId="95be9bc7-4ca3-490a-9fed-edcbf4a680f2" providerId="ADAL" clId="{8E6947FE-27CC-4B6F-AC92-F31733B8B71F}" dt="2025-02-12T10:42:28.514" v="25"/>
        <pc:sldMkLst>
          <pc:docMk/>
          <pc:sldMk cId="3546132926" sldId="2134806024"/>
        </pc:sldMkLst>
      </pc:sldChg>
      <pc:sldChg chg="ord">
        <pc:chgData name="Maisie Reid" userId="95be9bc7-4ca3-490a-9fed-edcbf4a680f2" providerId="ADAL" clId="{8E6947FE-27CC-4B6F-AC92-F31733B8B71F}" dt="2025-02-12T10:42:28.514" v="25"/>
        <pc:sldMkLst>
          <pc:docMk/>
          <pc:sldMk cId="673512031" sldId="2134806025"/>
        </pc:sldMkLst>
      </pc:sldChg>
      <pc:sldChg chg="ord">
        <pc:chgData name="Maisie Reid" userId="95be9bc7-4ca3-490a-9fed-edcbf4a680f2" providerId="ADAL" clId="{8E6947FE-27CC-4B6F-AC92-F31733B8B71F}" dt="2025-02-12T10:42:28.514" v="25"/>
        <pc:sldMkLst>
          <pc:docMk/>
          <pc:sldMk cId="2011994305" sldId="2134806027"/>
        </pc:sldMkLst>
      </pc:sldChg>
    </pc:docChg>
  </pc:docChgLst>
  <pc:docChgLst>
    <pc:chgData name="Jacobo de Nicolás Nuñez" userId="7c6829d1-1bf6-4417-b4a9-02cb8827630e" providerId="ADAL" clId="{857BC41E-A371-448C-9B0F-48FE52EEF25B}"/>
    <pc:docChg chg="undo custSel modSld">
      <pc:chgData name="Jacobo de Nicolás Nuñez" userId="7c6829d1-1bf6-4417-b4a9-02cb8827630e" providerId="ADAL" clId="{857BC41E-A371-448C-9B0F-48FE52EEF25B}" dt="2025-04-22T15:12:05.587" v="8978" actId="14826"/>
      <pc:docMkLst>
        <pc:docMk/>
      </pc:docMkLst>
      <pc:sldChg chg="modSp mod">
        <pc:chgData name="Jacobo de Nicolás Nuñez" userId="7c6829d1-1bf6-4417-b4a9-02cb8827630e" providerId="ADAL" clId="{857BC41E-A371-448C-9B0F-48FE52EEF25B}" dt="2025-04-22T15:12:05.587" v="8978" actId="14826"/>
        <pc:sldMkLst>
          <pc:docMk/>
          <pc:sldMk cId="4248740932" sldId="2134805931"/>
        </pc:sldMkLst>
        <pc:picChg chg="mod">
          <ac:chgData name="Jacobo de Nicolás Nuñez" userId="7c6829d1-1bf6-4417-b4a9-02cb8827630e" providerId="ADAL" clId="{857BC41E-A371-448C-9B0F-48FE52EEF25B}" dt="2025-04-22T12:28:40.715" v="7362" actId="14826"/>
          <ac:picMkLst>
            <pc:docMk/>
            <pc:sldMk cId="4248740932" sldId="2134805931"/>
            <ac:picMk id="3" creationId="{C77688FC-2B4B-0DAC-E9CD-7FCC0F3E60F2}"/>
          </ac:picMkLst>
        </pc:picChg>
        <pc:picChg chg="mod">
          <ac:chgData name="Jacobo de Nicolás Nuñez" userId="7c6829d1-1bf6-4417-b4a9-02cb8827630e" providerId="ADAL" clId="{857BC41E-A371-448C-9B0F-48FE52EEF25B}" dt="2025-04-22T12:28:33.075" v="7361" actId="14826"/>
          <ac:picMkLst>
            <pc:docMk/>
            <pc:sldMk cId="4248740932" sldId="2134805931"/>
            <ac:picMk id="5" creationId="{1D3284BA-168D-DFCA-426E-DE6EC4A59A0D}"/>
          </ac:picMkLst>
        </pc:picChg>
        <pc:picChg chg="mod">
          <ac:chgData name="Jacobo de Nicolás Nuñez" userId="7c6829d1-1bf6-4417-b4a9-02cb8827630e" providerId="ADAL" clId="{857BC41E-A371-448C-9B0F-48FE52EEF25B}" dt="2025-04-22T12:28:24.379" v="7360" actId="14826"/>
          <ac:picMkLst>
            <pc:docMk/>
            <pc:sldMk cId="4248740932" sldId="2134805931"/>
            <ac:picMk id="7" creationId="{EF2C77F7-83E0-0C3C-D821-8A696921D681}"/>
          </ac:picMkLst>
        </pc:picChg>
        <pc:picChg chg="mod">
          <ac:chgData name="Jacobo de Nicolás Nuñez" userId="7c6829d1-1bf6-4417-b4a9-02cb8827630e" providerId="ADAL" clId="{857BC41E-A371-448C-9B0F-48FE52EEF25B}" dt="2025-04-22T15:12:05.587" v="8978" actId="14826"/>
          <ac:picMkLst>
            <pc:docMk/>
            <pc:sldMk cId="4248740932" sldId="2134805931"/>
            <ac:picMk id="14" creationId="{7D94FBCE-A545-470A-9A40-53D182AF0F87}"/>
          </ac:picMkLst>
        </pc:picChg>
        <pc:picChg chg="mod">
          <ac:chgData name="Jacobo de Nicolás Nuñez" userId="7c6829d1-1bf6-4417-b4a9-02cb8827630e" providerId="ADAL" clId="{857BC41E-A371-448C-9B0F-48FE52EEF25B}" dt="2025-04-22T15:11:15.442" v="8977" actId="14826"/>
          <ac:picMkLst>
            <pc:docMk/>
            <pc:sldMk cId="4248740932" sldId="2134805931"/>
            <ac:picMk id="16" creationId="{DC032012-5639-4298-82B8-A4720B3B7EA2}"/>
          </ac:picMkLst>
        </pc:picChg>
        <pc:picChg chg="mod">
          <ac:chgData name="Jacobo de Nicolás Nuñez" userId="7c6829d1-1bf6-4417-b4a9-02cb8827630e" providerId="ADAL" clId="{857BC41E-A371-448C-9B0F-48FE52EEF25B}" dt="2025-04-22T12:28:16.319" v="7359" actId="14826"/>
          <ac:picMkLst>
            <pc:docMk/>
            <pc:sldMk cId="4248740932" sldId="2134805931"/>
            <ac:picMk id="25" creationId="{5CBD2090-8162-5D58-B7E3-22DC2AF4F669}"/>
          </ac:picMkLst>
        </pc:picChg>
      </pc:sldChg>
      <pc:sldChg chg="modSp mod">
        <pc:chgData name="Jacobo de Nicolás Nuñez" userId="7c6829d1-1bf6-4417-b4a9-02cb8827630e" providerId="ADAL" clId="{857BC41E-A371-448C-9B0F-48FE52EEF25B}" dt="2025-04-22T12:30:51.648" v="7377" actId="1076"/>
        <pc:sldMkLst>
          <pc:docMk/>
          <pc:sldMk cId="3817347563" sldId="2134805932"/>
        </pc:sldMkLst>
        <pc:picChg chg="mod">
          <ac:chgData name="Jacobo de Nicolás Nuñez" userId="7c6829d1-1bf6-4417-b4a9-02cb8827630e" providerId="ADAL" clId="{857BC41E-A371-448C-9B0F-48FE52EEF25B}" dt="2025-04-22T12:30:51.648" v="7377" actId="1076"/>
          <ac:picMkLst>
            <pc:docMk/>
            <pc:sldMk cId="3817347563" sldId="2134805932"/>
            <ac:picMk id="3" creationId="{BE71E308-DBA4-6BA9-4020-61344C261567}"/>
          </ac:picMkLst>
        </pc:picChg>
        <pc:picChg chg="mod">
          <ac:chgData name="Jacobo de Nicolás Nuñez" userId="7c6829d1-1bf6-4417-b4a9-02cb8827630e" providerId="ADAL" clId="{857BC41E-A371-448C-9B0F-48FE52EEF25B}" dt="2025-04-22T12:30:51.648" v="7377" actId="1076"/>
          <ac:picMkLst>
            <pc:docMk/>
            <pc:sldMk cId="3817347563" sldId="2134805932"/>
            <ac:picMk id="4" creationId="{64771070-56A5-6850-0A96-768C5A471889}"/>
          </ac:picMkLst>
        </pc:picChg>
        <pc:picChg chg="mod">
          <ac:chgData name="Jacobo de Nicolás Nuñez" userId="7c6829d1-1bf6-4417-b4a9-02cb8827630e" providerId="ADAL" clId="{857BC41E-A371-448C-9B0F-48FE52EEF25B}" dt="2025-04-22T12:30:51.648" v="7377" actId="1076"/>
          <ac:picMkLst>
            <pc:docMk/>
            <pc:sldMk cId="3817347563" sldId="2134805932"/>
            <ac:picMk id="5" creationId="{ABF4CFAD-662F-3CFB-665E-2150EA2BA956}"/>
          </ac:picMkLst>
        </pc:picChg>
        <pc:picChg chg="mod">
          <ac:chgData name="Jacobo de Nicolás Nuñez" userId="7c6829d1-1bf6-4417-b4a9-02cb8827630e" providerId="ADAL" clId="{857BC41E-A371-448C-9B0F-48FE52EEF25B}" dt="2025-04-22T12:30:51.648" v="7377" actId="1076"/>
          <ac:picMkLst>
            <pc:docMk/>
            <pc:sldMk cId="3817347563" sldId="2134805932"/>
            <ac:picMk id="6" creationId="{75D115C2-2472-8786-380A-26D99FDE5B33}"/>
          </ac:picMkLst>
        </pc:picChg>
        <pc:picChg chg="mod">
          <ac:chgData name="Jacobo de Nicolás Nuñez" userId="7c6829d1-1bf6-4417-b4a9-02cb8827630e" providerId="ADAL" clId="{857BC41E-A371-448C-9B0F-48FE52EEF25B}" dt="2025-04-22T12:30:51.648" v="7377" actId="1076"/>
          <ac:picMkLst>
            <pc:docMk/>
            <pc:sldMk cId="3817347563" sldId="2134805932"/>
            <ac:picMk id="7" creationId="{14642461-D0B7-4AB0-5949-77778D9207A3}"/>
          </ac:picMkLst>
        </pc:picChg>
        <pc:picChg chg="mod">
          <ac:chgData name="Jacobo de Nicolás Nuñez" userId="7c6829d1-1bf6-4417-b4a9-02cb8827630e" providerId="ADAL" clId="{857BC41E-A371-448C-9B0F-48FE52EEF25B}" dt="2025-04-22T12:30:51.648" v="7377" actId="1076"/>
          <ac:picMkLst>
            <pc:docMk/>
            <pc:sldMk cId="3817347563" sldId="2134805932"/>
            <ac:picMk id="25" creationId="{5CBD2090-8162-5D58-B7E3-22DC2AF4F669}"/>
          </ac:picMkLst>
        </pc:picChg>
      </pc:sldChg>
      <pc:sldChg chg="addSp delSp modSp mod">
        <pc:chgData name="Jacobo de Nicolás Nuñez" userId="7c6829d1-1bf6-4417-b4a9-02cb8827630e" providerId="ADAL" clId="{857BC41E-A371-448C-9B0F-48FE52EEF25B}" dt="2025-04-22T13:24:38.881" v="8144" actId="1076"/>
        <pc:sldMkLst>
          <pc:docMk/>
          <pc:sldMk cId="3907843048" sldId="2134805937"/>
        </pc:sldMkLst>
        <pc:spChg chg="mod ord">
          <ac:chgData name="Jacobo de Nicolás Nuñez" userId="7c6829d1-1bf6-4417-b4a9-02cb8827630e" providerId="ADAL" clId="{857BC41E-A371-448C-9B0F-48FE52EEF25B}" dt="2025-04-11T11:44:57.701" v="2489"/>
          <ac:spMkLst>
            <pc:docMk/>
            <pc:sldMk cId="3907843048" sldId="2134805937"/>
            <ac:spMk id="2" creationId="{E60A5C01-CFA3-D6C2-A24D-3193AE0248CB}"/>
          </ac:spMkLst>
        </pc:spChg>
        <pc:spChg chg="mod ord">
          <ac:chgData name="Jacobo de Nicolás Nuñez" userId="7c6829d1-1bf6-4417-b4a9-02cb8827630e" providerId="ADAL" clId="{857BC41E-A371-448C-9B0F-48FE52EEF25B}" dt="2025-04-11T11:44:57.701" v="2491"/>
          <ac:spMkLst>
            <pc:docMk/>
            <pc:sldMk cId="3907843048" sldId="2134805937"/>
            <ac:spMk id="3" creationId="{D8CE0E9F-79AB-247D-E8B4-FC7B7CA2BAE2}"/>
          </ac:spMkLst>
        </pc:spChg>
        <pc:spChg chg="mod ord">
          <ac:chgData name="Jacobo de Nicolás Nuñez" userId="7c6829d1-1bf6-4417-b4a9-02cb8827630e" providerId="ADAL" clId="{857BC41E-A371-448C-9B0F-48FE52EEF25B}" dt="2025-04-11T11:44:57.701" v="2475"/>
          <ac:spMkLst>
            <pc:docMk/>
            <pc:sldMk cId="3907843048" sldId="2134805937"/>
            <ac:spMk id="4" creationId="{64D6E25E-DE9E-333F-FF8C-2A8818ECEF96}"/>
          </ac:spMkLst>
        </pc:spChg>
        <pc:spChg chg="mod ord">
          <ac:chgData name="Jacobo de Nicolás Nuñez" userId="7c6829d1-1bf6-4417-b4a9-02cb8827630e" providerId="ADAL" clId="{857BC41E-A371-448C-9B0F-48FE52EEF25B}" dt="2025-04-11T11:44:57.701" v="2493"/>
          <ac:spMkLst>
            <pc:docMk/>
            <pc:sldMk cId="3907843048" sldId="2134805937"/>
            <ac:spMk id="6" creationId="{C8D93D88-947E-2A24-E62D-5CF0AA007F20}"/>
          </ac:spMkLst>
        </pc:spChg>
        <pc:spChg chg="mod ord">
          <ac:chgData name="Jacobo de Nicolás Nuñez" userId="7c6829d1-1bf6-4417-b4a9-02cb8827630e" providerId="ADAL" clId="{857BC41E-A371-448C-9B0F-48FE52EEF25B}" dt="2025-04-11T11:44:57.717" v="2495"/>
          <ac:spMkLst>
            <pc:docMk/>
            <pc:sldMk cId="3907843048" sldId="2134805937"/>
            <ac:spMk id="7" creationId="{E8F83FE1-6FE7-9ED4-F856-8E503BB0BD84}"/>
          </ac:spMkLst>
        </pc:spChg>
        <pc:spChg chg="mod ord">
          <ac:chgData name="Jacobo de Nicolás Nuñez" userId="7c6829d1-1bf6-4417-b4a9-02cb8827630e" providerId="ADAL" clId="{857BC41E-A371-448C-9B0F-48FE52EEF25B}" dt="2025-04-11T11:44:57.717" v="2497"/>
          <ac:spMkLst>
            <pc:docMk/>
            <pc:sldMk cId="3907843048" sldId="2134805937"/>
            <ac:spMk id="8" creationId="{09E32BF5-8C35-337F-4716-838728528483}"/>
          </ac:spMkLst>
        </pc:spChg>
        <pc:spChg chg="mod ord">
          <ac:chgData name="Jacobo de Nicolás Nuñez" userId="7c6829d1-1bf6-4417-b4a9-02cb8827630e" providerId="ADAL" clId="{857BC41E-A371-448C-9B0F-48FE52EEF25B}" dt="2025-04-11T11:44:57.717" v="2499"/>
          <ac:spMkLst>
            <pc:docMk/>
            <pc:sldMk cId="3907843048" sldId="2134805937"/>
            <ac:spMk id="9" creationId="{EB18AF9C-B3B8-520F-7500-E60AFB0862E9}"/>
          </ac:spMkLst>
        </pc:spChg>
        <pc:spChg chg="mod ord">
          <ac:chgData name="Jacobo de Nicolás Nuñez" userId="7c6829d1-1bf6-4417-b4a9-02cb8827630e" providerId="ADAL" clId="{857BC41E-A371-448C-9B0F-48FE52EEF25B}" dt="2025-04-11T11:44:57.701" v="2473"/>
          <ac:spMkLst>
            <pc:docMk/>
            <pc:sldMk cId="3907843048" sldId="2134805937"/>
            <ac:spMk id="10" creationId="{4AC399DE-D4E4-C4AF-59E7-215433152576}"/>
          </ac:spMkLst>
        </pc:spChg>
        <pc:spChg chg="mod ord">
          <ac:chgData name="Jacobo de Nicolás Nuñez" userId="7c6829d1-1bf6-4417-b4a9-02cb8827630e" providerId="ADAL" clId="{857BC41E-A371-448C-9B0F-48FE52EEF25B}" dt="2025-04-11T11:44:57.717" v="2501"/>
          <ac:spMkLst>
            <pc:docMk/>
            <pc:sldMk cId="3907843048" sldId="2134805937"/>
            <ac:spMk id="11" creationId="{41B41A84-D25E-23EA-5C52-A810058D7319}"/>
          </ac:spMkLst>
        </pc:spChg>
        <pc:spChg chg="mod ord">
          <ac:chgData name="Jacobo de Nicolás Nuñez" userId="7c6829d1-1bf6-4417-b4a9-02cb8827630e" providerId="ADAL" clId="{857BC41E-A371-448C-9B0F-48FE52EEF25B}" dt="2025-04-11T11:44:57.701" v="2487"/>
          <ac:spMkLst>
            <pc:docMk/>
            <pc:sldMk cId="3907843048" sldId="2134805937"/>
            <ac:spMk id="59" creationId="{461BB04D-9EBC-2D02-A024-A27E6DB8E20A}"/>
          </ac:spMkLst>
        </pc:spChg>
        <pc:spChg chg="mod ord">
          <ac:chgData name="Jacobo de Nicolás Nuñez" userId="7c6829d1-1bf6-4417-b4a9-02cb8827630e" providerId="ADAL" clId="{857BC41E-A371-448C-9B0F-48FE52EEF25B}" dt="2025-04-11T11:44:57.684" v="2471"/>
          <ac:spMkLst>
            <pc:docMk/>
            <pc:sldMk cId="3907843048" sldId="2134805937"/>
            <ac:spMk id="70" creationId="{806B8040-186A-DF35-242B-F6AD41CEFC9B}"/>
          </ac:spMkLst>
        </pc:spChg>
        <pc:graphicFrameChg chg="add mod ord modVis">
          <ac:chgData name="Jacobo de Nicolás Nuñez" userId="7c6829d1-1bf6-4417-b4a9-02cb8827630e" providerId="ADAL" clId="{857BC41E-A371-448C-9B0F-48FE52EEF25B}" dt="2025-04-11T11:44:57.810" v="2515"/>
          <ac:graphicFrameMkLst>
            <pc:docMk/>
            <pc:sldMk cId="3907843048" sldId="2134805937"/>
            <ac:graphicFrameMk id="12" creationId="{726CD267-7128-5B30-12A4-CB0D42A21832}"/>
          </ac:graphicFrameMkLst>
        </pc:graphicFrameChg>
        <pc:picChg chg="add mod ord">
          <ac:chgData name="Jacobo de Nicolás Nuñez" userId="7c6829d1-1bf6-4417-b4a9-02cb8827630e" providerId="ADAL" clId="{857BC41E-A371-448C-9B0F-48FE52EEF25B}" dt="2025-04-22T13:24:38.881" v="8144" actId="1076"/>
          <ac:picMkLst>
            <pc:docMk/>
            <pc:sldMk cId="3907843048" sldId="2134805937"/>
            <ac:picMk id="5" creationId="{D84C9D84-906C-FAF2-09EA-B6F532F1854F}"/>
          </ac:picMkLst>
        </pc:picChg>
        <pc:picChg chg="mod ord">
          <ac:chgData name="Jacobo de Nicolás Nuñez" userId="7c6829d1-1bf6-4417-b4a9-02cb8827630e" providerId="ADAL" clId="{857BC41E-A371-448C-9B0F-48FE52EEF25B}" dt="2025-04-22T13:24:38.881" v="8144" actId="1076"/>
          <ac:picMkLst>
            <pc:docMk/>
            <pc:sldMk cId="3907843048" sldId="2134805937"/>
            <ac:picMk id="14" creationId="{0C34B69A-FAC6-DF8C-BB6F-9E0B18ABBCCB}"/>
          </ac:picMkLst>
        </pc:picChg>
        <pc:picChg chg="mod ord">
          <ac:chgData name="Jacobo de Nicolás Nuñez" userId="7c6829d1-1bf6-4417-b4a9-02cb8827630e" providerId="ADAL" clId="{857BC41E-A371-448C-9B0F-48FE52EEF25B}" dt="2025-04-22T13:24:29.383" v="8141" actId="1076"/>
          <ac:picMkLst>
            <pc:docMk/>
            <pc:sldMk cId="3907843048" sldId="2134805937"/>
            <ac:picMk id="16" creationId="{8EC08975-8DA2-4C54-2912-0F067DDAAE51}"/>
          </ac:picMkLst>
        </pc:picChg>
        <pc:picChg chg="mod ord">
          <ac:chgData name="Jacobo de Nicolás Nuñez" userId="7c6829d1-1bf6-4417-b4a9-02cb8827630e" providerId="ADAL" clId="{857BC41E-A371-448C-9B0F-48FE52EEF25B}" dt="2025-04-22T13:24:29.383" v="8141" actId="1076"/>
          <ac:picMkLst>
            <pc:docMk/>
            <pc:sldMk cId="3907843048" sldId="2134805937"/>
            <ac:picMk id="17" creationId="{4129D989-1CA6-824E-564B-FD7C052B75D3}"/>
          </ac:picMkLst>
        </pc:picChg>
        <pc:picChg chg="mod ord">
          <ac:chgData name="Jacobo de Nicolás Nuñez" userId="7c6829d1-1bf6-4417-b4a9-02cb8827630e" providerId="ADAL" clId="{857BC41E-A371-448C-9B0F-48FE52EEF25B}" dt="2025-04-22T13:24:29.383" v="8141" actId="1076"/>
          <ac:picMkLst>
            <pc:docMk/>
            <pc:sldMk cId="3907843048" sldId="2134805937"/>
            <ac:picMk id="19" creationId="{8C896AF3-C322-9331-822E-D1466C623FBB}"/>
          </ac:picMkLst>
        </pc:picChg>
        <pc:picChg chg="mod ord">
          <ac:chgData name="Jacobo de Nicolás Nuñez" userId="7c6829d1-1bf6-4417-b4a9-02cb8827630e" providerId="ADAL" clId="{857BC41E-A371-448C-9B0F-48FE52EEF25B}" dt="2025-04-22T13:24:29.383" v="8141" actId="1076"/>
          <ac:picMkLst>
            <pc:docMk/>
            <pc:sldMk cId="3907843048" sldId="2134805937"/>
            <ac:picMk id="29" creationId="{B1D815C1-3321-DC55-4425-A26A0D35D9AD}"/>
          </ac:picMkLst>
        </pc:picChg>
      </pc:sldChg>
      <pc:sldChg chg="addSp delSp modSp mod">
        <pc:chgData name="Jacobo de Nicolás Nuñez" userId="7c6829d1-1bf6-4417-b4a9-02cb8827630e" providerId="ADAL" clId="{857BC41E-A371-448C-9B0F-48FE52EEF25B}" dt="2025-04-22T14:34:36.652" v="8558" actId="14100"/>
        <pc:sldMkLst>
          <pc:docMk/>
          <pc:sldMk cId="4766551" sldId="2134805942"/>
        </pc:sldMkLst>
        <pc:spChg chg="mod ord">
          <ac:chgData name="Jacobo de Nicolás Nuñez" userId="7c6829d1-1bf6-4417-b4a9-02cb8827630e" providerId="ADAL" clId="{857BC41E-A371-448C-9B0F-48FE52EEF25B}" dt="2025-04-15T13:31:47.753" v="4258"/>
          <ac:spMkLst>
            <pc:docMk/>
            <pc:sldMk cId="4766551" sldId="2134805942"/>
            <ac:spMk id="2" creationId="{6BB91B46-503F-20F5-E3ED-07EC6BF6AEBA}"/>
          </ac:spMkLst>
        </pc:spChg>
        <pc:spChg chg="mod ord">
          <ac:chgData name="Jacobo de Nicolás Nuñez" userId="7c6829d1-1bf6-4417-b4a9-02cb8827630e" providerId="ADAL" clId="{857BC41E-A371-448C-9B0F-48FE52EEF25B}" dt="2025-04-15T13:31:47.753" v="4276"/>
          <ac:spMkLst>
            <pc:docMk/>
            <pc:sldMk cId="4766551" sldId="2134805942"/>
            <ac:spMk id="3" creationId="{849A7593-40DC-23CA-85EB-CC2B0A960B2F}"/>
          </ac:spMkLst>
        </pc:spChg>
        <pc:spChg chg="mod ord">
          <ac:chgData name="Jacobo de Nicolás Nuñez" userId="7c6829d1-1bf6-4417-b4a9-02cb8827630e" providerId="ADAL" clId="{857BC41E-A371-448C-9B0F-48FE52EEF25B}" dt="2025-04-15T13:31:47.753" v="4256"/>
          <ac:spMkLst>
            <pc:docMk/>
            <pc:sldMk cId="4766551" sldId="2134805942"/>
            <ac:spMk id="4" creationId="{49F7AEFC-1990-F011-D7DA-ED9DC825F8EF}"/>
          </ac:spMkLst>
        </pc:spChg>
        <pc:spChg chg="mod ord">
          <ac:chgData name="Jacobo de Nicolás Nuñez" userId="7c6829d1-1bf6-4417-b4a9-02cb8827630e" providerId="ADAL" clId="{857BC41E-A371-448C-9B0F-48FE52EEF25B}" dt="2025-04-15T13:31:47.753" v="4262"/>
          <ac:spMkLst>
            <pc:docMk/>
            <pc:sldMk cId="4766551" sldId="2134805942"/>
            <ac:spMk id="12" creationId="{403C3A8B-EA44-9C3B-0BF3-5315B46254E6}"/>
          </ac:spMkLst>
        </pc:spChg>
        <pc:spChg chg="mod ord">
          <ac:chgData name="Jacobo de Nicolás Nuñez" userId="7c6829d1-1bf6-4417-b4a9-02cb8827630e" providerId="ADAL" clId="{857BC41E-A371-448C-9B0F-48FE52EEF25B}" dt="2025-04-15T13:31:47.753" v="4254"/>
          <ac:spMkLst>
            <pc:docMk/>
            <pc:sldMk cId="4766551" sldId="2134805942"/>
            <ac:spMk id="13" creationId="{9C83B014-365B-CE5F-61B1-D0323B12113D}"/>
          </ac:spMkLst>
        </pc:spChg>
        <pc:spChg chg="mod ord">
          <ac:chgData name="Jacobo de Nicolás Nuñez" userId="7c6829d1-1bf6-4417-b4a9-02cb8827630e" providerId="ADAL" clId="{857BC41E-A371-448C-9B0F-48FE52EEF25B}" dt="2025-04-15T13:31:47.753" v="4264"/>
          <ac:spMkLst>
            <pc:docMk/>
            <pc:sldMk cId="4766551" sldId="2134805942"/>
            <ac:spMk id="14" creationId="{5B292175-1F80-CF6C-38ED-805C5E871E4F}"/>
          </ac:spMkLst>
        </pc:spChg>
        <pc:spChg chg="mod ord">
          <ac:chgData name="Jacobo de Nicolás Nuñez" userId="7c6829d1-1bf6-4417-b4a9-02cb8827630e" providerId="ADAL" clId="{857BC41E-A371-448C-9B0F-48FE52EEF25B}" dt="2025-04-15T13:31:47.753" v="4266"/>
          <ac:spMkLst>
            <pc:docMk/>
            <pc:sldMk cId="4766551" sldId="2134805942"/>
            <ac:spMk id="15" creationId="{E16B71DE-335F-2FCB-4006-F19CCC2CD7CE}"/>
          </ac:spMkLst>
        </pc:spChg>
        <pc:spChg chg="mod ord">
          <ac:chgData name="Jacobo de Nicolás Nuñez" userId="7c6829d1-1bf6-4417-b4a9-02cb8827630e" providerId="ADAL" clId="{857BC41E-A371-448C-9B0F-48FE52EEF25B}" dt="2025-04-15T13:31:47.753" v="4268"/>
          <ac:spMkLst>
            <pc:docMk/>
            <pc:sldMk cId="4766551" sldId="2134805942"/>
            <ac:spMk id="22" creationId="{CCF1893B-3A50-D562-F2A4-82EEDF921474}"/>
          </ac:spMkLst>
        </pc:spChg>
        <pc:spChg chg="mod ord">
          <ac:chgData name="Jacobo de Nicolás Nuñez" userId="7c6829d1-1bf6-4417-b4a9-02cb8827630e" providerId="ADAL" clId="{857BC41E-A371-448C-9B0F-48FE52EEF25B}" dt="2025-04-15T13:31:47.753" v="4272"/>
          <ac:spMkLst>
            <pc:docMk/>
            <pc:sldMk cId="4766551" sldId="2134805942"/>
            <ac:spMk id="32" creationId="{EF0C2937-2150-9AAE-7D87-FEB851E62806}"/>
          </ac:spMkLst>
        </pc:spChg>
        <pc:spChg chg="mod ord">
          <ac:chgData name="Jacobo de Nicolás Nuñez" userId="7c6829d1-1bf6-4417-b4a9-02cb8827630e" providerId="ADAL" clId="{857BC41E-A371-448C-9B0F-48FE52EEF25B}" dt="2025-04-15T13:31:47.753" v="4274"/>
          <ac:spMkLst>
            <pc:docMk/>
            <pc:sldMk cId="4766551" sldId="2134805942"/>
            <ac:spMk id="33" creationId="{2A1B07B1-ABC6-B7FD-8456-F4455903D623}"/>
          </ac:spMkLst>
        </pc:spChg>
        <pc:spChg chg="mod ord">
          <ac:chgData name="Jacobo de Nicolás Nuñez" userId="7c6829d1-1bf6-4417-b4a9-02cb8827630e" providerId="ADAL" clId="{857BC41E-A371-448C-9B0F-48FE52EEF25B}" dt="2025-04-15T13:31:47.752" v="4252"/>
          <ac:spMkLst>
            <pc:docMk/>
            <pc:sldMk cId="4766551" sldId="2134805942"/>
            <ac:spMk id="70" creationId="{806B8040-186A-DF35-242B-F6AD41CEFC9B}"/>
          </ac:spMkLst>
        </pc:spChg>
        <pc:graphicFrameChg chg="add mod ord modVis">
          <ac:chgData name="Jacobo de Nicolás Nuñez" userId="7c6829d1-1bf6-4417-b4a9-02cb8827630e" providerId="ADAL" clId="{857BC41E-A371-448C-9B0F-48FE52EEF25B}" dt="2025-04-15T13:31:47.753" v="4278"/>
          <ac:graphicFrameMkLst>
            <pc:docMk/>
            <pc:sldMk cId="4766551" sldId="2134805942"/>
            <ac:graphicFrameMk id="6" creationId="{E3C00443-9F79-977D-71CF-AF4FBDE20564}"/>
          </ac:graphicFrameMkLst>
        </pc:graphicFrameChg>
        <pc:picChg chg="add mod ord">
          <ac:chgData name="Jacobo de Nicolás Nuñez" userId="7c6829d1-1bf6-4417-b4a9-02cb8827630e" providerId="ADAL" clId="{857BC41E-A371-448C-9B0F-48FE52EEF25B}" dt="2025-04-17T07:21:54.555" v="6056" actId="14100"/>
          <ac:picMkLst>
            <pc:docMk/>
            <pc:sldMk cId="4766551" sldId="2134805942"/>
            <ac:picMk id="9" creationId="{64D95F72-118A-32B9-52D8-B82E17B234B4}"/>
          </ac:picMkLst>
        </pc:picChg>
        <pc:picChg chg="mod ord">
          <ac:chgData name="Jacobo de Nicolás Nuñez" userId="7c6829d1-1bf6-4417-b4a9-02cb8827630e" providerId="ADAL" clId="{857BC41E-A371-448C-9B0F-48FE52EEF25B}" dt="2025-04-22T13:57:18.626" v="8524" actId="1076"/>
          <ac:picMkLst>
            <pc:docMk/>
            <pc:sldMk cId="4766551" sldId="2134805942"/>
            <ac:picMk id="11" creationId="{6FBB9804-557F-9EE8-7B9A-BAC5AB27E164}"/>
          </ac:picMkLst>
        </pc:picChg>
        <pc:picChg chg="add mod ord">
          <ac:chgData name="Jacobo de Nicolás Nuñez" userId="7c6829d1-1bf6-4417-b4a9-02cb8827630e" providerId="ADAL" clId="{857BC41E-A371-448C-9B0F-48FE52EEF25B}" dt="2025-04-15T13:31:47.748" v="4248"/>
          <ac:picMkLst>
            <pc:docMk/>
            <pc:sldMk cId="4766551" sldId="2134805942"/>
            <ac:picMk id="16" creationId="{2463DC9F-BA2D-D179-52A7-F4A5A085968D}"/>
          </ac:picMkLst>
        </pc:picChg>
        <pc:picChg chg="add mod ord">
          <ac:chgData name="Jacobo de Nicolás Nuñez" userId="7c6829d1-1bf6-4417-b4a9-02cb8827630e" providerId="ADAL" clId="{857BC41E-A371-448C-9B0F-48FE52EEF25B}" dt="2025-04-22T14:34:36.652" v="8558" actId="14100"/>
          <ac:picMkLst>
            <pc:docMk/>
            <pc:sldMk cId="4766551" sldId="2134805942"/>
            <ac:picMk id="18" creationId="{05E734DE-A88D-5F72-5FCC-55B4F93078AC}"/>
          </ac:picMkLst>
        </pc:picChg>
        <pc:picChg chg="add mod ord">
          <ac:chgData name="Jacobo de Nicolás Nuñez" userId="7c6829d1-1bf6-4417-b4a9-02cb8827630e" providerId="ADAL" clId="{857BC41E-A371-448C-9B0F-48FE52EEF25B}" dt="2025-04-15T13:31:47.733" v="4244"/>
          <ac:picMkLst>
            <pc:docMk/>
            <pc:sldMk cId="4766551" sldId="2134805942"/>
            <ac:picMk id="19" creationId="{5CAAE518-E737-2385-8ECA-2C3E16EE0452}"/>
          </ac:picMkLst>
        </pc:picChg>
        <pc:cxnChg chg="mod ord">
          <ac:chgData name="Jacobo de Nicolás Nuñez" userId="7c6829d1-1bf6-4417-b4a9-02cb8827630e" providerId="ADAL" clId="{857BC41E-A371-448C-9B0F-48FE52EEF25B}" dt="2025-04-15T13:31:47.753" v="4270"/>
          <ac:cxnSpMkLst>
            <pc:docMk/>
            <pc:sldMk cId="4766551" sldId="2134805942"/>
            <ac:cxnSpMk id="23" creationId="{556D52A0-7871-5A14-95DA-2CAD76A7198A}"/>
          </ac:cxnSpMkLst>
        </pc:cxnChg>
      </pc:sldChg>
      <pc:sldChg chg="addSp delSp modSp mod">
        <pc:chgData name="Jacobo de Nicolás Nuñez" userId="7c6829d1-1bf6-4417-b4a9-02cb8827630e" providerId="ADAL" clId="{857BC41E-A371-448C-9B0F-48FE52EEF25B}" dt="2025-04-22T12:42:41.002" v="7398" actId="1076"/>
        <pc:sldMkLst>
          <pc:docMk/>
          <pc:sldMk cId="4166116178" sldId="2134805946"/>
        </pc:sldMkLst>
        <pc:spChg chg="mod ord">
          <ac:chgData name="Jacobo de Nicolás Nuñez" userId="7c6829d1-1bf6-4417-b4a9-02cb8827630e" providerId="ADAL" clId="{857BC41E-A371-448C-9B0F-48FE52EEF25B}" dt="2025-04-17T13:29:02.768" v="7145"/>
          <ac:spMkLst>
            <pc:docMk/>
            <pc:sldMk cId="4166116178" sldId="2134805946"/>
            <ac:spMk id="2" creationId="{2DCD8991-7556-929C-BE53-FB68667E5DF2}"/>
          </ac:spMkLst>
        </pc:spChg>
        <pc:spChg chg="mod ord">
          <ac:chgData name="Jacobo de Nicolás Nuñez" userId="7c6829d1-1bf6-4417-b4a9-02cb8827630e" providerId="ADAL" clId="{857BC41E-A371-448C-9B0F-48FE52EEF25B}" dt="2025-04-17T13:29:02.768" v="7147"/>
          <ac:spMkLst>
            <pc:docMk/>
            <pc:sldMk cId="4166116178" sldId="2134805946"/>
            <ac:spMk id="6" creationId="{89559E3A-48F9-5A61-43DB-FDF6C406D47B}"/>
          </ac:spMkLst>
        </pc:spChg>
        <pc:spChg chg="mod ord">
          <ac:chgData name="Jacobo de Nicolás Nuñez" userId="7c6829d1-1bf6-4417-b4a9-02cb8827630e" providerId="ADAL" clId="{857BC41E-A371-448C-9B0F-48FE52EEF25B}" dt="2025-04-17T13:29:02.778" v="7149"/>
          <ac:spMkLst>
            <pc:docMk/>
            <pc:sldMk cId="4166116178" sldId="2134805946"/>
            <ac:spMk id="7" creationId="{92EB8E33-203C-D49E-40DD-AB5F6E0E9743}"/>
          </ac:spMkLst>
        </pc:spChg>
        <pc:spChg chg="mod ord">
          <ac:chgData name="Jacobo de Nicolás Nuñez" userId="7c6829d1-1bf6-4417-b4a9-02cb8827630e" providerId="ADAL" clId="{857BC41E-A371-448C-9B0F-48FE52EEF25B}" dt="2025-04-17T13:29:02.778" v="7151"/>
          <ac:spMkLst>
            <pc:docMk/>
            <pc:sldMk cId="4166116178" sldId="2134805946"/>
            <ac:spMk id="8" creationId="{8419AFA7-5685-7E4F-DCFD-3DE4C873D585}"/>
          </ac:spMkLst>
        </pc:spChg>
        <pc:spChg chg="mod ord">
          <ac:chgData name="Jacobo de Nicolás Nuñez" userId="7c6829d1-1bf6-4417-b4a9-02cb8827630e" providerId="ADAL" clId="{857BC41E-A371-448C-9B0F-48FE52EEF25B}" dt="2025-04-17T13:29:02.778" v="7153"/>
          <ac:spMkLst>
            <pc:docMk/>
            <pc:sldMk cId="4166116178" sldId="2134805946"/>
            <ac:spMk id="9" creationId="{74B5F310-6700-B38B-939A-8F3AA5DA4D06}"/>
          </ac:spMkLst>
        </pc:spChg>
        <pc:spChg chg="mod ord">
          <ac:chgData name="Jacobo de Nicolás Nuñez" userId="7c6829d1-1bf6-4417-b4a9-02cb8827630e" providerId="ADAL" clId="{857BC41E-A371-448C-9B0F-48FE52EEF25B}" dt="2025-04-17T13:29:02.768" v="7141"/>
          <ac:spMkLst>
            <pc:docMk/>
            <pc:sldMk cId="4166116178" sldId="2134805946"/>
            <ac:spMk id="10" creationId="{0B412A69-80CD-F242-DEA4-EC485828E12C}"/>
          </ac:spMkLst>
        </pc:spChg>
        <pc:spChg chg="mod ord">
          <ac:chgData name="Jacobo de Nicolás Nuñez" userId="7c6829d1-1bf6-4417-b4a9-02cb8827630e" providerId="ADAL" clId="{857BC41E-A371-448C-9B0F-48FE52EEF25B}" dt="2025-04-17T13:29:02.768" v="7143"/>
          <ac:spMkLst>
            <pc:docMk/>
            <pc:sldMk cId="4166116178" sldId="2134805946"/>
            <ac:spMk id="15" creationId="{807CE7CA-85DB-3F11-CD82-ABE9E1422532}"/>
          </ac:spMkLst>
        </pc:spChg>
        <pc:spChg chg="mod ord">
          <ac:chgData name="Jacobo de Nicolás Nuñez" userId="7c6829d1-1bf6-4417-b4a9-02cb8827630e" providerId="ADAL" clId="{857BC41E-A371-448C-9B0F-48FE52EEF25B}" dt="2025-04-17T13:29:02.768" v="7139"/>
          <ac:spMkLst>
            <pc:docMk/>
            <pc:sldMk cId="4166116178" sldId="2134805946"/>
            <ac:spMk id="70" creationId="{806B8040-186A-DF35-242B-F6AD41CEFC9B}"/>
          </ac:spMkLst>
        </pc:spChg>
        <pc:graphicFrameChg chg="mod">
          <ac:chgData name="Jacobo de Nicolás Nuñez" userId="7c6829d1-1bf6-4417-b4a9-02cb8827630e" providerId="ADAL" clId="{857BC41E-A371-448C-9B0F-48FE52EEF25B}" dt="2025-04-17T13:29:02.778" v="7155"/>
          <ac:graphicFrameMkLst>
            <pc:docMk/>
            <pc:sldMk cId="4166116178" sldId="2134805946"/>
            <ac:graphicFrameMk id="12" creationId="{019C4181-4801-E6E0-9A63-F25048D33103}"/>
          </ac:graphicFrameMkLst>
        </pc:graphicFrameChg>
        <pc:picChg chg="add mod ord">
          <ac:chgData name="Jacobo de Nicolás Nuñez" userId="7c6829d1-1bf6-4417-b4a9-02cb8827630e" providerId="ADAL" clId="{857BC41E-A371-448C-9B0F-48FE52EEF25B}" dt="2025-04-22T12:42:27.726" v="7395" actId="1076"/>
          <ac:picMkLst>
            <pc:docMk/>
            <pc:sldMk cId="4166116178" sldId="2134805946"/>
            <ac:picMk id="3" creationId="{3A3F3CD9-1903-D28A-43C5-D65E80965B42}"/>
          </ac:picMkLst>
        </pc:picChg>
        <pc:picChg chg="add mod ord">
          <ac:chgData name="Jacobo de Nicolás Nuñez" userId="7c6829d1-1bf6-4417-b4a9-02cb8827630e" providerId="ADAL" clId="{857BC41E-A371-448C-9B0F-48FE52EEF25B}" dt="2025-04-22T12:42:32.949" v="7396" actId="12788"/>
          <ac:picMkLst>
            <pc:docMk/>
            <pc:sldMk cId="4166116178" sldId="2134805946"/>
            <ac:picMk id="4" creationId="{AE3C5A5D-DFF0-2417-AFE5-0894BC48B41B}"/>
          </ac:picMkLst>
        </pc:picChg>
        <pc:picChg chg="mod ord">
          <ac:chgData name="Jacobo de Nicolás Nuñez" userId="7c6829d1-1bf6-4417-b4a9-02cb8827630e" providerId="ADAL" clId="{857BC41E-A371-448C-9B0F-48FE52EEF25B}" dt="2025-04-22T12:42:32.949" v="7396" actId="12788"/>
          <ac:picMkLst>
            <pc:docMk/>
            <pc:sldMk cId="4166116178" sldId="2134805946"/>
            <ac:picMk id="11" creationId="{B9376B7A-BBA0-8F4A-4DCA-8FCBA85EDC3F}"/>
          </ac:picMkLst>
        </pc:picChg>
        <pc:picChg chg="add mod ord">
          <ac:chgData name="Jacobo de Nicolás Nuñez" userId="7c6829d1-1bf6-4417-b4a9-02cb8827630e" providerId="ADAL" clId="{857BC41E-A371-448C-9B0F-48FE52EEF25B}" dt="2025-04-22T12:42:41.002" v="7398" actId="1076"/>
          <ac:picMkLst>
            <pc:docMk/>
            <pc:sldMk cId="4166116178" sldId="2134805946"/>
            <ac:picMk id="13" creationId="{684DC17A-7C71-771A-25A9-54A7829691D2}"/>
          </ac:picMkLst>
        </pc:picChg>
      </pc:sldChg>
      <pc:sldChg chg="addSp delSp modSp mod">
        <pc:chgData name="Jacobo de Nicolás Nuñez" userId="7c6829d1-1bf6-4417-b4a9-02cb8827630e" providerId="ADAL" clId="{857BC41E-A371-448C-9B0F-48FE52EEF25B}" dt="2025-04-22T15:01:18.372" v="8968"/>
        <pc:sldMkLst>
          <pc:docMk/>
          <pc:sldMk cId="1802627569" sldId="2134805949"/>
        </pc:sldMkLst>
        <pc:spChg chg="mod ord">
          <ac:chgData name="Jacobo de Nicolás Nuñez" userId="7c6829d1-1bf6-4417-b4a9-02cb8827630e" providerId="ADAL" clId="{857BC41E-A371-448C-9B0F-48FE52EEF25B}" dt="2025-04-22T15:01:18.372" v="8946"/>
          <ac:spMkLst>
            <pc:docMk/>
            <pc:sldMk cId="1802627569" sldId="2134805949"/>
            <ac:spMk id="2" creationId="{67729ACC-C6B0-D386-5D88-587AFDEAD75D}"/>
          </ac:spMkLst>
        </pc:spChg>
        <pc:spChg chg="mod ord">
          <ac:chgData name="Jacobo de Nicolás Nuñez" userId="7c6829d1-1bf6-4417-b4a9-02cb8827630e" providerId="ADAL" clId="{857BC41E-A371-448C-9B0F-48FE52EEF25B}" dt="2025-04-22T15:01:18.372" v="8948"/>
          <ac:spMkLst>
            <pc:docMk/>
            <pc:sldMk cId="1802627569" sldId="2134805949"/>
            <ac:spMk id="3" creationId="{ED79FEBC-B96C-4B24-A145-EFC26FEB11CD}"/>
          </ac:spMkLst>
        </pc:spChg>
        <pc:spChg chg="mod ord">
          <ac:chgData name="Jacobo de Nicolás Nuñez" userId="7c6829d1-1bf6-4417-b4a9-02cb8827630e" providerId="ADAL" clId="{857BC41E-A371-448C-9B0F-48FE52EEF25B}" dt="2025-04-22T15:01:18.372" v="8944"/>
          <ac:spMkLst>
            <pc:docMk/>
            <pc:sldMk cId="1802627569" sldId="2134805949"/>
            <ac:spMk id="4" creationId="{58CE891D-3E3F-63A5-5F92-92B23934B1DA}"/>
          </ac:spMkLst>
        </pc:spChg>
        <pc:spChg chg="mod ord">
          <ac:chgData name="Jacobo de Nicolás Nuñez" userId="7c6829d1-1bf6-4417-b4a9-02cb8827630e" providerId="ADAL" clId="{857BC41E-A371-448C-9B0F-48FE52EEF25B}" dt="2025-04-22T15:01:18.372" v="8950"/>
          <ac:spMkLst>
            <pc:docMk/>
            <pc:sldMk cId="1802627569" sldId="2134805949"/>
            <ac:spMk id="5" creationId="{0BCF57F0-689B-7F46-6CB7-B65073E5D6AD}"/>
          </ac:spMkLst>
        </pc:spChg>
        <pc:spChg chg="mod ord">
          <ac:chgData name="Jacobo de Nicolás Nuñez" userId="7c6829d1-1bf6-4417-b4a9-02cb8827630e" providerId="ADAL" clId="{857BC41E-A371-448C-9B0F-48FE52EEF25B}" dt="2025-04-22T15:01:18.372" v="8952"/>
          <ac:spMkLst>
            <pc:docMk/>
            <pc:sldMk cId="1802627569" sldId="2134805949"/>
            <ac:spMk id="8" creationId="{C48ACF64-BAD9-B686-7D02-DDF3ABD62BE1}"/>
          </ac:spMkLst>
        </pc:spChg>
        <pc:spChg chg="mod ord">
          <ac:chgData name="Jacobo de Nicolás Nuñez" userId="7c6829d1-1bf6-4417-b4a9-02cb8827630e" providerId="ADAL" clId="{857BC41E-A371-448C-9B0F-48FE52EEF25B}" dt="2025-04-22T15:01:18.372" v="8942"/>
          <ac:spMkLst>
            <pc:docMk/>
            <pc:sldMk cId="1802627569" sldId="2134805949"/>
            <ac:spMk id="9" creationId="{9994BE79-D2E0-7843-0C00-0CA2F19A5A70}"/>
          </ac:spMkLst>
        </pc:spChg>
        <pc:spChg chg="mod ord">
          <ac:chgData name="Jacobo de Nicolás Nuñez" userId="7c6829d1-1bf6-4417-b4a9-02cb8827630e" providerId="ADAL" clId="{857BC41E-A371-448C-9B0F-48FE52EEF25B}" dt="2025-04-22T15:01:18.372" v="8954"/>
          <ac:spMkLst>
            <pc:docMk/>
            <pc:sldMk cId="1802627569" sldId="2134805949"/>
            <ac:spMk id="10" creationId="{357B088F-8E33-C7B0-609B-26F61DD28F01}"/>
          </ac:spMkLst>
        </pc:spChg>
        <pc:spChg chg="mod ord">
          <ac:chgData name="Jacobo de Nicolás Nuñez" userId="7c6829d1-1bf6-4417-b4a9-02cb8827630e" providerId="ADAL" clId="{857BC41E-A371-448C-9B0F-48FE52EEF25B}" dt="2025-04-22T15:01:18.372" v="8956"/>
          <ac:spMkLst>
            <pc:docMk/>
            <pc:sldMk cId="1802627569" sldId="2134805949"/>
            <ac:spMk id="11" creationId="{A67FC90F-ED34-AB1B-7437-A8153FA743D9}"/>
          </ac:spMkLst>
        </pc:spChg>
        <pc:spChg chg="mod ord">
          <ac:chgData name="Jacobo de Nicolás Nuñez" userId="7c6829d1-1bf6-4417-b4a9-02cb8827630e" providerId="ADAL" clId="{857BC41E-A371-448C-9B0F-48FE52EEF25B}" dt="2025-04-22T15:01:18.372" v="8958"/>
          <ac:spMkLst>
            <pc:docMk/>
            <pc:sldMk cId="1802627569" sldId="2134805949"/>
            <ac:spMk id="12" creationId="{676D3714-1A48-50C7-2705-32F6C2045049}"/>
          </ac:spMkLst>
        </pc:spChg>
        <pc:spChg chg="mod ord">
          <ac:chgData name="Jacobo de Nicolás Nuñez" userId="7c6829d1-1bf6-4417-b4a9-02cb8827630e" providerId="ADAL" clId="{857BC41E-A371-448C-9B0F-48FE52EEF25B}" dt="2025-04-22T15:01:18.372" v="8960"/>
          <ac:spMkLst>
            <pc:docMk/>
            <pc:sldMk cId="1802627569" sldId="2134805949"/>
            <ac:spMk id="13" creationId="{EDDD5A82-CF9B-50A3-0A8B-31320414D4AA}"/>
          </ac:spMkLst>
        </pc:spChg>
        <pc:spChg chg="mod ord">
          <ac:chgData name="Jacobo de Nicolás Nuñez" userId="7c6829d1-1bf6-4417-b4a9-02cb8827630e" providerId="ADAL" clId="{857BC41E-A371-448C-9B0F-48FE52EEF25B}" dt="2025-04-22T15:01:18.372" v="8962"/>
          <ac:spMkLst>
            <pc:docMk/>
            <pc:sldMk cId="1802627569" sldId="2134805949"/>
            <ac:spMk id="14" creationId="{458A86BF-5A9D-EEB0-F68C-D165C3EE01FE}"/>
          </ac:spMkLst>
        </pc:spChg>
        <pc:spChg chg="mod ord">
          <ac:chgData name="Jacobo de Nicolás Nuñez" userId="7c6829d1-1bf6-4417-b4a9-02cb8827630e" providerId="ADAL" clId="{857BC41E-A371-448C-9B0F-48FE52EEF25B}" dt="2025-04-22T15:01:18.372" v="8964"/>
          <ac:spMkLst>
            <pc:docMk/>
            <pc:sldMk cId="1802627569" sldId="2134805949"/>
            <ac:spMk id="15" creationId="{88973DAB-0370-5FC8-5047-B78767AEBEA3}"/>
          </ac:spMkLst>
        </pc:spChg>
        <pc:spChg chg="mod ord">
          <ac:chgData name="Jacobo de Nicolás Nuñez" userId="7c6829d1-1bf6-4417-b4a9-02cb8827630e" providerId="ADAL" clId="{857BC41E-A371-448C-9B0F-48FE52EEF25B}" dt="2025-04-22T15:01:18.372" v="8966"/>
          <ac:spMkLst>
            <pc:docMk/>
            <pc:sldMk cId="1802627569" sldId="2134805949"/>
            <ac:spMk id="16" creationId="{352800C5-9EA5-E03C-C853-0DC9B0AD9C40}"/>
          </ac:spMkLst>
        </pc:spChg>
        <pc:spChg chg="mod ord">
          <ac:chgData name="Jacobo de Nicolás Nuñez" userId="7c6829d1-1bf6-4417-b4a9-02cb8827630e" providerId="ADAL" clId="{857BC41E-A371-448C-9B0F-48FE52EEF25B}" dt="2025-04-22T15:01:18.372" v="8936"/>
          <ac:spMkLst>
            <pc:docMk/>
            <pc:sldMk cId="1802627569" sldId="2134805949"/>
            <ac:spMk id="66" creationId="{E3D66219-C056-79DF-43B6-AD9C57CCEB15}"/>
          </ac:spMkLst>
        </pc:spChg>
        <pc:spChg chg="mod ord">
          <ac:chgData name="Jacobo de Nicolás Nuñez" userId="7c6829d1-1bf6-4417-b4a9-02cb8827630e" providerId="ADAL" clId="{857BC41E-A371-448C-9B0F-48FE52EEF25B}" dt="2025-04-22T15:01:18.372" v="8938"/>
          <ac:spMkLst>
            <pc:docMk/>
            <pc:sldMk cId="1802627569" sldId="2134805949"/>
            <ac:spMk id="70" creationId="{806B8040-186A-DF35-242B-F6AD41CEFC9B}"/>
          </ac:spMkLst>
        </pc:spChg>
        <pc:spChg chg="mod ord">
          <ac:chgData name="Jacobo de Nicolás Nuñez" userId="7c6829d1-1bf6-4417-b4a9-02cb8827630e" providerId="ADAL" clId="{857BC41E-A371-448C-9B0F-48FE52EEF25B}" dt="2025-04-22T15:01:18.372" v="8940"/>
          <ac:spMkLst>
            <pc:docMk/>
            <pc:sldMk cId="1802627569" sldId="2134805949"/>
            <ac:spMk id="71" creationId="{2AD15FC7-13C1-7EAF-160A-6AFB645E257B}"/>
          </ac:spMkLst>
        </pc:spChg>
        <pc:graphicFrameChg chg="add mod ord modVis">
          <ac:chgData name="Jacobo de Nicolás Nuñez" userId="7c6829d1-1bf6-4417-b4a9-02cb8827630e" providerId="ADAL" clId="{857BC41E-A371-448C-9B0F-48FE52EEF25B}" dt="2025-04-22T15:01:18.372" v="8968"/>
          <ac:graphicFrameMkLst>
            <pc:docMk/>
            <pc:sldMk cId="1802627569" sldId="2134805949"/>
            <ac:graphicFrameMk id="18" creationId="{028CDC81-BC1F-C5A0-5CE7-677069A874C6}"/>
          </ac:graphicFrameMkLst>
        </pc:graphicFrameChg>
        <pc:picChg chg="add del mod ord">
          <ac:chgData name="Jacobo de Nicolás Nuñez" userId="7c6829d1-1bf6-4417-b4a9-02cb8827630e" providerId="ADAL" clId="{857BC41E-A371-448C-9B0F-48FE52EEF25B}" dt="2025-04-22T15:01:18.362" v="8918"/>
          <ac:picMkLst>
            <pc:docMk/>
            <pc:sldMk cId="1802627569" sldId="2134805949"/>
            <ac:picMk id="6" creationId="{A39173EA-7BE6-F61B-DB2E-8BB753D121C4}"/>
          </ac:picMkLst>
        </pc:picChg>
        <pc:picChg chg="add mod ord">
          <ac:chgData name="Jacobo de Nicolás Nuñez" userId="7c6829d1-1bf6-4417-b4a9-02cb8827630e" providerId="ADAL" clId="{857BC41E-A371-448C-9B0F-48FE52EEF25B}" dt="2025-04-22T15:01:18.362" v="8922"/>
          <ac:picMkLst>
            <pc:docMk/>
            <pc:sldMk cId="1802627569" sldId="2134805949"/>
            <ac:picMk id="7" creationId="{1FC06D95-93E4-4E33-2D63-C9FA0FB986E5}"/>
          </ac:picMkLst>
        </pc:picChg>
        <pc:picChg chg="add mod ord">
          <ac:chgData name="Jacobo de Nicolás Nuñez" userId="7c6829d1-1bf6-4417-b4a9-02cb8827630e" providerId="ADAL" clId="{857BC41E-A371-448C-9B0F-48FE52EEF25B}" dt="2025-04-22T15:01:18.372" v="8934"/>
          <ac:picMkLst>
            <pc:docMk/>
            <pc:sldMk cId="1802627569" sldId="2134805949"/>
            <ac:picMk id="17" creationId="{E2E449D5-81AE-3148-16AE-648F0A6BFAA9}"/>
          </ac:picMkLst>
        </pc:picChg>
        <pc:picChg chg="add mod ord">
          <ac:chgData name="Jacobo de Nicolás Nuñez" userId="7c6829d1-1bf6-4417-b4a9-02cb8827630e" providerId="ADAL" clId="{857BC41E-A371-448C-9B0F-48FE52EEF25B}" dt="2025-04-22T15:01:18.361" v="8916"/>
          <ac:picMkLst>
            <pc:docMk/>
            <pc:sldMk cId="1802627569" sldId="2134805949"/>
            <ac:picMk id="19" creationId="{AF825957-F591-F139-9598-B16262523A68}"/>
          </ac:picMkLst>
        </pc:picChg>
        <pc:picChg chg="add mod ord">
          <ac:chgData name="Jacobo de Nicolás Nuñez" userId="7c6829d1-1bf6-4417-b4a9-02cb8827630e" providerId="ADAL" clId="{857BC41E-A371-448C-9B0F-48FE52EEF25B}" dt="2025-04-22T15:01:18.362" v="8930"/>
          <ac:picMkLst>
            <pc:docMk/>
            <pc:sldMk cId="1802627569" sldId="2134805949"/>
            <ac:picMk id="20" creationId="{901CAE47-BB8D-A0A4-81F9-B846B6837A7B}"/>
          </ac:picMkLst>
        </pc:picChg>
        <pc:picChg chg="add mod ord">
          <ac:chgData name="Jacobo de Nicolás Nuñez" userId="7c6829d1-1bf6-4417-b4a9-02cb8827630e" providerId="ADAL" clId="{857BC41E-A371-448C-9B0F-48FE52EEF25B}" dt="2025-04-22T15:01:18.362" v="8932"/>
          <ac:picMkLst>
            <pc:docMk/>
            <pc:sldMk cId="1802627569" sldId="2134805949"/>
            <ac:picMk id="22" creationId="{88177541-0603-D572-159D-A56209A839AF}"/>
          </ac:picMkLst>
        </pc:picChg>
        <pc:picChg chg="add mod ord">
          <ac:chgData name="Jacobo de Nicolás Nuñez" userId="7c6829d1-1bf6-4417-b4a9-02cb8827630e" providerId="ADAL" clId="{857BC41E-A371-448C-9B0F-48FE52EEF25B}" dt="2025-04-22T15:01:18.362" v="8928"/>
          <ac:picMkLst>
            <pc:docMk/>
            <pc:sldMk cId="1802627569" sldId="2134805949"/>
            <ac:picMk id="24" creationId="{156EFD08-88C6-9CE1-0185-C984C97E74D1}"/>
          </ac:picMkLst>
        </pc:picChg>
        <pc:picChg chg="add mod ord">
          <ac:chgData name="Jacobo de Nicolás Nuñez" userId="7c6829d1-1bf6-4417-b4a9-02cb8827630e" providerId="ADAL" clId="{857BC41E-A371-448C-9B0F-48FE52EEF25B}" dt="2025-04-22T15:01:18.362" v="8926"/>
          <ac:picMkLst>
            <pc:docMk/>
            <pc:sldMk cId="1802627569" sldId="2134805949"/>
            <ac:picMk id="26" creationId="{AEA4211B-4C9C-F6B3-5415-5A1B05CBCCC2}"/>
          </ac:picMkLst>
        </pc:picChg>
        <pc:picChg chg="add mod ord">
          <ac:chgData name="Jacobo de Nicolás Nuñez" userId="7c6829d1-1bf6-4417-b4a9-02cb8827630e" providerId="ADAL" clId="{857BC41E-A371-448C-9B0F-48FE52EEF25B}" dt="2025-04-22T15:01:18.362" v="8924"/>
          <ac:picMkLst>
            <pc:docMk/>
            <pc:sldMk cId="1802627569" sldId="2134805949"/>
            <ac:picMk id="30" creationId="{1A52E602-3DCB-E202-B22B-0E0D40CB6C02}"/>
          </ac:picMkLst>
        </pc:picChg>
        <pc:picChg chg="add mod ord">
          <ac:chgData name="Jacobo de Nicolás Nuñez" userId="7c6829d1-1bf6-4417-b4a9-02cb8827630e" providerId="ADAL" clId="{857BC41E-A371-448C-9B0F-48FE52EEF25B}" dt="2025-04-22T15:01:18.362" v="8920"/>
          <ac:picMkLst>
            <pc:docMk/>
            <pc:sldMk cId="1802627569" sldId="2134805949"/>
            <ac:picMk id="35" creationId="{62683D97-29F5-0750-623B-520ECA766BFB}"/>
          </ac:picMkLst>
        </pc:picChg>
      </pc:sldChg>
      <pc:sldChg chg="addSp delSp modSp mod">
        <pc:chgData name="Jacobo de Nicolás Nuñez" userId="7c6829d1-1bf6-4417-b4a9-02cb8827630e" providerId="ADAL" clId="{857BC41E-A371-448C-9B0F-48FE52EEF25B}" dt="2025-04-22T13:01:38.159" v="7826"/>
        <pc:sldMkLst>
          <pc:docMk/>
          <pc:sldMk cId="1883618646" sldId="2134805954"/>
        </pc:sldMkLst>
        <pc:spChg chg="mod ord">
          <ac:chgData name="Jacobo de Nicolás Nuñez" userId="7c6829d1-1bf6-4417-b4a9-02cb8827630e" providerId="ADAL" clId="{857BC41E-A371-448C-9B0F-48FE52EEF25B}" dt="2025-04-22T13:01:38.159" v="7812"/>
          <ac:spMkLst>
            <pc:docMk/>
            <pc:sldMk cId="1883618646" sldId="2134805954"/>
            <ac:spMk id="2" creationId="{B877A9E7-DC14-6989-A24A-3D43C67D835C}"/>
          </ac:spMkLst>
        </pc:spChg>
        <pc:spChg chg="mod ord">
          <ac:chgData name="Jacobo de Nicolás Nuñez" userId="7c6829d1-1bf6-4417-b4a9-02cb8827630e" providerId="ADAL" clId="{857BC41E-A371-448C-9B0F-48FE52EEF25B}" dt="2025-04-22T13:01:38.159" v="7814"/>
          <ac:spMkLst>
            <pc:docMk/>
            <pc:sldMk cId="1883618646" sldId="2134805954"/>
            <ac:spMk id="4" creationId="{F2168652-6EC2-84CF-5724-4A32080F15F6}"/>
          </ac:spMkLst>
        </pc:spChg>
        <pc:spChg chg="mod ord">
          <ac:chgData name="Jacobo de Nicolás Nuñez" userId="7c6829d1-1bf6-4417-b4a9-02cb8827630e" providerId="ADAL" clId="{857BC41E-A371-448C-9B0F-48FE52EEF25B}" dt="2025-04-22T13:01:38.159" v="7808"/>
          <ac:spMkLst>
            <pc:docMk/>
            <pc:sldMk cId="1883618646" sldId="2134805954"/>
            <ac:spMk id="6" creationId="{CBAA97B5-6F4C-5FAB-4C2C-E38C53F8C8E5}"/>
          </ac:spMkLst>
        </pc:spChg>
        <pc:spChg chg="mod ord">
          <ac:chgData name="Jacobo de Nicolás Nuñez" userId="7c6829d1-1bf6-4417-b4a9-02cb8827630e" providerId="ADAL" clId="{857BC41E-A371-448C-9B0F-48FE52EEF25B}" dt="2025-04-22T13:01:38.159" v="7816"/>
          <ac:spMkLst>
            <pc:docMk/>
            <pc:sldMk cId="1883618646" sldId="2134805954"/>
            <ac:spMk id="7" creationId="{E5025AA0-0096-AEA7-E0C0-AC882788B998}"/>
          </ac:spMkLst>
        </pc:spChg>
        <pc:spChg chg="mod ord">
          <ac:chgData name="Jacobo de Nicolás Nuñez" userId="7c6829d1-1bf6-4417-b4a9-02cb8827630e" providerId="ADAL" clId="{857BC41E-A371-448C-9B0F-48FE52EEF25B}" dt="2025-04-22T13:01:38.159" v="7810"/>
          <ac:spMkLst>
            <pc:docMk/>
            <pc:sldMk cId="1883618646" sldId="2134805954"/>
            <ac:spMk id="8" creationId="{0121463F-5A3D-BEA4-034B-BAD1E6F1E330}"/>
          </ac:spMkLst>
        </pc:spChg>
        <pc:spChg chg="mod ord">
          <ac:chgData name="Jacobo de Nicolás Nuñez" userId="7c6829d1-1bf6-4417-b4a9-02cb8827630e" providerId="ADAL" clId="{857BC41E-A371-448C-9B0F-48FE52EEF25B}" dt="2025-04-22T13:01:38.159" v="7818"/>
          <ac:spMkLst>
            <pc:docMk/>
            <pc:sldMk cId="1883618646" sldId="2134805954"/>
            <ac:spMk id="9" creationId="{C1594D49-B12F-FB6A-E668-1EEFC811FF3E}"/>
          </ac:spMkLst>
        </pc:spChg>
        <pc:spChg chg="mod ord">
          <ac:chgData name="Jacobo de Nicolás Nuñez" userId="7c6829d1-1bf6-4417-b4a9-02cb8827630e" providerId="ADAL" clId="{857BC41E-A371-448C-9B0F-48FE52EEF25B}" dt="2025-04-22T13:01:38.159" v="7806"/>
          <ac:spMkLst>
            <pc:docMk/>
            <pc:sldMk cId="1883618646" sldId="2134805954"/>
            <ac:spMk id="10" creationId="{4AC399DE-D4E4-C4AF-59E7-215433152576}"/>
          </ac:spMkLst>
        </pc:spChg>
        <pc:spChg chg="mod ord">
          <ac:chgData name="Jacobo de Nicolás Nuñez" userId="7c6829d1-1bf6-4417-b4a9-02cb8827630e" providerId="ADAL" clId="{857BC41E-A371-448C-9B0F-48FE52EEF25B}" dt="2025-04-22T13:01:38.159" v="7820"/>
          <ac:spMkLst>
            <pc:docMk/>
            <pc:sldMk cId="1883618646" sldId="2134805954"/>
            <ac:spMk id="11" creationId="{C43A7E09-E19F-C91E-BFED-7D7011F97F9E}"/>
          </ac:spMkLst>
        </pc:spChg>
        <pc:spChg chg="mod ord">
          <ac:chgData name="Jacobo de Nicolás Nuñez" userId="7c6829d1-1bf6-4417-b4a9-02cb8827630e" providerId="ADAL" clId="{857BC41E-A371-448C-9B0F-48FE52EEF25B}" dt="2025-04-22T13:01:38.159" v="7822"/>
          <ac:spMkLst>
            <pc:docMk/>
            <pc:sldMk cId="1883618646" sldId="2134805954"/>
            <ac:spMk id="12" creationId="{044ADC9A-BB62-458E-D23A-ABD8EEDC45E2}"/>
          </ac:spMkLst>
        </pc:spChg>
        <pc:spChg chg="mod ord">
          <ac:chgData name="Jacobo de Nicolás Nuñez" userId="7c6829d1-1bf6-4417-b4a9-02cb8827630e" providerId="ADAL" clId="{857BC41E-A371-448C-9B0F-48FE52EEF25B}" dt="2025-04-22T13:01:38.159" v="7824"/>
          <ac:spMkLst>
            <pc:docMk/>
            <pc:sldMk cId="1883618646" sldId="2134805954"/>
            <ac:spMk id="13" creationId="{5F7B4BB8-79DD-EB14-7B27-1196210563D7}"/>
          </ac:spMkLst>
        </pc:spChg>
        <pc:spChg chg="mod ord">
          <ac:chgData name="Jacobo de Nicolás Nuñez" userId="7c6829d1-1bf6-4417-b4a9-02cb8827630e" providerId="ADAL" clId="{857BC41E-A371-448C-9B0F-48FE52EEF25B}" dt="2025-04-22T13:01:38.159" v="7804"/>
          <ac:spMkLst>
            <pc:docMk/>
            <pc:sldMk cId="1883618646" sldId="2134805954"/>
            <ac:spMk id="71" creationId="{2AD15FC7-13C1-7EAF-160A-6AFB645E257B}"/>
          </ac:spMkLst>
        </pc:spChg>
        <pc:graphicFrameChg chg="add mod ord modVis">
          <ac:chgData name="Jacobo de Nicolás Nuñez" userId="7c6829d1-1bf6-4417-b4a9-02cb8827630e" providerId="ADAL" clId="{857BC41E-A371-448C-9B0F-48FE52EEF25B}" dt="2025-04-22T13:01:38.159" v="7826"/>
          <ac:graphicFrameMkLst>
            <pc:docMk/>
            <pc:sldMk cId="1883618646" sldId="2134805954"/>
            <ac:graphicFrameMk id="14" creationId="{21ECD3E1-8756-A3EB-B5A8-0A9F1DCE8FBE}"/>
          </ac:graphicFrameMkLst>
        </pc:graphicFrameChg>
        <pc:picChg chg="add mod ord">
          <ac:chgData name="Jacobo de Nicolás Nuñez" userId="7c6829d1-1bf6-4417-b4a9-02cb8827630e" providerId="ADAL" clId="{857BC41E-A371-448C-9B0F-48FE52EEF25B}" dt="2025-04-22T13:01:38.143" v="7798"/>
          <ac:picMkLst>
            <pc:docMk/>
            <pc:sldMk cId="1883618646" sldId="2134805954"/>
            <ac:picMk id="3" creationId="{624DD6D4-B15A-2733-8D8A-55EFDA140ECD}"/>
          </ac:picMkLst>
        </pc:picChg>
        <pc:picChg chg="add mod ord">
          <ac:chgData name="Jacobo de Nicolás Nuñez" userId="7c6829d1-1bf6-4417-b4a9-02cb8827630e" providerId="ADAL" clId="{857BC41E-A371-448C-9B0F-48FE52EEF25B}" dt="2025-04-22T13:01:38.143" v="7792"/>
          <ac:picMkLst>
            <pc:docMk/>
            <pc:sldMk cId="1883618646" sldId="2134805954"/>
            <ac:picMk id="5" creationId="{7F742090-6762-DFB4-2DE4-D13B30C0BC31}"/>
          </ac:picMkLst>
        </pc:picChg>
        <pc:picChg chg="add mod ord">
          <ac:chgData name="Jacobo de Nicolás Nuñez" userId="7c6829d1-1bf6-4417-b4a9-02cb8827630e" providerId="ADAL" clId="{857BC41E-A371-448C-9B0F-48FE52EEF25B}" dt="2025-04-22T13:01:38.159" v="7800"/>
          <ac:picMkLst>
            <pc:docMk/>
            <pc:sldMk cId="1883618646" sldId="2134805954"/>
            <ac:picMk id="15" creationId="{9311FE69-4778-EBF0-11FE-83A854D3F3AD}"/>
          </ac:picMkLst>
        </pc:picChg>
        <pc:picChg chg="add mod ord">
          <ac:chgData name="Jacobo de Nicolás Nuñez" userId="7c6829d1-1bf6-4417-b4a9-02cb8827630e" providerId="ADAL" clId="{857BC41E-A371-448C-9B0F-48FE52EEF25B}" dt="2025-04-22T13:01:38.143" v="7796"/>
          <ac:picMkLst>
            <pc:docMk/>
            <pc:sldMk cId="1883618646" sldId="2134805954"/>
            <ac:picMk id="16" creationId="{88CD22D6-9626-D920-0925-D8028B762CB5}"/>
          </ac:picMkLst>
        </pc:picChg>
        <pc:picChg chg="mod ord">
          <ac:chgData name="Jacobo de Nicolás Nuñez" userId="7c6829d1-1bf6-4417-b4a9-02cb8827630e" providerId="ADAL" clId="{857BC41E-A371-448C-9B0F-48FE52EEF25B}" dt="2025-04-22T13:01:38.143" v="7794"/>
          <ac:picMkLst>
            <pc:docMk/>
            <pc:sldMk cId="1883618646" sldId="2134805954"/>
            <ac:picMk id="30" creationId="{211331C7-4C8E-EC6B-9499-336BED4FA3C0}"/>
          </ac:picMkLst>
        </pc:picChg>
        <pc:picChg chg="mod ord">
          <ac:chgData name="Jacobo de Nicolás Nuñez" userId="7c6829d1-1bf6-4417-b4a9-02cb8827630e" providerId="ADAL" clId="{857BC41E-A371-448C-9B0F-48FE52EEF25B}" dt="2025-04-22T13:01:38.159" v="7802"/>
          <ac:picMkLst>
            <pc:docMk/>
            <pc:sldMk cId="1883618646" sldId="2134805954"/>
            <ac:picMk id="32" creationId="{DF7D9DB1-B24E-3C7E-50DE-650AB99C8A89}"/>
          </ac:picMkLst>
        </pc:picChg>
      </pc:sldChg>
      <pc:sldChg chg="addSp delSp modSp mod">
        <pc:chgData name="Jacobo de Nicolás Nuñez" userId="7c6829d1-1bf6-4417-b4a9-02cb8827630e" providerId="ADAL" clId="{857BC41E-A371-448C-9B0F-48FE52EEF25B}" dt="2025-04-22T13:47:07.399" v="8283"/>
        <pc:sldMkLst>
          <pc:docMk/>
          <pc:sldMk cId="3432998705" sldId="2134805960"/>
        </pc:sldMkLst>
        <pc:spChg chg="mod ord">
          <ac:chgData name="Jacobo de Nicolás Nuñez" userId="7c6829d1-1bf6-4417-b4a9-02cb8827630e" providerId="ADAL" clId="{857BC41E-A371-448C-9B0F-48FE52EEF25B}" dt="2025-04-22T13:47:07.384" v="8269"/>
          <ac:spMkLst>
            <pc:docMk/>
            <pc:sldMk cId="3432998705" sldId="2134805960"/>
            <ac:spMk id="2" creationId="{F0F70428-8939-8AAE-319B-8FB25BEE1F17}"/>
          </ac:spMkLst>
        </pc:spChg>
        <pc:spChg chg="mod ord">
          <ac:chgData name="Jacobo de Nicolás Nuñez" userId="7c6829d1-1bf6-4417-b4a9-02cb8827630e" providerId="ADAL" clId="{857BC41E-A371-448C-9B0F-48FE52EEF25B}" dt="2025-04-22T13:47:07.384" v="8261"/>
          <ac:spMkLst>
            <pc:docMk/>
            <pc:sldMk cId="3432998705" sldId="2134805960"/>
            <ac:spMk id="3" creationId="{776DAC6D-D609-39D9-A2ED-06A1321C7DAA}"/>
          </ac:spMkLst>
        </pc:spChg>
        <pc:spChg chg="mod ord">
          <ac:chgData name="Jacobo de Nicolás Nuñez" userId="7c6829d1-1bf6-4417-b4a9-02cb8827630e" providerId="ADAL" clId="{857BC41E-A371-448C-9B0F-48FE52EEF25B}" dt="2025-04-22T13:47:07.384" v="8263"/>
          <ac:spMkLst>
            <pc:docMk/>
            <pc:sldMk cId="3432998705" sldId="2134805960"/>
            <ac:spMk id="4" creationId="{3BAFC924-A612-207D-A152-A77541CBE872}"/>
          </ac:spMkLst>
        </pc:spChg>
        <pc:spChg chg="mod ord">
          <ac:chgData name="Jacobo de Nicolás Nuñez" userId="7c6829d1-1bf6-4417-b4a9-02cb8827630e" providerId="ADAL" clId="{857BC41E-A371-448C-9B0F-48FE52EEF25B}" dt="2025-04-22T13:47:07.384" v="8267"/>
          <ac:spMkLst>
            <pc:docMk/>
            <pc:sldMk cId="3432998705" sldId="2134805960"/>
            <ac:spMk id="6" creationId="{5033CA79-B0E0-1D69-EE94-EA433EFEADF5}"/>
          </ac:spMkLst>
        </pc:spChg>
        <pc:spChg chg="mod ord">
          <ac:chgData name="Jacobo de Nicolás Nuñez" userId="7c6829d1-1bf6-4417-b4a9-02cb8827630e" providerId="ADAL" clId="{857BC41E-A371-448C-9B0F-48FE52EEF25B}" dt="2025-04-22T13:47:07.384" v="8271"/>
          <ac:spMkLst>
            <pc:docMk/>
            <pc:sldMk cId="3432998705" sldId="2134805960"/>
            <ac:spMk id="7" creationId="{1B6E7B55-6D7F-C714-27A3-A9D509F67A50}"/>
          </ac:spMkLst>
        </pc:spChg>
        <pc:spChg chg="mod ord">
          <ac:chgData name="Jacobo de Nicolás Nuñez" userId="7c6829d1-1bf6-4417-b4a9-02cb8827630e" providerId="ADAL" clId="{857BC41E-A371-448C-9B0F-48FE52EEF25B}" dt="2025-04-22T13:47:07.384" v="8273"/>
          <ac:spMkLst>
            <pc:docMk/>
            <pc:sldMk cId="3432998705" sldId="2134805960"/>
            <ac:spMk id="9" creationId="{1A31205D-EFC2-C2D8-62AD-81ABF79DD233}"/>
          </ac:spMkLst>
        </pc:spChg>
        <pc:spChg chg="mod ord">
          <ac:chgData name="Jacobo de Nicolás Nuñez" userId="7c6829d1-1bf6-4417-b4a9-02cb8827630e" providerId="ADAL" clId="{857BC41E-A371-448C-9B0F-48FE52EEF25B}" dt="2025-04-22T13:47:07.384" v="8275"/>
          <ac:spMkLst>
            <pc:docMk/>
            <pc:sldMk cId="3432998705" sldId="2134805960"/>
            <ac:spMk id="10" creationId="{F3E8258D-BBA1-4FF1-8821-7BC5EFF53184}"/>
          </ac:spMkLst>
        </pc:spChg>
        <pc:spChg chg="mod ord">
          <ac:chgData name="Jacobo de Nicolás Nuñez" userId="7c6829d1-1bf6-4417-b4a9-02cb8827630e" providerId="ADAL" clId="{857BC41E-A371-448C-9B0F-48FE52EEF25B}" dt="2025-04-22T13:47:07.384" v="8277"/>
          <ac:spMkLst>
            <pc:docMk/>
            <pc:sldMk cId="3432998705" sldId="2134805960"/>
            <ac:spMk id="11" creationId="{3F602D60-B41E-DFB4-1BEB-D0DAA6200E0E}"/>
          </ac:spMkLst>
        </pc:spChg>
        <pc:spChg chg="mod ord">
          <ac:chgData name="Jacobo de Nicolás Nuñez" userId="7c6829d1-1bf6-4417-b4a9-02cb8827630e" providerId="ADAL" clId="{857BC41E-A371-448C-9B0F-48FE52EEF25B}" dt="2025-04-22T13:47:07.384" v="8279"/>
          <ac:spMkLst>
            <pc:docMk/>
            <pc:sldMk cId="3432998705" sldId="2134805960"/>
            <ac:spMk id="12" creationId="{614053B4-3CF1-3F48-38B8-F2EA433BC7D1}"/>
          </ac:spMkLst>
        </pc:spChg>
        <pc:spChg chg="mod ord">
          <ac:chgData name="Jacobo de Nicolás Nuñez" userId="7c6829d1-1bf6-4417-b4a9-02cb8827630e" providerId="ADAL" clId="{857BC41E-A371-448C-9B0F-48FE52EEF25B}" dt="2025-04-22T13:47:07.384" v="8265"/>
          <ac:spMkLst>
            <pc:docMk/>
            <pc:sldMk cId="3432998705" sldId="2134805960"/>
            <ac:spMk id="13" creationId="{9C83B014-365B-CE5F-61B1-D0323B12113D}"/>
          </ac:spMkLst>
        </pc:spChg>
        <pc:spChg chg="mod ord">
          <ac:chgData name="Jacobo de Nicolás Nuñez" userId="7c6829d1-1bf6-4417-b4a9-02cb8827630e" providerId="ADAL" clId="{857BC41E-A371-448C-9B0F-48FE52EEF25B}" dt="2025-04-22T13:47:07.399" v="8281"/>
          <ac:spMkLst>
            <pc:docMk/>
            <pc:sldMk cId="3432998705" sldId="2134805960"/>
            <ac:spMk id="14" creationId="{9EF0CDD1-9434-E590-5390-A4026AD3C145}"/>
          </ac:spMkLst>
        </pc:spChg>
        <pc:spChg chg="mod ord">
          <ac:chgData name="Jacobo de Nicolás Nuñez" userId="7c6829d1-1bf6-4417-b4a9-02cb8827630e" providerId="ADAL" clId="{857BC41E-A371-448C-9B0F-48FE52EEF25B}" dt="2025-04-22T13:47:07.384" v="8259"/>
          <ac:spMkLst>
            <pc:docMk/>
            <pc:sldMk cId="3432998705" sldId="2134805960"/>
            <ac:spMk id="70" creationId="{806B8040-186A-DF35-242B-F6AD41CEFC9B}"/>
          </ac:spMkLst>
        </pc:spChg>
        <pc:graphicFrameChg chg="add mod ord modVis">
          <ac:chgData name="Jacobo de Nicolás Nuñez" userId="7c6829d1-1bf6-4417-b4a9-02cb8827630e" providerId="ADAL" clId="{857BC41E-A371-448C-9B0F-48FE52EEF25B}" dt="2025-04-22T13:47:07.399" v="8283"/>
          <ac:graphicFrameMkLst>
            <pc:docMk/>
            <pc:sldMk cId="3432998705" sldId="2134805960"/>
            <ac:graphicFrameMk id="8" creationId="{E7197978-3685-CACB-3F4E-AF64866CC05B}"/>
          </ac:graphicFrameMkLst>
        </pc:graphicFrameChg>
        <pc:picChg chg="add mod ord">
          <ac:chgData name="Jacobo de Nicolás Nuñez" userId="7c6829d1-1bf6-4417-b4a9-02cb8827630e" providerId="ADAL" clId="{857BC41E-A371-448C-9B0F-48FE52EEF25B}" dt="2025-04-22T13:47:07.384" v="8251"/>
          <ac:picMkLst>
            <pc:docMk/>
            <pc:sldMk cId="3432998705" sldId="2134805960"/>
            <ac:picMk id="17" creationId="{1F0A1616-6323-338B-947E-5ED92E956C16}"/>
          </ac:picMkLst>
        </pc:picChg>
        <pc:picChg chg="add mod ord">
          <ac:chgData name="Jacobo de Nicolás Nuñez" userId="7c6829d1-1bf6-4417-b4a9-02cb8827630e" providerId="ADAL" clId="{857BC41E-A371-448C-9B0F-48FE52EEF25B}" dt="2025-04-22T13:47:07.384" v="8253"/>
          <ac:picMkLst>
            <pc:docMk/>
            <pc:sldMk cId="3432998705" sldId="2134805960"/>
            <ac:picMk id="18" creationId="{298ACC0A-9B6E-1DA8-BAD4-629CA0A9769C}"/>
          </ac:picMkLst>
        </pc:picChg>
        <pc:picChg chg="add mod ord">
          <ac:chgData name="Jacobo de Nicolás Nuñez" userId="7c6829d1-1bf6-4417-b4a9-02cb8827630e" providerId="ADAL" clId="{857BC41E-A371-448C-9B0F-48FE52EEF25B}" dt="2025-04-22T13:47:07.384" v="8255"/>
          <ac:picMkLst>
            <pc:docMk/>
            <pc:sldMk cId="3432998705" sldId="2134805960"/>
            <ac:picMk id="19" creationId="{F0E70F13-FCA9-8E76-CB47-C98F0ED2E7DB}"/>
          </ac:picMkLst>
        </pc:picChg>
        <pc:picChg chg="add mod ord">
          <ac:chgData name="Jacobo de Nicolás Nuñez" userId="7c6829d1-1bf6-4417-b4a9-02cb8827630e" providerId="ADAL" clId="{857BC41E-A371-448C-9B0F-48FE52EEF25B}" dt="2025-04-22T13:47:07.384" v="8257"/>
          <ac:picMkLst>
            <pc:docMk/>
            <pc:sldMk cId="3432998705" sldId="2134805960"/>
            <ac:picMk id="20" creationId="{5DDB3917-7B97-57A7-E3FE-C11C6850C454}"/>
          </ac:picMkLst>
        </pc:picChg>
        <pc:picChg chg="mod ord">
          <ac:chgData name="Jacobo de Nicolás Nuñez" userId="7c6829d1-1bf6-4417-b4a9-02cb8827630e" providerId="ADAL" clId="{857BC41E-A371-448C-9B0F-48FE52EEF25B}" dt="2025-04-22T13:47:07.384" v="8247"/>
          <ac:picMkLst>
            <pc:docMk/>
            <pc:sldMk cId="3432998705" sldId="2134805960"/>
            <ac:picMk id="29" creationId="{B2DE51B2-3015-FFF6-BC08-DC4DA2005230}"/>
          </ac:picMkLst>
        </pc:picChg>
        <pc:picChg chg="mod ord">
          <ac:chgData name="Jacobo de Nicolás Nuñez" userId="7c6829d1-1bf6-4417-b4a9-02cb8827630e" providerId="ADAL" clId="{857BC41E-A371-448C-9B0F-48FE52EEF25B}" dt="2025-04-22T13:47:07.384" v="8249"/>
          <ac:picMkLst>
            <pc:docMk/>
            <pc:sldMk cId="3432998705" sldId="2134805960"/>
            <ac:picMk id="30" creationId="{211331C7-4C8E-EC6B-9499-336BED4FA3C0}"/>
          </ac:picMkLst>
        </pc:picChg>
      </pc:sldChg>
      <pc:sldChg chg="addSp delSp modSp mod">
        <pc:chgData name="Jacobo de Nicolás Nuñez" userId="7c6829d1-1bf6-4417-b4a9-02cb8827630e" providerId="ADAL" clId="{857BC41E-A371-448C-9B0F-48FE52EEF25B}" dt="2025-04-11T10:08:38.310" v="1748" actId="1076"/>
        <pc:sldMkLst>
          <pc:docMk/>
          <pc:sldMk cId="334095102" sldId="2134805962"/>
        </pc:sldMkLst>
        <pc:spChg chg="mod ord">
          <ac:chgData name="Jacobo de Nicolás Nuñez" userId="7c6829d1-1bf6-4417-b4a9-02cb8827630e" providerId="ADAL" clId="{857BC41E-A371-448C-9B0F-48FE52EEF25B}" dt="2025-04-11T10:08:27.671" v="1731"/>
          <ac:spMkLst>
            <pc:docMk/>
            <pc:sldMk cId="334095102" sldId="2134805962"/>
            <ac:spMk id="2" creationId="{52D819FE-6EA3-07EC-A2A3-F592C382B95A}"/>
          </ac:spMkLst>
        </pc:spChg>
        <pc:spChg chg="mod ord">
          <ac:chgData name="Jacobo de Nicolás Nuñez" userId="7c6829d1-1bf6-4417-b4a9-02cb8827630e" providerId="ADAL" clId="{857BC41E-A371-448C-9B0F-48FE52EEF25B}" dt="2025-04-11T10:08:27.671" v="1729"/>
          <ac:spMkLst>
            <pc:docMk/>
            <pc:sldMk cId="334095102" sldId="2134805962"/>
            <ac:spMk id="10" creationId="{41D25E0F-47B1-4451-0E05-DCA95FB9A69A}"/>
          </ac:spMkLst>
        </pc:spChg>
        <pc:spChg chg="mod ord">
          <ac:chgData name="Jacobo de Nicolás Nuñez" userId="7c6829d1-1bf6-4417-b4a9-02cb8827630e" providerId="ADAL" clId="{857BC41E-A371-448C-9B0F-48FE52EEF25B}" dt="2025-04-11T10:08:27.671" v="1727"/>
          <ac:spMkLst>
            <pc:docMk/>
            <pc:sldMk cId="334095102" sldId="2134805962"/>
            <ac:spMk id="13" creationId="{9C83B014-365B-CE5F-61B1-D0323B12113D}"/>
          </ac:spMkLst>
        </pc:spChg>
        <pc:spChg chg="mod ord">
          <ac:chgData name="Jacobo de Nicolás Nuñez" userId="7c6829d1-1bf6-4417-b4a9-02cb8827630e" providerId="ADAL" clId="{857BC41E-A371-448C-9B0F-48FE52EEF25B}" dt="2025-04-11T10:08:27.671" v="1735"/>
          <ac:spMkLst>
            <pc:docMk/>
            <pc:sldMk cId="334095102" sldId="2134805962"/>
            <ac:spMk id="14" creationId="{47C04586-0C2B-DA28-87F6-7B142DECEE4D}"/>
          </ac:spMkLst>
        </pc:spChg>
        <pc:spChg chg="mod ord">
          <ac:chgData name="Jacobo de Nicolás Nuñez" userId="7c6829d1-1bf6-4417-b4a9-02cb8827630e" providerId="ADAL" clId="{857BC41E-A371-448C-9B0F-48FE52EEF25B}" dt="2025-04-11T10:08:27.671" v="1737"/>
          <ac:spMkLst>
            <pc:docMk/>
            <pc:sldMk cId="334095102" sldId="2134805962"/>
            <ac:spMk id="15" creationId="{4FB2DDEA-FE25-B4E0-FC1C-D819719A06DA}"/>
          </ac:spMkLst>
        </pc:spChg>
        <pc:spChg chg="mod ord">
          <ac:chgData name="Jacobo de Nicolás Nuñez" userId="7c6829d1-1bf6-4417-b4a9-02cb8827630e" providerId="ADAL" clId="{857BC41E-A371-448C-9B0F-48FE52EEF25B}" dt="2025-04-11T10:08:27.671" v="1739"/>
          <ac:spMkLst>
            <pc:docMk/>
            <pc:sldMk cId="334095102" sldId="2134805962"/>
            <ac:spMk id="16" creationId="{9142638C-C16C-43BC-1104-335600E3D220}"/>
          </ac:spMkLst>
        </pc:spChg>
        <pc:spChg chg="mod ord">
          <ac:chgData name="Jacobo de Nicolás Nuñez" userId="7c6829d1-1bf6-4417-b4a9-02cb8827630e" providerId="ADAL" clId="{857BC41E-A371-448C-9B0F-48FE52EEF25B}" dt="2025-04-11T10:08:27.671" v="1741"/>
          <ac:spMkLst>
            <pc:docMk/>
            <pc:sldMk cId="334095102" sldId="2134805962"/>
            <ac:spMk id="17" creationId="{275CE400-FC1E-DF6E-DEC3-0027EEB1D649}"/>
          </ac:spMkLst>
        </pc:spChg>
        <pc:spChg chg="mod ord">
          <ac:chgData name="Jacobo de Nicolás Nuñez" userId="7c6829d1-1bf6-4417-b4a9-02cb8827630e" providerId="ADAL" clId="{857BC41E-A371-448C-9B0F-48FE52EEF25B}" dt="2025-04-11T10:08:27.671" v="1743"/>
          <ac:spMkLst>
            <pc:docMk/>
            <pc:sldMk cId="334095102" sldId="2134805962"/>
            <ac:spMk id="18" creationId="{6C970711-6A3D-8DF7-D6F2-0511083DF266}"/>
          </ac:spMkLst>
        </pc:spChg>
        <pc:spChg chg="mod ord">
          <ac:chgData name="Jacobo de Nicolás Nuñez" userId="7c6829d1-1bf6-4417-b4a9-02cb8827630e" providerId="ADAL" clId="{857BC41E-A371-448C-9B0F-48FE52EEF25B}" dt="2025-04-11T10:08:27.671" v="1725"/>
          <ac:spMkLst>
            <pc:docMk/>
            <pc:sldMk cId="334095102" sldId="2134805962"/>
            <ac:spMk id="70" creationId="{806B8040-186A-DF35-242B-F6AD41CEFC9B}"/>
          </ac:spMkLst>
        </pc:spChg>
        <pc:graphicFrameChg chg="add mod ord modVis">
          <ac:chgData name="Jacobo de Nicolás Nuñez" userId="7c6829d1-1bf6-4417-b4a9-02cb8827630e" providerId="ADAL" clId="{857BC41E-A371-448C-9B0F-48FE52EEF25B}" dt="2025-04-11T10:08:27.687" v="1745"/>
          <ac:graphicFrameMkLst>
            <pc:docMk/>
            <pc:sldMk cId="334095102" sldId="2134805962"/>
            <ac:graphicFrameMk id="4" creationId="{4BF65F13-2E86-55E6-442B-D4D8D8005B8F}"/>
          </ac:graphicFrameMkLst>
        </pc:graphicFrameChg>
        <pc:picChg chg="add mod ord">
          <ac:chgData name="Jacobo de Nicolás Nuñez" userId="7c6829d1-1bf6-4417-b4a9-02cb8827630e" providerId="ADAL" clId="{857BC41E-A371-448C-9B0F-48FE52EEF25B}" dt="2025-04-11T10:08:27.654" v="1719"/>
          <ac:picMkLst>
            <pc:docMk/>
            <pc:sldMk cId="334095102" sldId="2134805962"/>
            <ac:picMk id="3" creationId="{6EACAFED-16AF-5741-1845-5C7AD9C57054}"/>
          </ac:picMkLst>
        </pc:picChg>
        <pc:picChg chg="add mod ord">
          <ac:chgData name="Jacobo de Nicolás Nuñez" userId="7c6829d1-1bf6-4417-b4a9-02cb8827630e" providerId="ADAL" clId="{857BC41E-A371-448C-9B0F-48FE52EEF25B}" dt="2025-04-11T10:08:38.310" v="1748" actId="1076"/>
          <ac:picMkLst>
            <pc:docMk/>
            <pc:sldMk cId="334095102" sldId="2134805962"/>
            <ac:picMk id="5" creationId="{80625B1A-8997-48F9-DF5F-699F8057B0E1}"/>
          </ac:picMkLst>
        </pc:picChg>
        <pc:picChg chg="mod ord">
          <ac:chgData name="Jacobo de Nicolás Nuñez" userId="7c6829d1-1bf6-4417-b4a9-02cb8827630e" providerId="ADAL" clId="{857BC41E-A371-448C-9B0F-48FE52EEF25B}" dt="2025-04-11T10:08:27.671" v="1733"/>
          <ac:picMkLst>
            <pc:docMk/>
            <pc:sldMk cId="334095102" sldId="2134805962"/>
            <ac:picMk id="8" creationId="{3E8AA242-8C0A-1C2A-611D-B0B09630531C}"/>
          </ac:picMkLst>
        </pc:picChg>
        <pc:picChg chg="mod ord">
          <ac:chgData name="Jacobo de Nicolás Nuñez" userId="7c6829d1-1bf6-4417-b4a9-02cb8827630e" providerId="ADAL" clId="{857BC41E-A371-448C-9B0F-48FE52EEF25B}" dt="2025-04-11T10:08:27.654" v="1721"/>
          <ac:picMkLst>
            <pc:docMk/>
            <pc:sldMk cId="334095102" sldId="2134805962"/>
            <ac:picMk id="25" creationId="{5CBD2090-8162-5D58-B7E3-22DC2AF4F669}"/>
          </ac:picMkLst>
        </pc:picChg>
        <pc:picChg chg="add del mod ord">
          <ac:chgData name="Jacobo de Nicolás Nuñez" userId="7c6829d1-1bf6-4417-b4a9-02cb8827630e" providerId="ADAL" clId="{857BC41E-A371-448C-9B0F-48FE52EEF25B}" dt="2025-04-11T10:08:27.670" v="1723"/>
          <ac:picMkLst>
            <pc:docMk/>
            <pc:sldMk cId="334095102" sldId="2134805962"/>
            <ac:picMk id="27" creationId="{134D13EA-77DA-E0ED-E9EC-5C0988747F1B}"/>
          </ac:picMkLst>
        </pc:picChg>
      </pc:sldChg>
      <pc:sldChg chg="addSp delSp modSp mod">
        <pc:chgData name="Jacobo de Nicolás Nuñez" userId="7c6829d1-1bf6-4417-b4a9-02cb8827630e" providerId="ADAL" clId="{857BC41E-A371-448C-9B0F-48FE52EEF25B}" dt="2025-04-22T13:39:19.551" v="8217" actId="12788"/>
        <pc:sldMkLst>
          <pc:docMk/>
          <pc:sldMk cId="2441259515" sldId="2134805964"/>
        </pc:sldMkLst>
        <pc:picChg chg="add mod">
          <ac:chgData name="Jacobo de Nicolás Nuñez" userId="7c6829d1-1bf6-4417-b4a9-02cb8827630e" providerId="ADAL" clId="{857BC41E-A371-448C-9B0F-48FE52EEF25B}" dt="2025-04-22T13:39:19.551" v="8217" actId="12788"/>
          <ac:picMkLst>
            <pc:docMk/>
            <pc:sldMk cId="2441259515" sldId="2134805964"/>
            <ac:picMk id="3" creationId="{E1E8A19F-805F-F336-B2C1-D12D9D4F65EF}"/>
          </ac:picMkLst>
        </pc:picChg>
        <pc:picChg chg="add mod">
          <ac:chgData name="Jacobo de Nicolás Nuñez" userId="7c6829d1-1bf6-4417-b4a9-02cb8827630e" providerId="ADAL" clId="{857BC41E-A371-448C-9B0F-48FE52EEF25B}" dt="2025-04-22T13:39:19.551" v="8217" actId="12788"/>
          <ac:picMkLst>
            <pc:docMk/>
            <pc:sldMk cId="2441259515" sldId="2134805964"/>
            <ac:picMk id="5" creationId="{507C6F42-39A7-557B-E4AB-27C345CDFB54}"/>
          </ac:picMkLst>
        </pc:picChg>
        <pc:picChg chg="mod">
          <ac:chgData name="Jacobo de Nicolás Nuñez" userId="7c6829d1-1bf6-4417-b4a9-02cb8827630e" providerId="ADAL" clId="{857BC41E-A371-448C-9B0F-48FE52EEF25B}" dt="2025-04-22T13:39:19.551" v="8217" actId="12788"/>
          <ac:picMkLst>
            <pc:docMk/>
            <pc:sldMk cId="2441259515" sldId="2134805964"/>
            <ac:picMk id="25" creationId="{5CBD2090-8162-5D58-B7E3-22DC2AF4F669}"/>
          </ac:picMkLst>
        </pc:picChg>
        <pc:picChg chg="mod">
          <ac:chgData name="Jacobo de Nicolás Nuñez" userId="7c6829d1-1bf6-4417-b4a9-02cb8827630e" providerId="ADAL" clId="{857BC41E-A371-448C-9B0F-48FE52EEF25B}" dt="2025-04-22T13:39:19.551" v="8217" actId="12788"/>
          <ac:picMkLst>
            <pc:docMk/>
            <pc:sldMk cId="2441259515" sldId="2134805964"/>
            <ac:picMk id="26" creationId="{FB29675E-6582-94DB-7F85-CDC65F7255B6}"/>
          </ac:picMkLst>
        </pc:picChg>
        <pc:picChg chg="mod">
          <ac:chgData name="Jacobo de Nicolás Nuñez" userId="7c6829d1-1bf6-4417-b4a9-02cb8827630e" providerId="ADAL" clId="{857BC41E-A371-448C-9B0F-48FE52EEF25B}" dt="2025-04-22T13:39:19.551" v="8217" actId="12788"/>
          <ac:picMkLst>
            <pc:docMk/>
            <pc:sldMk cId="2441259515" sldId="2134805964"/>
            <ac:picMk id="27" creationId="{134D13EA-77DA-E0ED-E9EC-5C0988747F1B}"/>
          </ac:picMkLst>
        </pc:picChg>
        <pc:picChg chg="mod">
          <ac:chgData name="Jacobo de Nicolás Nuñez" userId="7c6829d1-1bf6-4417-b4a9-02cb8827630e" providerId="ADAL" clId="{857BC41E-A371-448C-9B0F-48FE52EEF25B}" dt="2025-04-22T13:39:19.551" v="8217" actId="12788"/>
          <ac:picMkLst>
            <pc:docMk/>
            <pc:sldMk cId="2441259515" sldId="2134805964"/>
            <ac:picMk id="28" creationId="{CE74C3C2-CD6D-1D10-1A59-0BB6F1074686}"/>
          </ac:picMkLst>
        </pc:picChg>
      </pc:sldChg>
      <pc:sldChg chg="addSp delSp modSp mod">
        <pc:chgData name="Jacobo de Nicolás Nuñez" userId="7c6829d1-1bf6-4417-b4a9-02cb8827630e" providerId="ADAL" clId="{857BC41E-A371-448C-9B0F-48FE52EEF25B}" dt="2025-04-22T13:43:10.209" v="8229" actId="14826"/>
        <pc:sldMkLst>
          <pc:docMk/>
          <pc:sldMk cId="303064869" sldId="2134805967"/>
        </pc:sldMkLst>
        <pc:picChg chg="add mod">
          <ac:chgData name="Jacobo de Nicolás Nuñez" userId="7c6829d1-1bf6-4417-b4a9-02cb8827630e" providerId="ADAL" clId="{857BC41E-A371-448C-9B0F-48FE52EEF25B}" dt="2025-04-17T08:47:04.027" v="6868" actId="1076"/>
          <ac:picMkLst>
            <pc:docMk/>
            <pc:sldMk cId="303064869" sldId="2134805967"/>
            <ac:picMk id="3" creationId="{85E13E69-646B-70C8-2C52-CC1F97C59C31}"/>
          </ac:picMkLst>
        </pc:picChg>
        <pc:picChg chg="add mod">
          <ac:chgData name="Jacobo de Nicolás Nuñez" userId="7c6829d1-1bf6-4417-b4a9-02cb8827630e" providerId="ADAL" clId="{857BC41E-A371-448C-9B0F-48FE52EEF25B}" dt="2025-04-17T08:47:04.027" v="6868" actId="1076"/>
          <ac:picMkLst>
            <pc:docMk/>
            <pc:sldMk cId="303064869" sldId="2134805967"/>
            <ac:picMk id="6" creationId="{39A10D9A-747E-77F1-8715-14BE95887E0A}"/>
          </ac:picMkLst>
        </pc:picChg>
        <pc:picChg chg="add mod">
          <ac:chgData name="Jacobo de Nicolás Nuñez" userId="7c6829d1-1bf6-4417-b4a9-02cb8827630e" providerId="ADAL" clId="{857BC41E-A371-448C-9B0F-48FE52EEF25B}" dt="2025-04-17T08:47:20.316" v="6873" actId="1076"/>
          <ac:picMkLst>
            <pc:docMk/>
            <pc:sldMk cId="303064869" sldId="2134805967"/>
            <ac:picMk id="7" creationId="{6E4FC559-80F1-2A9B-AE74-BA9CC44134F6}"/>
          </ac:picMkLst>
        </pc:picChg>
        <pc:picChg chg="mod">
          <ac:chgData name="Jacobo de Nicolás Nuñez" userId="7c6829d1-1bf6-4417-b4a9-02cb8827630e" providerId="ADAL" clId="{857BC41E-A371-448C-9B0F-48FE52EEF25B}" dt="2025-04-22T13:42:46.972" v="8226" actId="14826"/>
          <ac:picMkLst>
            <pc:docMk/>
            <pc:sldMk cId="303064869" sldId="2134805967"/>
            <ac:picMk id="13" creationId="{3D556011-FCC0-5475-06D1-FB21C47228B1}"/>
          </ac:picMkLst>
        </pc:picChg>
        <pc:picChg chg="mod">
          <ac:chgData name="Jacobo de Nicolás Nuñez" userId="7c6829d1-1bf6-4417-b4a9-02cb8827630e" providerId="ADAL" clId="{857BC41E-A371-448C-9B0F-48FE52EEF25B}" dt="2025-04-22T13:42:54.507" v="8227" actId="14826"/>
          <ac:picMkLst>
            <pc:docMk/>
            <pc:sldMk cId="303064869" sldId="2134805967"/>
            <ac:picMk id="15" creationId="{ABD476D8-01E2-CAF9-3007-C6333135D865}"/>
          </ac:picMkLst>
        </pc:picChg>
        <pc:picChg chg="mod">
          <ac:chgData name="Jacobo de Nicolás Nuñez" userId="7c6829d1-1bf6-4417-b4a9-02cb8827630e" providerId="ADAL" clId="{857BC41E-A371-448C-9B0F-48FE52EEF25B}" dt="2025-04-22T13:43:01.651" v="8228" actId="14826"/>
          <ac:picMkLst>
            <pc:docMk/>
            <pc:sldMk cId="303064869" sldId="2134805967"/>
            <ac:picMk id="16" creationId="{59F996BB-21B6-AFAE-4199-D0543D8A55F0}"/>
          </ac:picMkLst>
        </pc:picChg>
        <pc:picChg chg="mod">
          <ac:chgData name="Jacobo de Nicolás Nuñez" userId="7c6829d1-1bf6-4417-b4a9-02cb8827630e" providerId="ADAL" clId="{857BC41E-A371-448C-9B0F-48FE52EEF25B}" dt="2025-04-22T13:43:10.209" v="8229" actId="14826"/>
          <ac:picMkLst>
            <pc:docMk/>
            <pc:sldMk cId="303064869" sldId="2134805967"/>
            <ac:picMk id="18" creationId="{ADAE1DC9-B3A2-DD67-7197-DBC1C4933FE1}"/>
          </ac:picMkLst>
        </pc:picChg>
      </pc:sldChg>
      <pc:sldChg chg="addSp delSp modSp mod">
        <pc:chgData name="Jacobo de Nicolás Nuñez" userId="7c6829d1-1bf6-4417-b4a9-02cb8827630e" providerId="ADAL" clId="{857BC41E-A371-448C-9B0F-48FE52EEF25B}" dt="2025-04-17T08:43:54.065" v="6698"/>
        <pc:sldMkLst>
          <pc:docMk/>
          <pc:sldMk cId="1587636284" sldId="2134805969"/>
        </pc:sldMkLst>
        <pc:spChg chg="mod ord">
          <ac:chgData name="Jacobo de Nicolás Nuñez" userId="7c6829d1-1bf6-4417-b4a9-02cb8827630e" providerId="ADAL" clId="{857BC41E-A371-448C-9B0F-48FE52EEF25B}" dt="2025-04-17T08:43:54.058" v="6676"/>
          <ac:spMkLst>
            <pc:docMk/>
            <pc:sldMk cId="1587636284" sldId="2134805969"/>
            <ac:spMk id="3" creationId="{81AA1EC2-5AF0-03BF-3250-6437CC5A4825}"/>
          </ac:spMkLst>
        </pc:spChg>
        <pc:spChg chg="mod ord">
          <ac:chgData name="Jacobo de Nicolás Nuñez" userId="7c6829d1-1bf6-4417-b4a9-02cb8827630e" providerId="ADAL" clId="{857BC41E-A371-448C-9B0F-48FE52EEF25B}" dt="2025-04-17T08:43:54.059" v="6680"/>
          <ac:spMkLst>
            <pc:docMk/>
            <pc:sldMk cId="1587636284" sldId="2134805969"/>
            <ac:spMk id="4" creationId="{F046E1D9-8EA5-A8CF-571C-2BDAC7069E17}"/>
          </ac:spMkLst>
        </pc:spChg>
        <pc:spChg chg="mod ord">
          <ac:chgData name="Jacobo de Nicolás Nuñez" userId="7c6829d1-1bf6-4417-b4a9-02cb8827630e" providerId="ADAL" clId="{857BC41E-A371-448C-9B0F-48FE52EEF25B}" dt="2025-04-17T08:43:54.060" v="6682"/>
          <ac:spMkLst>
            <pc:docMk/>
            <pc:sldMk cId="1587636284" sldId="2134805969"/>
            <ac:spMk id="5" creationId="{8D88A48C-FCBC-D007-736A-D6413DD0A860}"/>
          </ac:spMkLst>
        </pc:spChg>
        <pc:spChg chg="mod ord">
          <ac:chgData name="Jacobo de Nicolás Nuñez" userId="7c6829d1-1bf6-4417-b4a9-02cb8827630e" providerId="ADAL" clId="{857BC41E-A371-448C-9B0F-48FE52EEF25B}" dt="2025-04-17T08:43:54.060" v="6684"/>
          <ac:spMkLst>
            <pc:docMk/>
            <pc:sldMk cId="1587636284" sldId="2134805969"/>
            <ac:spMk id="6" creationId="{C9CDD2E0-1ED4-CA1C-8A4F-2EE25F667912}"/>
          </ac:spMkLst>
        </pc:spChg>
        <pc:spChg chg="mod ord">
          <ac:chgData name="Jacobo de Nicolás Nuñez" userId="7c6829d1-1bf6-4417-b4a9-02cb8827630e" providerId="ADAL" clId="{857BC41E-A371-448C-9B0F-48FE52EEF25B}" dt="2025-04-17T08:43:54.061" v="6686"/>
          <ac:spMkLst>
            <pc:docMk/>
            <pc:sldMk cId="1587636284" sldId="2134805969"/>
            <ac:spMk id="7" creationId="{DA3C713B-CD0F-0A7F-CBFE-194B5147FB08}"/>
          </ac:spMkLst>
        </pc:spChg>
        <pc:spChg chg="mod ord">
          <ac:chgData name="Jacobo de Nicolás Nuñez" userId="7c6829d1-1bf6-4417-b4a9-02cb8827630e" providerId="ADAL" clId="{857BC41E-A371-448C-9B0F-48FE52EEF25B}" dt="2025-04-17T08:43:54.061" v="6688"/>
          <ac:spMkLst>
            <pc:docMk/>
            <pc:sldMk cId="1587636284" sldId="2134805969"/>
            <ac:spMk id="8" creationId="{F0E9382C-1ABD-66C8-5C2E-EBA014611264}"/>
          </ac:spMkLst>
        </pc:spChg>
        <pc:spChg chg="mod ord">
          <ac:chgData name="Jacobo de Nicolás Nuñez" userId="7c6829d1-1bf6-4417-b4a9-02cb8827630e" providerId="ADAL" clId="{857BC41E-A371-448C-9B0F-48FE52EEF25B}" dt="2025-04-17T08:43:54.062" v="6690"/>
          <ac:spMkLst>
            <pc:docMk/>
            <pc:sldMk cId="1587636284" sldId="2134805969"/>
            <ac:spMk id="9" creationId="{4A258156-67B0-9221-917D-87A76BA4E02E}"/>
          </ac:spMkLst>
        </pc:spChg>
        <pc:spChg chg="mod ord">
          <ac:chgData name="Jacobo de Nicolás Nuñez" userId="7c6829d1-1bf6-4417-b4a9-02cb8827630e" providerId="ADAL" clId="{857BC41E-A371-448C-9B0F-48FE52EEF25B}" dt="2025-04-17T08:43:54.062" v="6692"/>
          <ac:spMkLst>
            <pc:docMk/>
            <pc:sldMk cId="1587636284" sldId="2134805969"/>
            <ac:spMk id="11" creationId="{9E8E12E2-447B-EC24-DB8D-259EF93DC2C7}"/>
          </ac:spMkLst>
        </pc:spChg>
        <pc:spChg chg="mod ord">
          <ac:chgData name="Jacobo de Nicolás Nuñez" userId="7c6829d1-1bf6-4417-b4a9-02cb8827630e" providerId="ADAL" clId="{857BC41E-A371-448C-9B0F-48FE52EEF25B}" dt="2025-04-17T08:43:54.063" v="6694"/>
          <ac:spMkLst>
            <pc:docMk/>
            <pc:sldMk cId="1587636284" sldId="2134805969"/>
            <ac:spMk id="12" creationId="{8290FA7E-4940-E39C-78B4-49337F8D8D1D}"/>
          </ac:spMkLst>
        </pc:spChg>
        <pc:spChg chg="mod ord">
          <ac:chgData name="Jacobo de Nicolás Nuñez" userId="7c6829d1-1bf6-4417-b4a9-02cb8827630e" providerId="ADAL" clId="{857BC41E-A371-448C-9B0F-48FE52EEF25B}" dt="2025-04-17T08:43:54.058" v="6678"/>
          <ac:spMkLst>
            <pc:docMk/>
            <pc:sldMk cId="1587636284" sldId="2134805969"/>
            <ac:spMk id="13" creationId="{8D55EACC-EB88-90E6-6812-7A35B4BD985F}"/>
          </ac:spMkLst>
        </pc:spChg>
        <pc:spChg chg="mod ord">
          <ac:chgData name="Jacobo de Nicolás Nuñez" userId="7c6829d1-1bf6-4417-b4a9-02cb8827630e" providerId="ADAL" clId="{857BC41E-A371-448C-9B0F-48FE52EEF25B}" dt="2025-04-17T08:43:54.064" v="6696"/>
          <ac:spMkLst>
            <pc:docMk/>
            <pc:sldMk cId="1587636284" sldId="2134805969"/>
            <ac:spMk id="20" creationId="{F5A4B03C-0E02-C198-7E6B-910B3384BA98}"/>
          </ac:spMkLst>
        </pc:spChg>
        <pc:spChg chg="mod ord">
          <ac:chgData name="Jacobo de Nicolás Nuñez" userId="7c6829d1-1bf6-4417-b4a9-02cb8827630e" providerId="ADAL" clId="{857BC41E-A371-448C-9B0F-48FE52EEF25B}" dt="2025-04-17T08:43:54.056" v="6670"/>
          <ac:spMkLst>
            <pc:docMk/>
            <pc:sldMk cId="1587636284" sldId="2134805969"/>
            <ac:spMk id="66" creationId="{E3D66219-C056-79DF-43B6-AD9C57CCEB15}"/>
          </ac:spMkLst>
        </pc:spChg>
        <pc:spChg chg="mod ord">
          <ac:chgData name="Jacobo de Nicolás Nuñez" userId="7c6829d1-1bf6-4417-b4a9-02cb8827630e" providerId="ADAL" clId="{857BC41E-A371-448C-9B0F-48FE52EEF25B}" dt="2025-04-17T08:43:54.056" v="6672"/>
          <ac:spMkLst>
            <pc:docMk/>
            <pc:sldMk cId="1587636284" sldId="2134805969"/>
            <ac:spMk id="70" creationId="{806B8040-186A-DF35-242B-F6AD41CEFC9B}"/>
          </ac:spMkLst>
        </pc:spChg>
        <pc:spChg chg="mod ord">
          <ac:chgData name="Jacobo de Nicolás Nuñez" userId="7c6829d1-1bf6-4417-b4a9-02cb8827630e" providerId="ADAL" clId="{857BC41E-A371-448C-9B0F-48FE52EEF25B}" dt="2025-04-17T08:43:54.057" v="6674"/>
          <ac:spMkLst>
            <pc:docMk/>
            <pc:sldMk cId="1587636284" sldId="2134805969"/>
            <ac:spMk id="71" creationId="{2AD15FC7-13C1-7EAF-160A-6AFB645E257B}"/>
          </ac:spMkLst>
        </pc:spChg>
        <pc:graphicFrameChg chg="add mod ord modVis">
          <ac:chgData name="Jacobo de Nicolás Nuñez" userId="7c6829d1-1bf6-4417-b4a9-02cb8827630e" providerId="ADAL" clId="{857BC41E-A371-448C-9B0F-48FE52EEF25B}" dt="2025-04-17T08:43:54.065" v="6698"/>
          <ac:graphicFrameMkLst>
            <pc:docMk/>
            <pc:sldMk cId="1587636284" sldId="2134805969"/>
            <ac:graphicFrameMk id="23" creationId="{B6981C28-3905-2FFB-57FA-5518C1D5ECD0}"/>
          </ac:graphicFrameMkLst>
        </pc:graphicFrameChg>
        <pc:picChg chg="add mod ord">
          <ac:chgData name="Jacobo de Nicolás Nuñez" userId="7c6829d1-1bf6-4417-b4a9-02cb8827630e" providerId="ADAL" clId="{857BC41E-A371-448C-9B0F-48FE52EEF25B}" dt="2025-04-17T08:43:54.052" v="6658"/>
          <ac:picMkLst>
            <pc:docMk/>
            <pc:sldMk cId="1587636284" sldId="2134805969"/>
            <ac:picMk id="15" creationId="{6BC95D90-6BAE-8AA2-4B6A-F4C57BAAC07C}"/>
          </ac:picMkLst>
        </pc:picChg>
        <pc:picChg chg="add mod ord">
          <ac:chgData name="Jacobo de Nicolás Nuñez" userId="7c6829d1-1bf6-4417-b4a9-02cb8827630e" providerId="ADAL" clId="{857BC41E-A371-448C-9B0F-48FE52EEF25B}" dt="2025-04-17T08:43:54.053" v="6662"/>
          <ac:picMkLst>
            <pc:docMk/>
            <pc:sldMk cId="1587636284" sldId="2134805969"/>
            <ac:picMk id="16" creationId="{70778E56-883B-350B-E0D5-2E5D5C98DB2F}"/>
          </ac:picMkLst>
        </pc:picChg>
        <pc:picChg chg="add mod ord">
          <ac:chgData name="Jacobo de Nicolás Nuñez" userId="7c6829d1-1bf6-4417-b4a9-02cb8827630e" providerId="ADAL" clId="{857BC41E-A371-448C-9B0F-48FE52EEF25B}" dt="2025-04-17T08:43:54.053" v="6660"/>
          <ac:picMkLst>
            <pc:docMk/>
            <pc:sldMk cId="1587636284" sldId="2134805969"/>
            <ac:picMk id="17" creationId="{526681B2-C734-777C-1B40-4F8191FA4F3A}"/>
          </ac:picMkLst>
        </pc:picChg>
        <pc:picChg chg="add mod ord">
          <ac:chgData name="Jacobo de Nicolás Nuñez" userId="7c6829d1-1bf6-4417-b4a9-02cb8827630e" providerId="ADAL" clId="{857BC41E-A371-448C-9B0F-48FE52EEF25B}" dt="2025-04-17T08:43:54.051" v="6656"/>
          <ac:picMkLst>
            <pc:docMk/>
            <pc:sldMk cId="1587636284" sldId="2134805969"/>
            <ac:picMk id="18" creationId="{1643296C-A62A-F28C-9724-65863A2EC92E}"/>
          </ac:picMkLst>
        </pc:picChg>
        <pc:picChg chg="add mod ord">
          <ac:chgData name="Jacobo de Nicolás Nuñez" userId="7c6829d1-1bf6-4417-b4a9-02cb8827630e" providerId="ADAL" clId="{857BC41E-A371-448C-9B0F-48FE52EEF25B}" dt="2025-04-17T08:43:54.049" v="6654"/>
          <ac:picMkLst>
            <pc:docMk/>
            <pc:sldMk cId="1587636284" sldId="2134805969"/>
            <ac:picMk id="19" creationId="{AC3E721C-F134-8D34-7053-3D7AAAA11FF4}"/>
          </ac:picMkLst>
        </pc:picChg>
        <pc:picChg chg="add mod ord">
          <ac:chgData name="Jacobo de Nicolás Nuñez" userId="7c6829d1-1bf6-4417-b4a9-02cb8827630e" providerId="ADAL" clId="{857BC41E-A371-448C-9B0F-48FE52EEF25B}" dt="2025-04-17T08:43:54.055" v="6668"/>
          <ac:picMkLst>
            <pc:docMk/>
            <pc:sldMk cId="1587636284" sldId="2134805969"/>
            <ac:picMk id="21" creationId="{181B7A18-9FBF-756D-66C9-3B4D4F59A425}"/>
          </ac:picMkLst>
        </pc:picChg>
        <pc:picChg chg="add mod ord">
          <ac:chgData name="Jacobo de Nicolás Nuñez" userId="7c6829d1-1bf6-4417-b4a9-02cb8827630e" providerId="ADAL" clId="{857BC41E-A371-448C-9B0F-48FE52EEF25B}" dt="2025-04-17T08:43:54.054" v="6666"/>
          <ac:picMkLst>
            <pc:docMk/>
            <pc:sldMk cId="1587636284" sldId="2134805969"/>
            <ac:picMk id="24" creationId="{6167D1D6-FF53-F660-EBF0-D1705836E92C}"/>
          </ac:picMkLst>
        </pc:picChg>
        <pc:picChg chg="add mod ord">
          <ac:chgData name="Jacobo de Nicolás Nuñez" userId="7c6829d1-1bf6-4417-b4a9-02cb8827630e" providerId="ADAL" clId="{857BC41E-A371-448C-9B0F-48FE52EEF25B}" dt="2025-04-17T08:43:54.054" v="6664"/>
          <ac:picMkLst>
            <pc:docMk/>
            <pc:sldMk cId="1587636284" sldId="2134805969"/>
            <ac:picMk id="25" creationId="{3C36B87F-18E7-031F-363C-2CDC5C545325}"/>
          </ac:picMkLst>
        </pc:picChg>
      </pc:sldChg>
      <pc:sldChg chg="modSp mod">
        <pc:chgData name="Jacobo de Nicolás Nuñez" userId="7c6829d1-1bf6-4417-b4a9-02cb8827630e" providerId="ADAL" clId="{857BC41E-A371-448C-9B0F-48FE52EEF25B}" dt="2025-04-22T13:53:19.241" v="8522" actId="14826"/>
        <pc:sldMkLst>
          <pc:docMk/>
          <pc:sldMk cId="452919708" sldId="2134805970"/>
        </pc:sldMkLst>
        <pc:picChg chg="mod">
          <ac:chgData name="Jacobo de Nicolás Nuñez" userId="7c6829d1-1bf6-4417-b4a9-02cb8827630e" providerId="ADAL" clId="{857BC41E-A371-448C-9B0F-48FE52EEF25B}" dt="2025-04-22T13:53:19.241" v="8522" actId="14826"/>
          <ac:picMkLst>
            <pc:docMk/>
            <pc:sldMk cId="452919708" sldId="2134805970"/>
            <ac:picMk id="14" creationId="{3732DF76-5F86-D57B-0E6A-95168F47DEF2}"/>
          </ac:picMkLst>
        </pc:picChg>
        <pc:picChg chg="mod">
          <ac:chgData name="Jacobo de Nicolás Nuñez" userId="7c6829d1-1bf6-4417-b4a9-02cb8827630e" providerId="ADAL" clId="{857BC41E-A371-448C-9B0F-48FE52EEF25B}" dt="2025-04-22T13:53:10.676" v="8521" actId="14826"/>
          <ac:picMkLst>
            <pc:docMk/>
            <pc:sldMk cId="452919708" sldId="2134805970"/>
            <ac:picMk id="19" creationId="{5D3EB6BB-C2C1-917F-DF17-CC008052CECD}"/>
          </ac:picMkLst>
        </pc:picChg>
        <pc:picChg chg="mod">
          <ac:chgData name="Jacobo de Nicolás Nuñez" userId="7c6829d1-1bf6-4417-b4a9-02cb8827630e" providerId="ADAL" clId="{857BC41E-A371-448C-9B0F-48FE52EEF25B}" dt="2025-04-22T13:52:55.635" v="8519" actId="14826"/>
          <ac:picMkLst>
            <pc:docMk/>
            <pc:sldMk cId="452919708" sldId="2134805970"/>
            <ac:picMk id="20" creationId="{C7BA9586-BC21-A9E3-0A75-AE100D164AF1}"/>
          </ac:picMkLst>
        </pc:picChg>
        <pc:picChg chg="mod">
          <ac:chgData name="Jacobo de Nicolás Nuñez" userId="7c6829d1-1bf6-4417-b4a9-02cb8827630e" providerId="ADAL" clId="{857BC41E-A371-448C-9B0F-48FE52EEF25B}" dt="2025-04-22T13:53:02.963" v="8520" actId="14826"/>
          <ac:picMkLst>
            <pc:docMk/>
            <pc:sldMk cId="452919708" sldId="2134805970"/>
            <ac:picMk id="21" creationId="{13D25570-7DC6-A91D-333A-CB1AEAE7B82D}"/>
          </ac:picMkLst>
        </pc:picChg>
      </pc:sldChg>
      <pc:sldChg chg="modSp mod">
        <pc:chgData name="Jacobo de Nicolás Nuñez" userId="7c6829d1-1bf6-4417-b4a9-02cb8827630e" providerId="ADAL" clId="{857BC41E-A371-448C-9B0F-48FE52EEF25B}" dt="2025-04-22T15:10:28.973" v="8976" actId="14826"/>
        <pc:sldMkLst>
          <pc:docMk/>
          <pc:sldMk cId="4289745805" sldId="2134805971"/>
        </pc:sldMkLst>
        <pc:picChg chg="mod">
          <ac:chgData name="Jacobo de Nicolás Nuñez" userId="7c6829d1-1bf6-4417-b4a9-02cb8827630e" providerId="ADAL" clId="{857BC41E-A371-448C-9B0F-48FE52EEF25B}" dt="2025-04-22T15:09:53.741" v="8974" actId="14826"/>
          <ac:picMkLst>
            <pc:docMk/>
            <pc:sldMk cId="4289745805" sldId="2134805971"/>
            <ac:picMk id="8" creationId="{4E539CE3-DF95-231D-0715-570D38FA2C78}"/>
          </ac:picMkLst>
        </pc:picChg>
        <pc:picChg chg="mod">
          <ac:chgData name="Jacobo de Nicolás Nuñez" userId="7c6829d1-1bf6-4417-b4a9-02cb8827630e" providerId="ADAL" clId="{857BC41E-A371-448C-9B0F-48FE52EEF25B}" dt="2025-04-22T15:10:28.973" v="8976" actId="14826"/>
          <ac:picMkLst>
            <pc:docMk/>
            <pc:sldMk cId="4289745805" sldId="2134805971"/>
            <ac:picMk id="18" creationId="{8260AD7A-9647-DDE0-4CBA-BA4A8CEB1934}"/>
          </ac:picMkLst>
        </pc:picChg>
        <pc:picChg chg="mod">
          <ac:chgData name="Jacobo de Nicolás Nuñez" userId="7c6829d1-1bf6-4417-b4a9-02cb8827630e" providerId="ADAL" clId="{857BC41E-A371-448C-9B0F-48FE52EEF25B}" dt="2025-04-22T15:09:45.764" v="8973" actId="14826"/>
          <ac:picMkLst>
            <pc:docMk/>
            <pc:sldMk cId="4289745805" sldId="2134805971"/>
            <ac:picMk id="21" creationId="{864297FB-911C-19E7-1BD3-4073BA9DF76E}"/>
          </ac:picMkLst>
        </pc:picChg>
      </pc:sldChg>
      <pc:sldChg chg="addSp delSp modSp mod">
        <pc:chgData name="Jacobo de Nicolás Nuñez" userId="7c6829d1-1bf6-4417-b4a9-02cb8827630e" providerId="ADAL" clId="{857BC41E-A371-448C-9B0F-48FE52EEF25B}" dt="2025-04-22T13:30:40.900" v="8170" actId="14100"/>
        <pc:sldMkLst>
          <pc:docMk/>
          <pc:sldMk cId="2835748674" sldId="2134805972"/>
        </pc:sldMkLst>
        <pc:spChg chg="mod ord">
          <ac:chgData name="Jacobo de Nicolás Nuñez" userId="7c6829d1-1bf6-4417-b4a9-02cb8827630e" providerId="ADAL" clId="{857BC41E-A371-448C-9B0F-48FE52EEF25B}" dt="2025-04-16T10:07:15.079" v="5792"/>
          <ac:spMkLst>
            <pc:docMk/>
            <pc:sldMk cId="2835748674" sldId="2134805972"/>
            <ac:spMk id="3" creationId="{C3CCBAA7-2C38-5CB8-6C38-870D3C8D27A7}"/>
          </ac:spMkLst>
        </pc:spChg>
        <pc:spChg chg="mod ord">
          <ac:chgData name="Jacobo de Nicolás Nuñez" userId="7c6829d1-1bf6-4417-b4a9-02cb8827630e" providerId="ADAL" clId="{857BC41E-A371-448C-9B0F-48FE52EEF25B}" dt="2025-04-16T10:07:15.079" v="5804"/>
          <ac:spMkLst>
            <pc:docMk/>
            <pc:sldMk cId="2835748674" sldId="2134805972"/>
            <ac:spMk id="4" creationId="{23C2B27E-4909-E39D-7B5B-91ED5D021789}"/>
          </ac:spMkLst>
        </pc:spChg>
        <pc:spChg chg="mod ord">
          <ac:chgData name="Jacobo de Nicolás Nuñez" userId="7c6829d1-1bf6-4417-b4a9-02cb8827630e" providerId="ADAL" clId="{857BC41E-A371-448C-9B0F-48FE52EEF25B}" dt="2025-04-16T10:07:15.079" v="5802"/>
          <ac:spMkLst>
            <pc:docMk/>
            <pc:sldMk cId="2835748674" sldId="2134805972"/>
            <ac:spMk id="6" creationId="{71DD7162-8BE6-D95D-E3F5-B36021300E3A}"/>
          </ac:spMkLst>
        </pc:spChg>
        <pc:spChg chg="mod ord">
          <ac:chgData name="Jacobo de Nicolás Nuñez" userId="7c6829d1-1bf6-4417-b4a9-02cb8827630e" providerId="ADAL" clId="{857BC41E-A371-448C-9B0F-48FE52EEF25B}" dt="2025-04-16T10:07:15.095" v="5830"/>
          <ac:spMkLst>
            <pc:docMk/>
            <pc:sldMk cId="2835748674" sldId="2134805972"/>
            <ac:spMk id="8" creationId="{9D0DA5C4-93EC-030D-AABE-30ED647BC5E7}"/>
          </ac:spMkLst>
        </pc:spChg>
        <pc:spChg chg="mod ord">
          <ac:chgData name="Jacobo de Nicolás Nuñez" userId="7c6829d1-1bf6-4417-b4a9-02cb8827630e" providerId="ADAL" clId="{857BC41E-A371-448C-9B0F-48FE52EEF25B}" dt="2025-04-16T10:07:15.095" v="5832"/>
          <ac:spMkLst>
            <pc:docMk/>
            <pc:sldMk cId="2835748674" sldId="2134805972"/>
            <ac:spMk id="9" creationId="{51E195C9-385A-7C90-14D4-D39DEECB9F57}"/>
          </ac:spMkLst>
        </pc:spChg>
        <pc:spChg chg="mod ord">
          <ac:chgData name="Jacobo de Nicolás Nuñez" userId="7c6829d1-1bf6-4417-b4a9-02cb8827630e" providerId="ADAL" clId="{857BC41E-A371-448C-9B0F-48FE52EEF25B}" dt="2025-04-16T10:07:15.079" v="5800"/>
          <ac:spMkLst>
            <pc:docMk/>
            <pc:sldMk cId="2835748674" sldId="2134805972"/>
            <ac:spMk id="10" creationId="{4AC399DE-D4E4-C4AF-59E7-215433152576}"/>
          </ac:spMkLst>
        </pc:spChg>
        <pc:spChg chg="mod ord">
          <ac:chgData name="Jacobo de Nicolás Nuñez" userId="7c6829d1-1bf6-4417-b4a9-02cb8827630e" providerId="ADAL" clId="{857BC41E-A371-448C-9B0F-48FE52EEF25B}" dt="2025-04-16T10:07:15.095" v="5818"/>
          <ac:spMkLst>
            <pc:docMk/>
            <pc:sldMk cId="2835748674" sldId="2134805972"/>
            <ac:spMk id="11" creationId="{D48DA210-A952-090B-38B4-803DF04EE103}"/>
          </ac:spMkLst>
        </pc:spChg>
        <pc:spChg chg="mod ord">
          <ac:chgData name="Jacobo de Nicolás Nuñez" userId="7c6829d1-1bf6-4417-b4a9-02cb8827630e" providerId="ADAL" clId="{857BC41E-A371-448C-9B0F-48FE52EEF25B}" dt="2025-04-16T10:07:15.095" v="5820"/>
          <ac:spMkLst>
            <pc:docMk/>
            <pc:sldMk cId="2835748674" sldId="2134805972"/>
            <ac:spMk id="14" creationId="{2E1CB903-FC43-C9C9-9908-FB9C393BDE04}"/>
          </ac:spMkLst>
        </pc:spChg>
        <pc:spChg chg="mod ord">
          <ac:chgData name="Jacobo de Nicolás Nuñez" userId="7c6829d1-1bf6-4417-b4a9-02cb8827630e" providerId="ADAL" clId="{857BC41E-A371-448C-9B0F-48FE52EEF25B}" dt="2025-04-16T10:07:15.095" v="5822"/>
          <ac:spMkLst>
            <pc:docMk/>
            <pc:sldMk cId="2835748674" sldId="2134805972"/>
            <ac:spMk id="15" creationId="{77BFBF74-C863-B0D3-6F68-8F007325139B}"/>
          </ac:spMkLst>
        </pc:spChg>
        <pc:spChg chg="mod ord">
          <ac:chgData name="Jacobo de Nicolás Nuñez" userId="7c6829d1-1bf6-4417-b4a9-02cb8827630e" providerId="ADAL" clId="{857BC41E-A371-448C-9B0F-48FE52EEF25B}" dt="2025-04-16T10:07:15.095" v="5824"/>
          <ac:spMkLst>
            <pc:docMk/>
            <pc:sldMk cId="2835748674" sldId="2134805972"/>
            <ac:spMk id="16" creationId="{27FC2A49-F8BA-D033-D6D4-10AF7C7392AB}"/>
          </ac:spMkLst>
        </pc:spChg>
        <pc:spChg chg="mod ord">
          <ac:chgData name="Jacobo de Nicolás Nuñez" userId="7c6829d1-1bf6-4417-b4a9-02cb8827630e" providerId="ADAL" clId="{857BC41E-A371-448C-9B0F-48FE52EEF25B}" dt="2025-04-16T10:07:15.111" v="5834"/>
          <ac:spMkLst>
            <pc:docMk/>
            <pc:sldMk cId="2835748674" sldId="2134805972"/>
            <ac:spMk id="17" creationId="{8CFA3A33-94D2-EDD9-650B-7BA743A95F26}"/>
          </ac:spMkLst>
        </pc:spChg>
        <pc:spChg chg="mod ord">
          <ac:chgData name="Jacobo de Nicolás Nuñez" userId="7c6829d1-1bf6-4417-b4a9-02cb8827630e" providerId="ADAL" clId="{857BC41E-A371-448C-9B0F-48FE52EEF25B}" dt="2025-04-16T10:07:15.079" v="5790"/>
          <ac:spMkLst>
            <pc:docMk/>
            <pc:sldMk cId="2835748674" sldId="2134805972"/>
            <ac:spMk id="18" creationId="{7759CCD0-A3F1-DE0D-B75C-78CED463913F}"/>
          </ac:spMkLst>
        </pc:spChg>
        <pc:spChg chg="mod ord">
          <ac:chgData name="Jacobo de Nicolás Nuñez" userId="7c6829d1-1bf6-4417-b4a9-02cb8827630e" providerId="ADAL" clId="{857BC41E-A371-448C-9B0F-48FE52EEF25B}" dt="2025-04-16T10:07:15.095" v="5806"/>
          <ac:spMkLst>
            <pc:docMk/>
            <pc:sldMk cId="2835748674" sldId="2134805972"/>
            <ac:spMk id="36" creationId="{2D139AAF-0BE5-2D76-25FB-BFB9F37520B9}"/>
          </ac:spMkLst>
        </pc:spChg>
        <pc:spChg chg="mod ord">
          <ac:chgData name="Jacobo de Nicolás Nuñez" userId="7c6829d1-1bf6-4417-b4a9-02cb8827630e" providerId="ADAL" clId="{857BC41E-A371-448C-9B0F-48FE52EEF25B}" dt="2025-04-16T10:07:15.095" v="5808"/>
          <ac:spMkLst>
            <pc:docMk/>
            <pc:sldMk cId="2835748674" sldId="2134805972"/>
            <ac:spMk id="39" creationId="{95D27816-4B53-D7A4-807C-FB7A693E4FF3}"/>
          </ac:spMkLst>
        </pc:spChg>
        <pc:spChg chg="mod ord">
          <ac:chgData name="Jacobo de Nicolás Nuñez" userId="7c6829d1-1bf6-4417-b4a9-02cb8827630e" providerId="ADAL" clId="{857BC41E-A371-448C-9B0F-48FE52EEF25B}" dt="2025-04-16T10:07:15.095" v="5814"/>
          <ac:spMkLst>
            <pc:docMk/>
            <pc:sldMk cId="2835748674" sldId="2134805972"/>
            <ac:spMk id="51" creationId="{8D8BDA2F-65BC-52D7-9D5A-6ECC000E7CE3}"/>
          </ac:spMkLst>
        </pc:spChg>
        <pc:spChg chg="mod ord">
          <ac:chgData name="Jacobo de Nicolás Nuñez" userId="7c6829d1-1bf6-4417-b4a9-02cb8827630e" providerId="ADAL" clId="{857BC41E-A371-448C-9B0F-48FE52EEF25B}" dt="2025-04-16T10:07:15.095" v="5816"/>
          <ac:spMkLst>
            <pc:docMk/>
            <pc:sldMk cId="2835748674" sldId="2134805972"/>
            <ac:spMk id="52" creationId="{964A01FC-E46E-1D78-9E4F-D6CFEACE8CDF}"/>
          </ac:spMkLst>
        </pc:spChg>
        <pc:spChg chg="mod ord">
          <ac:chgData name="Jacobo de Nicolás Nuñez" userId="7c6829d1-1bf6-4417-b4a9-02cb8827630e" providerId="ADAL" clId="{857BC41E-A371-448C-9B0F-48FE52EEF25B}" dt="2025-04-16T10:07:15.079" v="5796"/>
          <ac:spMkLst>
            <pc:docMk/>
            <pc:sldMk cId="2835748674" sldId="2134805972"/>
            <ac:spMk id="69" creationId="{87B2F0A4-DD55-EC50-B919-62AC8F14EF43}"/>
          </ac:spMkLst>
        </pc:spChg>
        <pc:spChg chg="mod ord">
          <ac:chgData name="Jacobo de Nicolás Nuñez" userId="7c6829d1-1bf6-4417-b4a9-02cb8827630e" providerId="ADAL" clId="{857BC41E-A371-448C-9B0F-48FE52EEF25B}" dt="2025-04-16T10:07:15.079" v="5798"/>
          <ac:spMkLst>
            <pc:docMk/>
            <pc:sldMk cId="2835748674" sldId="2134805972"/>
            <ac:spMk id="70" creationId="{806B8040-186A-DF35-242B-F6AD41CEFC9B}"/>
          </ac:spMkLst>
        </pc:spChg>
        <pc:graphicFrameChg chg="add mod ord modVis">
          <ac:chgData name="Jacobo de Nicolás Nuñez" userId="7c6829d1-1bf6-4417-b4a9-02cb8827630e" providerId="ADAL" clId="{857BC41E-A371-448C-9B0F-48FE52EEF25B}" dt="2025-04-16T10:07:15.111" v="5836"/>
          <ac:graphicFrameMkLst>
            <pc:docMk/>
            <pc:sldMk cId="2835748674" sldId="2134805972"/>
            <ac:graphicFrameMk id="20" creationId="{536CCD17-64C0-E2E5-848E-93BEBA5B8DAB}"/>
          </ac:graphicFrameMkLst>
        </pc:graphicFrameChg>
        <pc:picChg chg="mod ord">
          <ac:chgData name="Jacobo de Nicolás Nuñez" userId="7c6829d1-1bf6-4417-b4a9-02cb8827630e" providerId="ADAL" clId="{857BC41E-A371-448C-9B0F-48FE52EEF25B}" dt="2025-04-16T10:07:15.095" v="5826"/>
          <ac:picMkLst>
            <pc:docMk/>
            <pc:sldMk cId="2835748674" sldId="2134805972"/>
            <ac:picMk id="5" creationId="{6798D7D9-41FD-4B5E-AEF8-0A47A5ED9994}"/>
          </ac:picMkLst>
        </pc:picChg>
        <pc:picChg chg="mod ord">
          <ac:chgData name="Jacobo de Nicolás Nuñez" userId="7c6829d1-1bf6-4417-b4a9-02cb8827630e" providerId="ADAL" clId="{857BC41E-A371-448C-9B0F-48FE52EEF25B}" dt="2025-04-16T10:07:15.095" v="5828"/>
          <ac:picMkLst>
            <pc:docMk/>
            <pc:sldMk cId="2835748674" sldId="2134805972"/>
            <ac:picMk id="7" creationId="{0323253D-C802-4C99-81E1-8EE42CA34595}"/>
          </ac:picMkLst>
        </pc:picChg>
        <pc:picChg chg="add mod">
          <ac:chgData name="Jacobo de Nicolás Nuñez" userId="7c6829d1-1bf6-4417-b4a9-02cb8827630e" providerId="ADAL" clId="{857BC41E-A371-448C-9B0F-48FE52EEF25B}" dt="2025-04-17T08:52:43.859" v="6930" actId="1076"/>
          <ac:picMkLst>
            <pc:docMk/>
            <pc:sldMk cId="2835748674" sldId="2134805972"/>
            <ac:picMk id="12" creationId="{E2D9364A-03ED-7F47-0D76-F2B9C662DA58}"/>
          </ac:picMkLst>
        </pc:picChg>
        <pc:picChg chg="add mod">
          <ac:chgData name="Jacobo de Nicolás Nuñez" userId="7c6829d1-1bf6-4417-b4a9-02cb8827630e" providerId="ADAL" clId="{857BC41E-A371-448C-9B0F-48FE52EEF25B}" dt="2025-04-17T08:52:43.859" v="6930" actId="1076"/>
          <ac:picMkLst>
            <pc:docMk/>
            <pc:sldMk cId="2835748674" sldId="2134805972"/>
            <ac:picMk id="13" creationId="{1A208018-1556-BE66-220A-03270B4D5B97}"/>
          </ac:picMkLst>
        </pc:picChg>
        <pc:picChg chg="add mod ord">
          <ac:chgData name="Jacobo de Nicolás Nuñez" userId="7c6829d1-1bf6-4417-b4a9-02cb8827630e" providerId="ADAL" clId="{857BC41E-A371-448C-9B0F-48FE52EEF25B}" dt="2025-04-16T10:07:15.079" v="5786"/>
          <ac:picMkLst>
            <pc:docMk/>
            <pc:sldMk cId="2835748674" sldId="2134805972"/>
            <ac:picMk id="19" creationId="{6277E77A-B5F1-CF63-D27D-BBF7E8EBE050}"/>
          </ac:picMkLst>
        </pc:picChg>
        <pc:picChg chg="add mod ord">
          <ac:chgData name="Jacobo de Nicolás Nuñez" userId="7c6829d1-1bf6-4417-b4a9-02cb8827630e" providerId="ADAL" clId="{857BC41E-A371-448C-9B0F-48FE52EEF25B}" dt="2025-04-16T10:07:15.079" v="5788"/>
          <ac:picMkLst>
            <pc:docMk/>
            <pc:sldMk cId="2835748674" sldId="2134805972"/>
            <ac:picMk id="21" creationId="{F2D71B49-203A-486B-DEAB-421BA5265FC3}"/>
          </ac:picMkLst>
        </pc:picChg>
        <pc:picChg chg="add mod">
          <ac:chgData name="Jacobo de Nicolás Nuñez" userId="7c6829d1-1bf6-4417-b4a9-02cb8827630e" providerId="ADAL" clId="{857BC41E-A371-448C-9B0F-48FE52EEF25B}" dt="2025-04-22T13:30:40.900" v="8170" actId="14100"/>
          <ac:picMkLst>
            <pc:docMk/>
            <pc:sldMk cId="2835748674" sldId="2134805972"/>
            <ac:picMk id="22" creationId="{F657B7B9-B755-D4E8-BCDD-9D7259944BFA}"/>
          </ac:picMkLst>
        </pc:picChg>
      </pc:sldChg>
      <pc:sldChg chg="addSp delSp modSp mod">
        <pc:chgData name="Jacobo de Nicolás Nuñez" userId="7c6829d1-1bf6-4417-b4a9-02cb8827630e" providerId="ADAL" clId="{857BC41E-A371-448C-9B0F-48FE52EEF25B}" dt="2025-04-22T14:52:18.979" v="8574" actId="14826"/>
        <pc:sldMkLst>
          <pc:docMk/>
          <pc:sldMk cId="533282322" sldId="2134805973"/>
        </pc:sldMkLst>
        <pc:spChg chg="mod ord">
          <ac:chgData name="Jacobo de Nicolás Nuñez" userId="7c6829d1-1bf6-4417-b4a9-02cb8827630e" providerId="ADAL" clId="{857BC41E-A371-448C-9B0F-48FE52EEF25B}" dt="2025-04-16T09:20:14.362" v="5213"/>
          <ac:spMkLst>
            <pc:docMk/>
            <pc:sldMk cId="533282322" sldId="2134805973"/>
            <ac:spMk id="2" creationId="{97A083D5-E424-93D2-38B8-0FFB91EF25D3}"/>
          </ac:spMkLst>
        </pc:spChg>
        <pc:spChg chg="mod ord">
          <ac:chgData name="Jacobo de Nicolás Nuñez" userId="7c6829d1-1bf6-4417-b4a9-02cb8827630e" providerId="ADAL" clId="{857BC41E-A371-448C-9B0F-48FE52EEF25B}" dt="2025-04-16T09:20:14.362" v="5217"/>
          <ac:spMkLst>
            <pc:docMk/>
            <pc:sldMk cId="533282322" sldId="2134805973"/>
            <ac:spMk id="3" creationId="{B3AB1603-731D-B611-8AA4-6D4DDA1C0D25}"/>
          </ac:spMkLst>
        </pc:spChg>
        <pc:spChg chg="mod ord">
          <ac:chgData name="Jacobo de Nicolás Nuñez" userId="7c6829d1-1bf6-4417-b4a9-02cb8827630e" providerId="ADAL" clId="{857BC41E-A371-448C-9B0F-48FE52EEF25B}" dt="2025-04-16T09:20:14.362" v="5211"/>
          <ac:spMkLst>
            <pc:docMk/>
            <pc:sldMk cId="533282322" sldId="2134805973"/>
            <ac:spMk id="4" creationId="{CA238D8E-C0F3-C97C-A09E-6553CC183D5A}"/>
          </ac:spMkLst>
        </pc:spChg>
        <pc:spChg chg="mod ord">
          <ac:chgData name="Jacobo de Nicolás Nuñez" userId="7c6829d1-1bf6-4417-b4a9-02cb8827630e" providerId="ADAL" clId="{857BC41E-A371-448C-9B0F-48FE52EEF25B}" dt="2025-04-16T09:20:14.378" v="5233"/>
          <ac:spMkLst>
            <pc:docMk/>
            <pc:sldMk cId="533282322" sldId="2134805973"/>
            <ac:spMk id="7" creationId="{E7270841-1DC2-9947-A2AA-281F493E704F}"/>
          </ac:spMkLst>
        </pc:spChg>
        <pc:spChg chg="mod ord">
          <ac:chgData name="Jacobo de Nicolás Nuñez" userId="7c6829d1-1bf6-4417-b4a9-02cb8827630e" providerId="ADAL" clId="{857BC41E-A371-448C-9B0F-48FE52EEF25B}" dt="2025-04-16T09:20:14.362" v="5223"/>
          <ac:spMkLst>
            <pc:docMk/>
            <pc:sldMk cId="533282322" sldId="2134805973"/>
            <ac:spMk id="8" creationId="{E5C9D565-DCDC-B540-33C5-ED5524BE6012}"/>
          </ac:spMkLst>
        </pc:spChg>
        <pc:spChg chg="mod ord">
          <ac:chgData name="Jacobo de Nicolás Nuñez" userId="7c6829d1-1bf6-4417-b4a9-02cb8827630e" providerId="ADAL" clId="{857BC41E-A371-448C-9B0F-48FE52EEF25B}" dt="2025-04-16T09:20:14.362" v="5209"/>
          <ac:spMkLst>
            <pc:docMk/>
            <pc:sldMk cId="533282322" sldId="2134805973"/>
            <ac:spMk id="10" creationId="{4AC399DE-D4E4-C4AF-59E7-215433152576}"/>
          </ac:spMkLst>
        </pc:spChg>
        <pc:spChg chg="mod ord">
          <ac:chgData name="Jacobo de Nicolás Nuñez" userId="7c6829d1-1bf6-4417-b4a9-02cb8827630e" providerId="ADAL" clId="{857BC41E-A371-448C-9B0F-48FE52EEF25B}" dt="2025-04-16T09:20:14.362" v="5219"/>
          <ac:spMkLst>
            <pc:docMk/>
            <pc:sldMk cId="533282322" sldId="2134805973"/>
            <ac:spMk id="13" creationId="{5F654C22-13E5-6314-80BA-7E6CF588C758}"/>
          </ac:spMkLst>
        </pc:spChg>
        <pc:spChg chg="mod ord">
          <ac:chgData name="Jacobo de Nicolás Nuñez" userId="7c6829d1-1bf6-4417-b4a9-02cb8827630e" providerId="ADAL" clId="{857BC41E-A371-448C-9B0F-48FE52EEF25B}" dt="2025-04-16T09:20:14.362" v="5221"/>
          <ac:spMkLst>
            <pc:docMk/>
            <pc:sldMk cId="533282322" sldId="2134805973"/>
            <ac:spMk id="14" creationId="{F02C9D62-807A-E616-A7B9-577DC916223C}"/>
          </ac:spMkLst>
        </pc:spChg>
        <pc:spChg chg="mod ord">
          <ac:chgData name="Jacobo de Nicolás Nuñez" userId="7c6829d1-1bf6-4417-b4a9-02cb8827630e" providerId="ADAL" clId="{857BC41E-A371-448C-9B0F-48FE52EEF25B}" dt="2025-04-16T09:20:14.362" v="5227"/>
          <ac:spMkLst>
            <pc:docMk/>
            <pc:sldMk cId="533282322" sldId="2134805973"/>
            <ac:spMk id="16" creationId="{2125490C-635C-F1C3-1DF4-D0011CF1952E}"/>
          </ac:spMkLst>
        </pc:spChg>
        <pc:spChg chg="mod ord">
          <ac:chgData name="Jacobo de Nicolás Nuñez" userId="7c6829d1-1bf6-4417-b4a9-02cb8827630e" providerId="ADAL" clId="{857BC41E-A371-448C-9B0F-48FE52EEF25B}" dt="2025-04-16T09:20:14.362" v="5229"/>
          <ac:spMkLst>
            <pc:docMk/>
            <pc:sldMk cId="533282322" sldId="2134805973"/>
            <ac:spMk id="17" creationId="{34BE8FDE-4A40-73F0-6D96-FE91B0879DE1}"/>
          </ac:spMkLst>
        </pc:spChg>
        <pc:spChg chg="mod ord">
          <ac:chgData name="Jacobo de Nicolás Nuñez" userId="7c6829d1-1bf6-4417-b4a9-02cb8827630e" providerId="ADAL" clId="{857BC41E-A371-448C-9B0F-48FE52EEF25B}" dt="2025-04-16T09:20:14.362" v="5231"/>
          <ac:spMkLst>
            <pc:docMk/>
            <pc:sldMk cId="533282322" sldId="2134805973"/>
            <ac:spMk id="18" creationId="{24A4AC62-78F7-AFEE-CDE7-29171374152D}"/>
          </ac:spMkLst>
        </pc:spChg>
        <pc:spChg chg="mod ord">
          <ac:chgData name="Jacobo de Nicolás Nuñez" userId="7c6829d1-1bf6-4417-b4a9-02cb8827630e" providerId="ADAL" clId="{857BC41E-A371-448C-9B0F-48FE52EEF25B}" dt="2025-04-16T09:20:14.378" v="5235"/>
          <ac:spMkLst>
            <pc:docMk/>
            <pc:sldMk cId="533282322" sldId="2134805973"/>
            <ac:spMk id="19" creationId="{02CCBD12-3159-4950-BF1B-38C427A91F18}"/>
          </ac:spMkLst>
        </pc:spChg>
        <pc:spChg chg="mod ord">
          <ac:chgData name="Jacobo de Nicolás Nuñez" userId="7c6829d1-1bf6-4417-b4a9-02cb8827630e" providerId="ADAL" clId="{857BC41E-A371-448C-9B0F-48FE52EEF25B}" dt="2025-04-16T09:20:14.362" v="5215"/>
          <ac:spMkLst>
            <pc:docMk/>
            <pc:sldMk cId="533282322" sldId="2134805973"/>
            <ac:spMk id="20" creationId="{28A2BBB2-B5C0-9295-5E8E-7810B16B443D}"/>
          </ac:spMkLst>
        </pc:spChg>
        <pc:spChg chg="mod ord">
          <ac:chgData name="Jacobo de Nicolás Nuñez" userId="7c6829d1-1bf6-4417-b4a9-02cb8827630e" providerId="ADAL" clId="{857BC41E-A371-448C-9B0F-48FE52EEF25B}" dt="2025-04-16T09:20:14.378" v="5237"/>
          <ac:spMkLst>
            <pc:docMk/>
            <pc:sldMk cId="533282322" sldId="2134805973"/>
            <ac:spMk id="21" creationId="{D1FB4527-F1BF-87BD-B0AF-A7A4C758A5F2}"/>
          </ac:spMkLst>
        </pc:spChg>
        <pc:spChg chg="mod ord">
          <ac:chgData name="Jacobo de Nicolás Nuñez" userId="7c6829d1-1bf6-4417-b4a9-02cb8827630e" providerId="ADAL" clId="{857BC41E-A371-448C-9B0F-48FE52EEF25B}" dt="2025-04-16T09:20:14.352" v="5203"/>
          <ac:spMkLst>
            <pc:docMk/>
            <pc:sldMk cId="533282322" sldId="2134805973"/>
            <ac:spMk id="23" creationId="{BC7917C9-9109-433A-5107-4E114FA84D46}"/>
          </ac:spMkLst>
        </pc:spChg>
        <pc:spChg chg="mod ord">
          <ac:chgData name="Jacobo de Nicolás Nuñez" userId="7c6829d1-1bf6-4417-b4a9-02cb8827630e" providerId="ADAL" clId="{857BC41E-A371-448C-9B0F-48FE52EEF25B}" dt="2025-04-16T09:20:14.352" v="5207"/>
          <ac:spMkLst>
            <pc:docMk/>
            <pc:sldMk cId="533282322" sldId="2134805973"/>
            <ac:spMk id="66" creationId="{E3D66219-C056-79DF-43B6-AD9C57CCEB15}"/>
          </ac:spMkLst>
        </pc:spChg>
        <pc:graphicFrameChg chg="add mod ord modVis">
          <ac:chgData name="Jacobo de Nicolás Nuñez" userId="7c6829d1-1bf6-4417-b4a9-02cb8827630e" providerId="ADAL" clId="{857BC41E-A371-448C-9B0F-48FE52EEF25B}" dt="2025-04-16T09:20:14.378" v="5239"/>
          <ac:graphicFrameMkLst>
            <pc:docMk/>
            <pc:sldMk cId="533282322" sldId="2134805973"/>
            <ac:graphicFrameMk id="26" creationId="{779A5721-0DE4-C8D5-39FC-F509DAB3E65F}"/>
          </ac:graphicFrameMkLst>
        </pc:graphicFrameChg>
        <pc:picChg chg="add mod ord">
          <ac:chgData name="Jacobo de Nicolás Nuñez" userId="7c6829d1-1bf6-4417-b4a9-02cb8827630e" providerId="ADAL" clId="{857BC41E-A371-448C-9B0F-48FE52EEF25B}" dt="2025-04-22T12:59:51.673" v="7735" actId="1076"/>
          <ac:picMkLst>
            <pc:docMk/>
            <pc:sldMk cId="533282322" sldId="2134805973"/>
            <ac:picMk id="5" creationId="{E4B812B6-A41A-98A1-A8F3-4B959D9AE6B5}"/>
          </ac:picMkLst>
        </pc:picChg>
        <pc:picChg chg="add mod ord">
          <ac:chgData name="Jacobo de Nicolás Nuñez" userId="7c6829d1-1bf6-4417-b4a9-02cb8827630e" providerId="ADAL" clId="{857BC41E-A371-448C-9B0F-48FE52EEF25B}" dt="2025-04-22T12:59:59.708" v="7738" actId="1076"/>
          <ac:picMkLst>
            <pc:docMk/>
            <pc:sldMk cId="533282322" sldId="2134805973"/>
            <ac:picMk id="9" creationId="{73F32CAD-28AC-F139-D052-3591F5A1B7AD}"/>
          </ac:picMkLst>
        </pc:picChg>
        <pc:picChg chg="mod ord">
          <ac:chgData name="Jacobo de Nicolás Nuñez" userId="7c6829d1-1bf6-4417-b4a9-02cb8827630e" providerId="ADAL" clId="{857BC41E-A371-448C-9B0F-48FE52EEF25B}" dt="2025-04-22T12:59:47.448" v="7734" actId="1076"/>
          <ac:picMkLst>
            <pc:docMk/>
            <pc:sldMk cId="533282322" sldId="2134805973"/>
            <ac:picMk id="11" creationId="{B1C64315-4DA0-1E14-2BE4-62EF51E08121}"/>
          </ac:picMkLst>
        </pc:picChg>
        <pc:picChg chg="add mod ord">
          <ac:chgData name="Jacobo de Nicolás Nuñez" userId="7c6829d1-1bf6-4417-b4a9-02cb8827630e" providerId="ADAL" clId="{857BC41E-A371-448C-9B0F-48FE52EEF25B}" dt="2025-04-22T12:59:53.211" v="7736" actId="1076"/>
          <ac:picMkLst>
            <pc:docMk/>
            <pc:sldMk cId="533282322" sldId="2134805973"/>
            <ac:picMk id="15" creationId="{F56AC49D-7ADA-1895-0755-EA9E70AEEBAA}"/>
          </ac:picMkLst>
        </pc:picChg>
        <pc:picChg chg="mod ord">
          <ac:chgData name="Jacobo de Nicolás Nuñez" userId="7c6829d1-1bf6-4417-b4a9-02cb8827630e" providerId="ADAL" clId="{857BC41E-A371-448C-9B0F-48FE52EEF25B}" dt="2025-04-22T14:52:18.979" v="8574" actId="14826"/>
          <ac:picMkLst>
            <pc:docMk/>
            <pc:sldMk cId="533282322" sldId="2134805973"/>
            <ac:picMk id="22" creationId="{66C67632-7EC2-5E1A-E290-D0DAAE0C3F4E}"/>
          </ac:picMkLst>
        </pc:picChg>
        <pc:picChg chg="add mod ord">
          <ac:chgData name="Jacobo de Nicolás Nuñez" userId="7c6829d1-1bf6-4417-b4a9-02cb8827630e" providerId="ADAL" clId="{857BC41E-A371-448C-9B0F-48FE52EEF25B}" dt="2025-04-22T13:00:00.979" v="7739" actId="1076"/>
          <ac:picMkLst>
            <pc:docMk/>
            <pc:sldMk cId="533282322" sldId="2134805973"/>
            <ac:picMk id="24" creationId="{A5EA4FC6-FAA2-C223-6DCD-118720F59D6B}"/>
          </ac:picMkLst>
        </pc:picChg>
        <pc:picChg chg="add mod ord">
          <ac:chgData name="Jacobo de Nicolás Nuñez" userId="7c6829d1-1bf6-4417-b4a9-02cb8827630e" providerId="ADAL" clId="{857BC41E-A371-448C-9B0F-48FE52EEF25B}" dt="2025-04-22T12:59:45.683" v="7733" actId="1076"/>
          <ac:picMkLst>
            <pc:docMk/>
            <pc:sldMk cId="533282322" sldId="2134805973"/>
            <ac:picMk id="27" creationId="{89FBFEC5-4524-A2F9-DE71-986D5501BCC4}"/>
          </ac:picMkLst>
        </pc:picChg>
      </pc:sldChg>
      <pc:sldChg chg="addSp delSp modSp mod">
        <pc:chgData name="Jacobo de Nicolás Nuñez" userId="7c6829d1-1bf6-4417-b4a9-02cb8827630e" providerId="ADAL" clId="{857BC41E-A371-448C-9B0F-48FE52EEF25B}" dt="2025-04-22T12:27:37.415" v="7358" actId="1076"/>
        <pc:sldMkLst>
          <pc:docMk/>
          <pc:sldMk cId="2129768714" sldId="2134805975"/>
        </pc:sldMkLst>
        <pc:spChg chg="mod ord">
          <ac:chgData name="Jacobo de Nicolás Nuñez" userId="7c6829d1-1bf6-4417-b4a9-02cb8827630e" providerId="ADAL" clId="{857BC41E-A371-448C-9B0F-48FE52EEF25B}" dt="2025-04-22T12:27:26.399" v="7332"/>
          <ac:spMkLst>
            <pc:docMk/>
            <pc:sldMk cId="2129768714" sldId="2134805975"/>
            <ac:spMk id="2" creationId="{DC4A1D5F-9B5D-706E-399C-D4A2B82E0A14}"/>
          </ac:spMkLst>
        </pc:spChg>
        <pc:spChg chg="mod ord">
          <ac:chgData name="Jacobo de Nicolás Nuñez" userId="7c6829d1-1bf6-4417-b4a9-02cb8827630e" providerId="ADAL" clId="{857BC41E-A371-448C-9B0F-48FE52EEF25B}" dt="2025-04-22T12:27:26.399" v="7334"/>
          <ac:spMkLst>
            <pc:docMk/>
            <pc:sldMk cId="2129768714" sldId="2134805975"/>
            <ac:spMk id="3" creationId="{9FF2C42B-1ACF-5612-B48C-F21F1FF671BD}"/>
          </ac:spMkLst>
        </pc:spChg>
        <pc:spChg chg="mod ord">
          <ac:chgData name="Jacobo de Nicolás Nuñez" userId="7c6829d1-1bf6-4417-b4a9-02cb8827630e" providerId="ADAL" clId="{857BC41E-A371-448C-9B0F-48FE52EEF25B}" dt="2025-04-22T12:27:26.399" v="7336"/>
          <ac:spMkLst>
            <pc:docMk/>
            <pc:sldMk cId="2129768714" sldId="2134805975"/>
            <ac:spMk id="4" creationId="{DFC98069-7EC7-529B-0A6C-33009A814FF4}"/>
          </ac:spMkLst>
        </pc:spChg>
        <pc:spChg chg="mod ord">
          <ac:chgData name="Jacobo de Nicolás Nuñez" userId="7c6829d1-1bf6-4417-b4a9-02cb8827630e" providerId="ADAL" clId="{857BC41E-A371-448C-9B0F-48FE52EEF25B}" dt="2025-04-22T12:27:26.399" v="7322"/>
          <ac:spMkLst>
            <pc:docMk/>
            <pc:sldMk cId="2129768714" sldId="2134805975"/>
            <ac:spMk id="6" creationId="{98D36994-1E0C-772B-613A-810FD53B6AA2}"/>
          </ac:spMkLst>
        </pc:spChg>
        <pc:spChg chg="mod ord">
          <ac:chgData name="Jacobo de Nicolás Nuñez" userId="7c6829d1-1bf6-4417-b4a9-02cb8827630e" providerId="ADAL" clId="{857BC41E-A371-448C-9B0F-48FE52EEF25B}" dt="2025-04-22T12:27:26.399" v="7338"/>
          <ac:spMkLst>
            <pc:docMk/>
            <pc:sldMk cId="2129768714" sldId="2134805975"/>
            <ac:spMk id="7" creationId="{7E1D18A1-335B-624F-598A-76FAE47DE080}"/>
          </ac:spMkLst>
        </pc:spChg>
        <pc:spChg chg="mod ord">
          <ac:chgData name="Jacobo de Nicolás Nuñez" userId="7c6829d1-1bf6-4417-b4a9-02cb8827630e" providerId="ADAL" clId="{857BC41E-A371-448C-9B0F-48FE52EEF25B}" dt="2025-04-22T12:27:26.415" v="7340"/>
          <ac:spMkLst>
            <pc:docMk/>
            <pc:sldMk cId="2129768714" sldId="2134805975"/>
            <ac:spMk id="8" creationId="{1D4B70AD-A506-80E9-ED88-1C46CE7D330C}"/>
          </ac:spMkLst>
        </pc:spChg>
        <pc:spChg chg="mod ord">
          <ac:chgData name="Jacobo de Nicolás Nuñez" userId="7c6829d1-1bf6-4417-b4a9-02cb8827630e" providerId="ADAL" clId="{857BC41E-A371-448C-9B0F-48FE52EEF25B}" dt="2025-04-22T12:27:26.415" v="7342"/>
          <ac:spMkLst>
            <pc:docMk/>
            <pc:sldMk cId="2129768714" sldId="2134805975"/>
            <ac:spMk id="9" creationId="{F01684FF-63AD-5E16-4D61-C05AAFEB844C}"/>
          </ac:spMkLst>
        </pc:spChg>
        <pc:spChg chg="mod ord">
          <ac:chgData name="Jacobo de Nicolás Nuñez" userId="7c6829d1-1bf6-4417-b4a9-02cb8827630e" providerId="ADAL" clId="{857BC41E-A371-448C-9B0F-48FE52EEF25B}" dt="2025-04-22T12:27:26.399" v="7316"/>
          <ac:spMkLst>
            <pc:docMk/>
            <pc:sldMk cId="2129768714" sldId="2134805975"/>
            <ac:spMk id="10" creationId="{4AC399DE-D4E4-C4AF-59E7-215433152576}"/>
          </ac:spMkLst>
        </pc:spChg>
        <pc:spChg chg="mod ord">
          <ac:chgData name="Jacobo de Nicolás Nuñez" userId="7c6829d1-1bf6-4417-b4a9-02cb8827630e" providerId="ADAL" clId="{857BC41E-A371-448C-9B0F-48FE52EEF25B}" dt="2025-04-22T12:27:26.399" v="7300"/>
          <ac:spMkLst>
            <pc:docMk/>
            <pc:sldMk cId="2129768714" sldId="2134805975"/>
            <ac:spMk id="12" creationId="{D3BFC715-99C2-B6F8-7530-1282381F0EA3}"/>
          </ac:spMkLst>
        </pc:spChg>
        <pc:spChg chg="mod ord">
          <ac:chgData name="Jacobo de Nicolás Nuñez" userId="7c6829d1-1bf6-4417-b4a9-02cb8827630e" providerId="ADAL" clId="{857BC41E-A371-448C-9B0F-48FE52EEF25B}" dt="2025-04-22T12:27:26.399" v="7324"/>
          <ac:spMkLst>
            <pc:docMk/>
            <pc:sldMk cId="2129768714" sldId="2134805975"/>
            <ac:spMk id="13" creationId="{CACBACCC-D137-8751-49B8-2D9A17A097AF}"/>
          </ac:spMkLst>
        </pc:spChg>
        <pc:spChg chg="mod ord">
          <ac:chgData name="Jacobo de Nicolás Nuñez" userId="7c6829d1-1bf6-4417-b4a9-02cb8827630e" providerId="ADAL" clId="{857BC41E-A371-448C-9B0F-48FE52EEF25B}" dt="2025-04-22T12:27:26.415" v="7344"/>
          <ac:spMkLst>
            <pc:docMk/>
            <pc:sldMk cId="2129768714" sldId="2134805975"/>
            <ac:spMk id="16" creationId="{154420BE-8975-CD09-27AC-373DA88B055F}"/>
          </ac:spMkLst>
        </pc:spChg>
        <pc:spChg chg="mod ord">
          <ac:chgData name="Jacobo de Nicolás Nuñez" userId="7c6829d1-1bf6-4417-b4a9-02cb8827630e" providerId="ADAL" clId="{857BC41E-A371-448C-9B0F-48FE52EEF25B}" dt="2025-04-22T12:27:26.415" v="7346"/>
          <ac:spMkLst>
            <pc:docMk/>
            <pc:sldMk cId="2129768714" sldId="2134805975"/>
            <ac:spMk id="17" creationId="{ED303A84-E051-F28A-5DBC-461E82BE4C2E}"/>
          </ac:spMkLst>
        </pc:spChg>
        <pc:spChg chg="mod ord">
          <ac:chgData name="Jacobo de Nicolás Nuñez" userId="7c6829d1-1bf6-4417-b4a9-02cb8827630e" providerId="ADAL" clId="{857BC41E-A371-448C-9B0F-48FE52EEF25B}" dt="2025-04-22T12:27:26.415" v="7348"/>
          <ac:spMkLst>
            <pc:docMk/>
            <pc:sldMk cId="2129768714" sldId="2134805975"/>
            <ac:spMk id="18" creationId="{878627B9-0791-68B2-8DA4-02EE7AE62371}"/>
          </ac:spMkLst>
        </pc:spChg>
        <pc:spChg chg="mod ord">
          <ac:chgData name="Jacobo de Nicolás Nuñez" userId="7c6829d1-1bf6-4417-b4a9-02cb8827630e" providerId="ADAL" clId="{857BC41E-A371-448C-9B0F-48FE52EEF25B}" dt="2025-04-22T12:27:26.415" v="7350"/>
          <ac:spMkLst>
            <pc:docMk/>
            <pc:sldMk cId="2129768714" sldId="2134805975"/>
            <ac:spMk id="19" creationId="{DBCA78F3-70A9-BE0B-8977-ED3BE14D0D10}"/>
          </ac:spMkLst>
        </pc:spChg>
        <pc:spChg chg="mod ord">
          <ac:chgData name="Jacobo de Nicolás Nuñez" userId="7c6829d1-1bf6-4417-b4a9-02cb8827630e" providerId="ADAL" clId="{857BC41E-A371-448C-9B0F-48FE52EEF25B}" dt="2025-04-22T12:27:26.415" v="7352"/>
          <ac:spMkLst>
            <pc:docMk/>
            <pc:sldMk cId="2129768714" sldId="2134805975"/>
            <ac:spMk id="20" creationId="{4532A52D-1BE2-307A-06F0-96FE0E329088}"/>
          </ac:spMkLst>
        </pc:spChg>
        <pc:spChg chg="mod ord">
          <ac:chgData name="Jacobo de Nicolás Nuñez" userId="7c6829d1-1bf6-4417-b4a9-02cb8827630e" providerId="ADAL" clId="{857BC41E-A371-448C-9B0F-48FE52EEF25B}" dt="2025-04-22T12:27:26.399" v="7310"/>
          <ac:spMkLst>
            <pc:docMk/>
            <pc:sldMk cId="2129768714" sldId="2134805975"/>
            <ac:spMk id="66" creationId="{E3D66219-C056-79DF-43B6-AD9C57CCEB15}"/>
          </ac:spMkLst>
        </pc:spChg>
        <pc:spChg chg="mod ord">
          <ac:chgData name="Jacobo de Nicolás Nuñez" userId="7c6829d1-1bf6-4417-b4a9-02cb8827630e" providerId="ADAL" clId="{857BC41E-A371-448C-9B0F-48FE52EEF25B}" dt="2025-04-22T12:27:26.399" v="7312"/>
          <ac:spMkLst>
            <pc:docMk/>
            <pc:sldMk cId="2129768714" sldId="2134805975"/>
            <ac:spMk id="71" creationId="{2AD15FC7-13C1-7EAF-160A-6AFB645E257B}"/>
          </ac:spMkLst>
        </pc:spChg>
        <pc:spChg chg="mod ord">
          <ac:chgData name="Jacobo de Nicolás Nuñez" userId="7c6829d1-1bf6-4417-b4a9-02cb8827630e" providerId="ADAL" clId="{857BC41E-A371-448C-9B0F-48FE52EEF25B}" dt="2025-04-22T12:27:26.399" v="7314"/>
          <ac:spMkLst>
            <pc:docMk/>
            <pc:sldMk cId="2129768714" sldId="2134805975"/>
            <ac:spMk id="73" creationId="{4FFBFA79-A448-EF20-411A-AAD17C0172F9}"/>
          </ac:spMkLst>
        </pc:spChg>
        <pc:graphicFrameChg chg="add mod ord modVis">
          <ac:chgData name="Jacobo de Nicolás Nuñez" userId="7c6829d1-1bf6-4417-b4a9-02cb8827630e" providerId="ADAL" clId="{857BC41E-A371-448C-9B0F-48FE52EEF25B}" dt="2025-04-22T12:27:26.415" v="7354"/>
          <ac:graphicFrameMkLst>
            <pc:docMk/>
            <pc:sldMk cId="2129768714" sldId="2134805975"/>
            <ac:graphicFrameMk id="25" creationId="{1FD62AFB-A12A-BB0F-EF24-44D3F3F36A43}"/>
          </ac:graphicFrameMkLst>
        </pc:graphicFrameChg>
        <pc:picChg chg="mod ord">
          <ac:chgData name="Jacobo de Nicolás Nuñez" userId="7c6829d1-1bf6-4417-b4a9-02cb8827630e" providerId="ADAL" clId="{857BC41E-A371-448C-9B0F-48FE52EEF25B}" dt="2025-04-22T12:27:26.399" v="7318"/>
          <ac:picMkLst>
            <pc:docMk/>
            <pc:sldMk cId="2129768714" sldId="2134805975"/>
            <ac:picMk id="5" creationId="{E5A86D5F-B9BE-2F85-C651-24B843EA833A}"/>
          </ac:picMkLst>
        </pc:picChg>
        <pc:picChg chg="mod ord">
          <ac:chgData name="Jacobo de Nicolás Nuñez" userId="7c6829d1-1bf6-4417-b4a9-02cb8827630e" providerId="ADAL" clId="{857BC41E-A371-448C-9B0F-48FE52EEF25B}" dt="2025-04-22T12:27:26.399" v="7320"/>
          <ac:picMkLst>
            <pc:docMk/>
            <pc:sldMk cId="2129768714" sldId="2134805975"/>
            <ac:picMk id="11" creationId="{0FA8630E-9413-5868-0448-4906E2F5704B}"/>
          </ac:picMkLst>
        </pc:picChg>
        <pc:picChg chg="mod ord">
          <ac:chgData name="Jacobo de Nicolás Nuñez" userId="7c6829d1-1bf6-4417-b4a9-02cb8827630e" providerId="ADAL" clId="{857BC41E-A371-448C-9B0F-48FE52EEF25B}" dt="2025-04-22T12:27:26.399" v="7326"/>
          <ac:picMkLst>
            <pc:docMk/>
            <pc:sldMk cId="2129768714" sldId="2134805975"/>
            <ac:picMk id="14" creationId="{8EC22651-FDBF-2679-5740-52B7FE6CDFAC}"/>
          </ac:picMkLst>
        </pc:picChg>
        <pc:picChg chg="mod ord">
          <ac:chgData name="Jacobo de Nicolás Nuñez" userId="7c6829d1-1bf6-4417-b4a9-02cb8827630e" providerId="ADAL" clId="{857BC41E-A371-448C-9B0F-48FE52EEF25B}" dt="2025-04-22T12:27:26.399" v="7328"/>
          <ac:picMkLst>
            <pc:docMk/>
            <pc:sldMk cId="2129768714" sldId="2134805975"/>
            <ac:picMk id="15" creationId="{9E2382D8-E137-AD3F-402B-1CB15ED3BA91}"/>
          </ac:picMkLst>
        </pc:picChg>
        <pc:picChg chg="mod ord">
          <ac:chgData name="Jacobo de Nicolás Nuñez" userId="7c6829d1-1bf6-4417-b4a9-02cb8827630e" providerId="ADAL" clId="{857BC41E-A371-448C-9B0F-48FE52EEF25B}" dt="2025-04-22T12:27:26.399" v="7330"/>
          <ac:picMkLst>
            <pc:docMk/>
            <pc:sldMk cId="2129768714" sldId="2134805975"/>
            <ac:picMk id="21" creationId="{75AC0312-F598-F981-8967-1C3FC45E8FD5}"/>
          </ac:picMkLst>
        </pc:picChg>
        <pc:picChg chg="add mod ord">
          <ac:chgData name="Jacobo de Nicolás Nuñez" userId="7c6829d1-1bf6-4417-b4a9-02cb8827630e" providerId="ADAL" clId="{857BC41E-A371-448C-9B0F-48FE52EEF25B}" dt="2025-04-22T12:27:37.415" v="7358" actId="1076"/>
          <ac:picMkLst>
            <pc:docMk/>
            <pc:sldMk cId="2129768714" sldId="2134805975"/>
            <ac:picMk id="22" creationId="{FEED99A5-905B-8603-B150-36310A420B5B}"/>
          </ac:picMkLst>
        </pc:picChg>
        <pc:picChg chg="add mod ord">
          <ac:chgData name="Jacobo de Nicolás Nuñez" userId="7c6829d1-1bf6-4417-b4a9-02cb8827630e" providerId="ADAL" clId="{857BC41E-A371-448C-9B0F-48FE52EEF25B}" dt="2025-04-22T12:27:37.415" v="7358" actId="1076"/>
          <ac:picMkLst>
            <pc:docMk/>
            <pc:sldMk cId="2129768714" sldId="2134805975"/>
            <ac:picMk id="26" creationId="{5BB5D6F5-E1E6-A3F1-8B6B-96D0194953C3}"/>
          </ac:picMkLst>
        </pc:picChg>
        <pc:picChg chg="mod ord">
          <ac:chgData name="Jacobo de Nicolás Nuñez" userId="7c6829d1-1bf6-4417-b4a9-02cb8827630e" providerId="ADAL" clId="{857BC41E-A371-448C-9B0F-48FE52EEF25B}" dt="2025-04-22T12:27:26.399" v="7304"/>
          <ac:picMkLst>
            <pc:docMk/>
            <pc:sldMk cId="2129768714" sldId="2134805975"/>
            <ac:picMk id="29" creationId="{B2DE51B2-3015-FFF6-BC08-DC4DA2005230}"/>
          </ac:picMkLst>
        </pc:picChg>
        <pc:picChg chg="mod ord">
          <ac:chgData name="Jacobo de Nicolás Nuñez" userId="7c6829d1-1bf6-4417-b4a9-02cb8827630e" providerId="ADAL" clId="{857BC41E-A371-448C-9B0F-48FE52EEF25B}" dt="2025-04-22T12:27:26.399" v="7306"/>
          <ac:picMkLst>
            <pc:docMk/>
            <pc:sldMk cId="2129768714" sldId="2134805975"/>
            <ac:picMk id="51" creationId="{58C5EABE-155A-CF90-DB25-78A503926463}"/>
          </ac:picMkLst>
        </pc:picChg>
        <pc:picChg chg="mod ord">
          <ac:chgData name="Jacobo de Nicolás Nuñez" userId="7c6829d1-1bf6-4417-b4a9-02cb8827630e" providerId="ADAL" clId="{857BC41E-A371-448C-9B0F-48FE52EEF25B}" dt="2025-04-22T12:27:26.399" v="7308"/>
          <ac:picMkLst>
            <pc:docMk/>
            <pc:sldMk cId="2129768714" sldId="2134805975"/>
            <ac:picMk id="55" creationId="{9E1BEDAA-8A8C-558B-94B7-568A12C06C22}"/>
          </ac:picMkLst>
        </pc:picChg>
      </pc:sldChg>
      <pc:sldChg chg="addSp delSp modSp mod">
        <pc:chgData name="Jacobo de Nicolás Nuñez" userId="7c6829d1-1bf6-4417-b4a9-02cb8827630e" providerId="ADAL" clId="{857BC41E-A371-448C-9B0F-48FE52EEF25B}" dt="2025-04-22T12:20:50.832" v="7219" actId="1076"/>
        <pc:sldMkLst>
          <pc:docMk/>
          <pc:sldMk cId="3546854409" sldId="2134805976"/>
        </pc:sldMkLst>
        <pc:spChg chg="mod ord">
          <ac:chgData name="Jacobo de Nicolás Nuñez" userId="7c6829d1-1bf6-4417-b4a9-02cb8827630e" providerId="ADAL" clId="{857BC41E-A371-448C-9B0F-48FE52EEF25B}" dt="2025-04-15T13:44:24.417" v="4734"/>
          <ac:spMkLst>
            <pc:docMk/>
            <pc:sldMk cId="3546854409" sldId="2134805976"/>
            <ac:spMk id="2" creationId="{6886F5AE-91F3-51BB-85EB-13239E758AD6}"/>
          </ac:spMkLst>
        </pc:spChg>
        <pc:spChg chg="mod ord">
          <ac:chgData name="Jacobo de Nicolás Nuñez" userId="7c6829d1-1bf6-4417-b4a9-02cb8827630e" providerId="ADAL" clId="{857BC41E-A371-448C-9B0F-48FE52EEF25B}" dt="2025-04-15T13:44:24.417" v="4722"/>
          <ac:spMkLst>
            <pc:docMk/>
            <pc:sldMk cId="3546854409" sldId="2134805976"/>
            <ac:spMk id="3" creationId="{F2A53B5D-84D0-7C03-4003-32B46816EB75}"/>
          </ac:spMkLst>
        </pc:spChg>
        <pc:spChg chg="mod ord">
          <ac:chgData name="Jacobo de Nicolás Nuñez" userId="7c6829d1-1bf6-4417-b4a9-02cb8827630e" providerId="ADAL" clId="{857BC41E-A371-448C-9B0F-48FE52EEF25B}" dt="2025-04-15T13:44:24.417" v="4728"/>
          <ac:spMkLst>
            <pc:docMk/>
            <pc:sldMk cId="3546854409" sldId="2134805976"/>
            <ac:spMk id="5" creationId="{348DC8FD-AA96-A5D1-C9E2-8164D78A9707}"/>
          </ac:spMkLst>
        </pc:spChg>
        <pc:spChg chg="mod ord">
          <ac:chgData name="Jacobo de Nicolás Nuñez" userId="7c6829d1-1bf6-4417-b4a9-02cb8827630e" providerId="ADAL" clId="{857BC41E-A371-448C-9B0F-48FE52EEF25B}" dt="2025-04-15T13:44:24.417" v="4724"/>
          <ac:spMkLst>
            <pc:docMk/>
            <pc:sldMk cId="3546854409" sldId="2134805976"/>
            <ac:spMk id="10" creationId="{4AC399DE-D4E4-C4AF-59E7-215433152576}"/>
          </ac:spMkLst>
        </pc:spChg>
        <pc:spChg chg="mod ord">
          <ac:chgData name="Jacobo de Nicolás Nuñez" userId="7c6829d1-1bf6-4417-b4a9-02cb8827630e" providerId="ADAL" clId="{857BC41E-A371-448C-9B0F-48FE52EEF25B}" dt="2025-04-15T13:44:24.417" v="4730"/>
          <ac:spMkLst>
            <pc:docMk/>
            <pc:sldMk cId="3546854409" sldId="2134805976"/>
            <ac:spMk id="14" creationId="{FBE9E113-F3D3-DF1A-0550-016340C7F86F}"/>
          </ac:spMkLst>
        </pc:spChg>
        <pc:spChg chg="mod ord">
          <ac:chgData name="Jacobo de Nicolás Nuñez" userId="7c6829d1-1bf6-4417-b4a9-02cb8827630e" providerId="ADAL" clId="{857BC41E-A371-448C-9B0F-48FE52EEF25B}" dt="2025-04-15T13:44:24.417" v="4736"/>
          <ac:spMkLst>
            <pc:docMk/>
            <pc:sldMk cId="3546854409" sldId="2134805976"/>
            <ac:spMk id="18" creationId="{F355C05F-B0EE-04A7-195A-B56483D8E056}"/>
          </ac:spMkLst>
        </pc:spChg>
        <pc:spChg chg="mod ord">
          <ac:chgData name="Jacobo de Nicolás Nuñez" userId="7c6829d1-1bf6-4417-b4a9-02cb8827630e" providerId="ADAL" clId="{857BC41E-A371-448C-9B0F-48FE52EEF25B}" dt="2025-04-15T13:44:24.417" v="4742"/>
          <ac:spMkLst>
            <pc:docMk/>
            <pc:sldMk cId="3546854409" sldId="2134805976"/>
            <ac:spMk id="26" creationId="{6A6D65D2-5108-D171-531A-37D1A01308FE}"/>
          </ac:spMkLst>
        </pc:spChg>
        <pc:spChg chg="mod ord">
          <ac:chgData name="Jacobo de Nicolás Nuñez" userId="7c6829d1-1bf6-4417-b4a9-02cb8827630e" providerId="ADAL" clId="{857BC41E-A371-448C-9B0F-48FE52EEF25B}" dt="2025-04-15T13:44:24.432" v="4744"/>
          <ac:spMkLst>
            <pc:docMk/>
            <pc:sldMk cId="3546854409" sldId="2134805976"/>
            <ac:spMk id="27" creationId="{7B056E59-BC08-4318-3864-1F578096A608}"/>
          </ac:spMkLst>
        </pc:spChg>
        <pc:spChg chg="mod ord">
          <ac:chgData name="Jacobo de Nicolás Nuñez" userId="7c6829d1-1bf6-4417-b4a9-02cb8827630e" providerId="ADAL" clId="{857BC41E-A371-448C-9B0F-48FE52EEF25B}" dt="2025-04-15T13:44:24.432" v="4746"/>
          <ac:spMkLst>
            <pc:docMk/>
            <pc:sldMk cId="3546854409" sldId="2134805976"/>
            <ac:spMk id="28" creationId="{E60AFB76-E8B6-F37B-7D06-B351317C8EE7}"/>
          </ac:spMkLst>
        </pc:spChg>
        <pc:spChg chg="mod ord">
          <ac:chgData name="Jacobo de Nicolás Nuñez" userId="7c6829d1-1bf6-4417-b4a9-02cb8827630e" providerId="ADAL" clId="{857BC41E-A371-448C-9B0F-48FE52EEF25B}" dt="2025-04-15T13:44:24.432" v="4748"/>
          <ac:spMkLst>
            <pc:docMk/>
            <pc:sldMk cId="3546854409" sldId="2134805976"/>
            <ac:spMk id="29" creationId="{8E37EBFC-F1ED-BBD1-7E83-95B1546A8835}"/>
          </ac:spMkLst>
        </pc:spChg>
        <pc:spChg chg="mod ord">
          <ac:chgData name="Jacobo de Nicolás Nuñez" userId="7c6829d1-1bf6-4417-b4a9-02cb8827630e" providerId="ADAL" clId="{857BC41E-A371-448C-9B0F-48FE52EEF25B}" dt="2025-04-15T13:44:24.432" v="4750"/>
          <ac:spMkLst>
            <pc:docMk/>
            <pc:sldMk cId="3546854409" sldId="2134805976"/>
            <ac:spMk id="30" creationId="{BB60C2C2-344E-192B-20D2-159F6943468C}"/>
          </ac:spMkLst>
        </pc:spChg>
        <pc:spChg chg="mod ord">
          <ac:chgData name="Jacobo de Nicolás Nuñez" userId="7c6829d1-1bf6-4417-b4a9-02cb8827630e" providerId="ADAL" clId="{857BC41E-A371-448C-9B0F-48FE52EEF25B}" dt="2025-04-15T13:44:24.432" v="4752"/>
          <ac:spMkLst>
            <pc:docMk/>
            <pc:sldMk cId="3546854409" sldId="2134805976"/>
            <ac:spMk id="31" creationId="{1C2B7B96-AFD8-87CC-2286-B167B487525B}"/>
          </ac:spMkLst>
        </pc:spChg>
        <pc:spChg chg="mod ord">
          <ac:chgData name="Jacobo de Nicolás Nuñez" userId="7c6829d1-1bf6-4417-b4a9-02cb8827630e" providerId="ADAL" clId="{857BC41E-A371-448C-9B0F-48FE52EEF25B}" dt="2025-04-15T13:44:24.432" v="4754"/>
          <ac:spMkLst>
            <pc:docMk/>
            <pc:sldMk cId="3546854409" sldId="2134805976"/>
            <ac:spMk id="32" creationId="{6CF40186-CC54-B626-2FAE-FB82C8473FC6}"/>
          </ac:spMkLst>
        </pc:spChg>
        <pc:spChg chg="mod ord">
          <ac:chgData name="Jacobo de Nicolás Nuñez" userId="7c6829d1-1bf6-4417-b4a9-02cb8827630e" providerId="ADAL" clId="{857BC41E-A371-448C-9B0F-48FE52EEF25B}" dt="2025-04-15T13:44:24.432" v="4756"/>
          <ac:spMkLst>
            <pc:docMk/>
            <pc:sldMk cId="3546854409" sldId="2134805976"/>
            <ac:spMk id="33" creationId="{B1441AE2-53BF-1638-F9C1-C28A604F3ABE}"/>
          </ac:spMkLst>
        </pc:spChg>
        <pc:spChg chg="mod ord">
          <ac:chgData name="Jacobo de Nicolás Nuñez" userId="7c6829d1-1bf6-4417-b4a9-02cb8827630e" providerId="ADAL" clId="{857BC41E-A371-448C-9B0F-48FE52EEF25B}" dt="2025-04-15T13:44:24.432" v="4758"/>
          <ac:spMkLst>
            <pc:docMk/>
            <pc:sldMk cId="3546854409" sldId="2134805976"/>
            <ac:spMk id="34" creationId="{CCFA02BA-3554-665E-D7AB-2BFAFF68100D}"/>
          </ac:spMkLst>
        </pc:spChg>
        <pc:spChg chg="mod ord">
          <ac:chgData name="Jacobo de Nicolás Nuñez" userId="7c6829d1-1bf6-4417-b4a9-02cb8827630e" providerId="ADAL" clId="{857BC41E-A371-448C-9B0F-48FE52EEF25B}" dt="2025-04-15T13:44:24.432" v="4760"/>
          <ac:spMkLst>
            <pc:docMk/>
            <pc:sldMk cId="3546854409" sldId="2134805976"/>
            <ac:spMk id="35" creationId="{0704FA1A-5BEF-9486-3823-022773B51449}"/>
          </ac:spMkLst>
        </pc:spChg>
        <pc:spChg chg="mod ord">
          <ac:chgData name="Jacobo de Nicolás Nuñez" userId="7c6829d1-1bf6-4417-b4a9-02cb8827630e" providerId="ADAL" clId="{857BC41E-A371-448C-9B0F-48FE52EEF25B}" dt="2025-04-15T13:44:24.432" v="4762"/>
          <ac:spMkLst>
            <pc:docMk/>
            <pc:sldMk cId="3546854409" sldId="2134805976"/>
            <ac:spMk id="36" creationId="{B364CF69-E157-F154-73C2-4B6503FAD169}"/>
          </ac:spMkLst>
        </pc:spChg>
        <pc:spChg chg="mod ord">
          <ac:chgData name="Jacobo de Nicolás Nuñez" userId="7c6829d1-1bf6-4417-b4a9-02cb8827630e" providerId="ADAL" clId="{857BC41E-A371-448C-9B0F-48FE52EEF25B}" dt="2025-04-15T13:44:24.417" v="4726"/>
          <ac:spMkLst>
            <pc:docMk/>
            <pc:sldMk cId="3546854409" sldId="2134805976"/>
            <ac:spMk id="70" creationId="{806B8040-186A-DF35-242B-F6AD41CEFC9B}"/>
          </ac:spMkLst>
        </pc:spChg>
        <pc:graphicFrameChg chg="add mod ord modVis">
          <ac:chgData name="Jacobo de Nicolás Nuñez" userId="7c6829d1-1bf6-4417-b4a9-02cb8827630e" providerId="ADAL" clId="{857BC41E-A371-448C-9B0F-48FE52EEF25B}" dt="2025-04-15T13:44:24.432" v="4766"/>
          <ac:graphicFrameMkLst>
            <pc:docMk/>
            <pc:sldMk cId="3546854409" sldId="2134805976"/>
            <ac:graphicFrameMk id="12" creationId="{2E9625CB-AC44-337C-AA97-EE066C866F94}"/>
          </ac:graphicFrameMkLst>
        </pc:graphicFrameChg>
        <pc:picChg chg="add mod ord">
          <ac:chgData name="Jacobo de Nicolás Nuñez" userId="7c6829d1-1bf6-4417-b4a9-02cb8827630e" providerId="ADAL" clId="{857BC41E-A371-448C-9B0F-48FE52EEF25B}" dt="2025-04-22T12:20:50.832" v="7219" actId="1076"/>
          <ac:picMkLst>
            <pc:docMk/>
            <pc:sldMk cId="3546854409" sldId="2134805976"/>
            <ac:picMk id="6" creationId="{3334B1A4-D404-3C00-B4D4-76211C0259C1}"/>
          </ac:picMkLst>
        </pc:picChg>
        <pc:picChg chg="add mod ord">
          <ac:chgData name="Jacobo de Nicolás Nuñez" userId="7c6829d1-1bf6-4417-b4a9-02cb8827630e" providerId="ADAL" clId="{857BC41E-A371-448C-9B0F-48FE52EEF25B}" dt="2025-04-22T12:20:50.832" v="7219" actId="1076"/>
          <ac:picMkLst>
            <pc:docMk/>
            <pc:sldMk cId="3546854409" sldId="2134805976"/>
            <ac:picMk id="7" creationId="{014DEC6D-DC31-730D-844A-411969BAF94A}"/>
          </ac:picMkLst>
        </pc:picChg>
        <pc:picChg chg="mod ord">
          <ac:chgData name="Jacobo de Nicolás Nuñez" userId="7c6829d1-1bf6-4417-b4a9-02cb8827630e" providerId="ADAL" clId="{857BC41E-A371-448C-9B0F-48FE52EEF25B}" dt="2025-04-22T12:20:50.832" v="7219" actId="1076"/>
          <ac:picMkLst>
            <pc:docMk/>
            <pc:sldMk cId="3546854409" sldId="2134805976"/>
            <ac:picMk id="9" creationId="{0B1296B6-F4CF-DB86-5DEE-14BE4BFCD378}"/>
          </ac:picMkLst>
        </pc:picChg>
        <pc:picChg chg="add mod ord">
          <ac:chgData name="Jacobo de Nicolás Nuñez" userId="7c6829d1-1bf6-4417-b4a9-02cb8827630e" providerId="ADAL" clId="{857BC41E-A371-448C-9B0F-48FE52EEF25B}" dt="2025-04-22T12:20:50.832" v="7219" actId="1076"/>
          <ac:picMkLst>
            <pc:docMk/>
            <pc:sldMk cId="3546854409" sldId="2134805976"/>
            <ac:picMk id="15" creationId="{8A63723D-7F0F-902F-A1BC-3E9D458C6D5F}"/>
          </ac:picMkLst>
        </pc:picChg>
        <pc:picChg chg="add mod ord">
          <ac:chgData name="Jacobo de Nicolás Nuñez" userId="7c6829d1-1bf6-4417-b4a9-02cb8827630e" providerId="ADAL" clId="{857BC41E-A371-448C-9B0F-48FE52EEF25B}" dt="2025-04-22T12:20:50.832" v="7219" actId="1076"/>
          <ac:picMkLst>
            <pc:docMk/>
            <pc:sldMk cId="3546854409" sldId="2134805976"/>
            <ac:picMk id="16" creationId="{CDD4280C-3353-3AAF-1AA0-B81C56E51EC6}"/>
          </ac:picMkLst>
        </pc:picChg>
        <pc:picChg chg="add mod ord">
          <ac:chgData name="Jacobo de Nicolás Nuñez" userId="7c6829d1-1bf6-4417-b4a9-02cb8827630e" providerId="ADAL" clId="{857BC41E-A371-448C-9B0F-48FE52EEF25B}" dt="2025-04-22T12:20:50.832" v="7219" actId="1076"/>
          <ac:picMkLst>
            <pc:docMk/>
            <pc:sldMk cId="3546854409" sldId="2134805976"/>
            <ac:picMk id="17" creationId="{584DB687-C388-26A9-1AE3-F09531A1285A}"/>
          </ac:picMkLst>
        </pc:picChg>
        <pc:picChg chg="add mod ord">
          <ac:chgData name="Jacobo de Nicolás Nuñez" userId="7c6829d1-1bf6-4417-b4a9-02cb8827630e" providerId="ADAL" clId="{857BC41E-A371-448C-9B0F-48FE52EEF25B}" dt="2025-04-22T12:20:50.832" v="7219" actId="1076"/>
          <ac:picMkLst>
            <pc:docMk/>
            <pc:sldMk cId="3546854409" sldId="2134805976"/>
            <ac:picMk id="19" creationId="{61B7E381-5533-B937-7455-DD170439BCB0}"/>
          </ac:picMkLst>
        </pc:picChg>
        <pc:picChg chg="mod ord">
          <ac:chgData name="Jacobo de Nicolás Nuñez" userId="7c6829d1-1bf6-4417-b4a9-02cb8827630e" providerId="ADAL" clId="{857BC41E-A371-448C-9B0F-48FE52EEF25B}" dt="2025-04-15T13:44:24.417" v="4738"/>
          <ac:picMkLst>
            <pc:docMk/>
            <pc:sldMk cId="3546854409" sldId="2134805976"/>
            <ac:picMk id="21" creationId="{D376ED00-368C-A0F3-1982-5D96385335DD}"/>
          </ac:picMkLst>
        </pc:picChg>
        <pc:picChg chg="add mod ord">
          <ac:chgData name="Jacobo de Nicolás Nuñez" userId="7c6829d1-1bf6-4417-b4a9-02cb8827630e" providerId="ADAL" clId="{857BC41E-A371-448C-9B0F-48FE52EEF25B}" dt="2025-04-22T12:20:50.832" v="7219" actId="1076"/>
          <ac:picMkLst>
            <pc:docMk/>
            <pc:sldMk cId="3546854409" sldId="2134805976"/>
            <ac:picMk id="22" creationId="{5567ED3C-2455-CF00-B4A5-12C94659C88F}"/>
          </ac:picMkLst>
        </pc:picChg>
        <pc:picChg chg="mod ord">
          <ac:chgData name="Jacobo de Nicolás Nuñez" userId="7c6829d1-1bf6-4417-b4a9-02cb8827630e" providerId="ADAL" clId="{857BC41E-A371-448C-9B0F-48FE52EEF25B}" dt="2025-04-15T13:44:24.417" v="4740"/>
          <ac:picMkLst>
            <pc:docMk/>
            <pc:sldMk cId="3546854409" sldId="2134805976"/>
            <ac:picMk id="23" creationId="{39B6273F-E08B-F715-339C-B82E32E52979}"/>
          </ac:picMkLst>
        </pc:picChg>
        <pc:picChg chg="add mod ord">
          <ac:chgData name="Jacobo de Nicolás Nuñez" userId="7c6829d1-1bf6-4417-b4a9-02cb8827630e" providerId="ADAL" clId="{857BC41E-A371-448C-9B0F-48FE52EEF25B}" dt="2025-04-22T12:20:50.832" v="7219" actId="1076"/>
          <ac:picMkLst>
            <pc:docMk/>
            <pc:sldMk cId="3546854409" sldId="2134805976"/>
            <ac:picMk id="24" creationId="{95083575-0CD9-A7AC-5A05-536AA69AE4DA}"/>
          </ac:picMkLst>
        </pc:picChg>
      </pc:sldChg>
      <pc:sldChg chg="addSp delSp modSp mod">
        <pc:chgData name="Jacobo de Nicolás Nuñez" userId="7c6829d1-1bf6-4417-b4a9-02cb8827630e" providerId="ADAL" clId="{857BC41E-A371-448C-9B0F-48FE52EEF25B}" dt="2025-04-22T14:55:49.229" v="8587" actId="14100"/>
        <pc:sldMkLst>
          <pc:docMk/>
          <pc:sldMk cId="1005058865" sldId="2134805977"/>
        </pc:sldMkLst>
        <pc:spChg chg="mod ord">
          <ac:chgData name="Jacobo de Nicolás Nuñez" userId="7c6829d1-1bf6-4417-b4a9-02cb8827630e" providerId="ADAL" clId="{857BC41E-A371-448C-9B0F-48FE52EEF25B}" dt="2025-04-22T12:54:45.450" v="7650"/>
          <ac:spMkLst>
            <pc:docMk/>
            <pc:sldMk cId="1005058865" sldId="2134805977"/>
            <ac:spMk id="5" creationId="{CD77C823-4212-562D-9818-BB3A5BF9E5E5}"/>
          </ac:spMkLst>
        </pc:spChg>
        <pc:spChg chg="mod ord">
          <ac:chgData name="Jacobo de Nicolás Nuñez" userId="7c6829d1-1bf6-4417-b4a9-02cb8827630e" providerId="ADAL" clId="{857BC41E-A371-448C-9B0F-48FE52EEF25B}" dt="2025-04-22T12:54:45.466" v="7674"/>
          <ac:spMkLst>
            <pc:docMk/>
            <pc:sldMk cId="1005058865" sldId="2134805977"/>
            <ac:spMk id="7" creationId="{2E995693-47C1-0A34-F32F-236EA1524FC5}"/>
          </ac:spMkLst>
        </pc:spChg>
        <pc:spChg chg="mod ord">
          <ac:chgData name="Jacobo de Nicolás Nuñez" userId="7c6829d1-1bf6-4417-b4a9-02cb8827630e" providerId="ADAL" clId="{857BC41E-A371-448C-9B0F-48FE52EEF25B}" dt="2025-04-22T12:54:45.450" v="7654"/>
          <ac:spMkLst>
            <pc:docMk/>
            <pc:sldMk cId="1005058865" sldId="2134805977"/>
            <ac:spMk id="9" creationId="{B826CF32-3A49-408F-5D73-70669A38D47F}"/>
          </ac:spMkLst>
        </pc:spChg>
        <pc:spChg chg="mod ord">
          <ac:chgData name="Jacobo de Nicolás Nuñez" userId="7c6829d1-1bf6-4417-b4a9-02cb8827630e" providerId="ADAL" clId="{857BC41E-A371-448C-9B0F-48FE52EEF25B}" dt="2025-04-22T12:54:45.466" v="7676"/>
          <ac:spMkLst>
            <pc:docMk/>
            <pc:sldMk cId="1005058865" sldId="2134805977"/>
            <ac:spMk id="10" creationId="{D7B099B0-2991-CE04-F7E5-95282FF17D5A}"/>
          </ac:spMkLst>
        </pc:spChg>
        <pc:spChg chg="mod ord">
          <ac:chgData name="Jacobo de Nicolás Nuñez" userId="7c6829d1-1bf6-4417-b4a9-02cb8827630e" providerId="ADAL" clId="{857BC41E-A371-448C-9B0F-48FE52EEF25B}" dt="2025-04-22T12:54:45.466" v="7678"/>
          <ac:spMkLst>
            <pc:docMk/>
            <pc:sldMk cId="1005058865" sldId="2134805977"/>
            <ac:spMk id="12" creationId="{0909BFDD-3758-2E28-D7C7-3A3621E849CE}"/>
          </ac:spMkLst>
        </pc:spChg>
        <pc:spChg chg="mod ord">
          <ac:chgData name="Jacobo de Nicolás Nuñez" userId="7c6829d1-1bf6-4417-b4a9-02cb8827630e" providerId="ADAL" clId="{857BC41E-A371-448C-9B0F-48FE52EEF25B}" dt="2025-04-22T12:54:45.466" v="7680"/>
          <ac:spMkLst>
            <pc:docMk/>
            <pc:sldMk cId="1005058865" sldId="2134805977"/>
            <ac:spMk id="13" creationId="{2038051F-B4C5-BC20-A19A-C1E4609913EF}"/>
          </ac:spMkLst>
        </pc:spChg>
        <pc:spChg chg="mod ord">
          <ac:chgData name="Jacobo de Nicolás Nuñez" userId="7c6829d1-1bf6-4417-b4a9-02cb8827630e" providerId="ADAL" clId="{857BC41E-A371-448C-9B0F-48FE52EEF25B}" dt="2025-04-22T12:54:45.450" v="7656"/>
          <ac:spMkLst>
            <pc:docMk/>
            <pc:sldMk cId="1005058865" sldId="2134805977"/>
            <ac:spMk id="14" creationId="{65888CCB-5B59-38CD-3AA3-896E445D14F8}"/>
          </ac:spMkLst>
        </pc:spChg>
        <pc:spChg chg="mod ord">
          <ac:chgData name="Jacobo de Nicolás Nuñez" userId="7c6829d1-1bf6-4417-b4a9-02cb8827630e" providerId="ADAL" clId="{857BC41E-A371-448C-9B0F-48FE52EEF25B}" dt="2025-04-22T12:54:45.450" v="7658"/>
          <ac:spMkLst>
            <pc:docMk/>
            <pc:sldMk cId="1005058865" sldId="2134805977"/>
            <ac:spMk id="15" creationId="{C1E316CC-DEC5-E582-7531-1A35EAA15FE4}"/>
          </ac:spMkLst>
        </pc:spChg>
        <pc:spChg chg="mod ord">
          <ac:chgData name="Jacobo de Nicolás Nuñez" userId="7c6829d1-1bf6-4417-b4a9-02cb8827630e" providerId="ADAL" clId="{857BC41E-A371-448C-9B0F-48FE52EEF25B}" dt="2025-04-22T12:54:45.450" v="7660"/>
          <ac:spMkLst>
            <pc:docMk/>
            <pc:sldMk cId="1005058865" sldId="2134805977"/>
            <ac:spMk id="16" creationId="{2C945890-94DC-3A8C-6912-239AACE3E129}"/>
          </ac:spMkLst>
        </pc:spChg>
        <pc:spChg chg="mod ord">
          <ac:chgData name="Jacobo de Nicolás Nuñez" userId="7c6829d1-1bf6-4417-b4a9-02cb8827630e" providerId="ADAL" clId="{857BC41E-A371-448C-9B0F-48FE52EEF25B}" dt="2025-04-22T12:54:45.450" v="7662"/>
          <ac:spMkLst>
            <pc:docMk/>
            <pc:sldMk cId="1005058865" sldId="2134805977"/>
            <ac:spMk id="17" creationId="{36FFB85C-44C5-7566-13CC-DBC4EBFCE7E4}"/>
          </ac:spMkLst>
        </pc:spChg>
        <pc:spChg chg="mod ord">
          <ac:chgData name="Jacobo de Nicolás Nuñez" userId="7c6829d1-1bf6-4417-b4a9-02cb8827630e" providerId="ADAL" clId="{857BC41E-A371-448C-9B0F-48FE52EEF25B}" dt="2025-04-22T12:54:45.466" v="7664"/>
          <ac:spMkLst>
            <pc:docMk/>
            <pc:sldMk cId="1005058865" sldId="2134805977"/>
            <ac:spMk id="18" creationId="{19C9EBC3-B88F-D176-917C-58AFD6164B83}"/>
          </ac:spMkLst>
        </pc:spChg>
        <pc:spChg chg="mod ord">
          <ac:chgData name="Jacobo de Nicolás Nuñez" userId="7c6829d1-1bf6-4417-b4a9-02cb8827630e" providerId="ADAL" clId="{857BC41E-A371-448C-9B0F-48FE52EEF25B}" dt="2025-04-22T12:54:45.466" v="7666"/>
          <ac:spMkLst>
            <pc:docMk/>
            <pc:sldMk cId="1005058865" sldId="2134805977"/>
            <ac:spMk id="19" creationId="{B99D296E-9ED5-0EB3-2193-CE604BD1755B}"/>
          </ac:spMkLst>
        </pc:spChg>
        <pc:spChg chg="mod ord">
          <ac:chgData name="Jacobo de Nicolás Nuñez" userId="7c6829d1-1bf6-4417-b4a9-02cb8827630e" providerId="ADAL" clId="{857BC41E-A371-448C-9B0F-48FE52EEF25B}" dt="2025-04-22T12:54:45.466" v="7668"/>
          <ac:spMkLst>
            <pc:docMk/>
            <pc:sldMk cId="1005058865" sldId="2134805977"/>
            <ac:spMk id="20" creationId="{D8CEB08C-6488-8809-D7AD-701C4E23F0DA}"/>
          </ac:spMkLst>
        </pc:spChg>
        <pc:spChg chg="mod ord">
          <ac:chgData name="Jacobo de Nicolás Nuñez" userId="7c6829d1-1bf6-4417-b4a9-02cb8827630e" providerId="ADAL" clId="{857BC41E-A371-448C-9B0F-48FE52EEF25B}" dt="2025-04-22T12:54:45.466" v="7670"/>
          <ac:spMkLst>
            <pc:docMk/>
            <pc:sldMk cId="1005058865" sldId="2134805977"/>
            <ac:spMk id="21" creationId="{C9D1CC8C-F76C-2070-7CA7-E2EBC309C125}"/>
          </ac:spMkLst>
        </pc:spChg>
        <pc:spChg chg="mod ord">
          <ac:chgData name="Jacobo de Nicolás Nuñez" userId="7c6829d1-1bf6-4417-b4a9-02cb8827630e" providerId="ADAL" clId="{857BC41E-A371-448C-9B0F-48FE52EEF25B}" dt="2025-04-22T12:54:45.466" v="7684"/>
          <ac:spMkLst>
            <pc:docMk/>
            <pc:sldMk cId="1005058865" sldId="2134805977"/>
            <ac:spMk id="25" creationId="{055ECDC4-C58E-0EB0-2387-B6A63E6A4F32}"/>
          </ac:spMkLst>
        </pc:spChg>
        <pc:spChg chg="mod ord">
          <ac:chgData name="Jacobo de Nicolás Nuñez" userId="7c6829d1-1bf6-4417-b4a9-02cb8827630e" providerId="ADAL" clId="{857BC41E-A371-448C-9B0F-48FE52EEF25B}" dt="2025-04-22T12:54:45.450" v="7652"/>
          <ac:spMkLst>
            <pc:docMk/>
            <pc:sldMk cId="1005058865" sldId="2134805977"/>
            <ac:spMk id="54" creationId="{4568DC2C-13A6-CFBF-4D07-7EF0F6B00876}"/>
          </ac:spMkLst>
        </pc:spChg>
        <pc:spChg chg="mod ord">
          <ac:chgData name="Jacobo de Nicolás Nuñez" userId="7c6829d1-1bf6-4417-b4a9-02cb8827630e" providerId="ADAL" clId="{857BC41E-A371-448C-9B0F-48FE52EEF25B}" dt="2025-04-22T12:54:45.450" v="7648"/>
          <ac:spMkLst>
            <pc:docMk/>
            <pc:sldMk cId="1005058865" sldId="2134805977"/>
            <ac:spMk id="71" creationId="{2AD15FC7-13C1-7EAF-160A-6AFB645E257B}"/>
          </ac:spMkLst>
        </pc:spChg>
        <pc:graphicFrameChg chg="add mod ord modVis">
          <ac:chgData name="Jacobo de Nicolás Nuñez" userId="7c6829d1-1bf6-4417-b4a9-02cb8827630e" providerId="ADAL" clId="{857BC41E-A371-448C-9B0F-48FE52EEF25B}" dt="2025-04-22T12:54:45.466" v="7688"/>
          <ac:graphicFrameMkLst>
            <pc:docMk/>
            <pc:sldMk cId="1005058865" sldId="2134805977"/>
            <ac:graphicFrameMk id="4" creationId="{570A4A91-98C8-B041-0084-E6E4A002543E}"/>
          </ac:graphicFrameMkLst>
        </pc:graphicFrameChg>
        <pc:picChg chg="add mod ord">
          <ac:chgData name="Jacobo de Nicolás Nuñez" userId="7c6829d1-1bf6-4417-b4a9-02cb8827630e" providerId="ADAL" clId="{857BC41E-A371-448C-9B0F-48FE52EEF25B}" dt="2025-04-22T12:54:53.388" v="7691" actId="1076"/>
          <ac:picMkLst>
            <pc:docMk/>
            <pc:sldMk cId="1005058865" sldId="2134805977"/>
            <ac:picMk id="2" creationId="{55DCF4F8-6A91-B2CF-493F-4CFBAE97BF60}"/>
          </ac:picMkLst>
        </pc:picChg>
        <pc:picChg chg="mod ord">
          <ac:chgData name="Jacobo de Nicolás Nuñez" userId="7c6829d1-1bf6-4417-b4a9-02cb8827630e" providerId="ADAL" clId="{857BC41E-A371-448C-9B0F-48FE52EEF25B}" dt="2025-04-22T14:55:49.229" v="8587" actId="14100"/>
          <ac:picMkLst>
            <pc:docMk/>
            <pc:sldMk cId="1005058865" sldId="2134805977"/>
            <ac:picMk id="6" creationId="{3ED7EBE3-DD29-6B51-CC8C-95E3732DCE37}"/>
          </ac:picMkLst>
        </pc:picChg>
        <pc:picChg chg="add mod ord">
          <ac:chgData name="Jacobo de Nicolás Nuñez" userId="7c6829d1-1bf6-4417-b4a9-02cb8827630e" providerId="ADAL" clId="{857BC41E-A371-448C-9B0F-48FE52EEF25B}" dt="2025-04-22T12:54:45.450" v="7634"/>
          <ac:picMkLst>
            <pc:docMk/>
            <pc:sldMk cId="1005058865" sldId="2134805977"/>
            <ac:picMk id="8" creationId="{02B4C5B3-C6F9-6972-5A23-5BBF8AD6B2DE}"/>
          </ac:picMkLst>
        </pc:picChg>
        <pc:picChg chg="add mod ord">
          <ac:chgData name="Jacobo de Nicolás Nuñez" userId="7c6829d1-1bf6-4417-b4a9-02cb8827630e" providerId="ADAL" clId="{857BC41E-A371-448C-9B0F-48FE52EEF25B}" dt="2025-04-22T12:54:45.450" v="7636"/>
          <ac:picMkLst>
            <pc:docMk/>
            <pc:sldMk cId="1005058865" sldId="2134805977"/>
            <ac:picMk id="11" creationId="{B43A7AFE-ED33-81B6-91F7-A15F3616494E}"/>
          </ac:picMkLst>
        </pc:picChg>
        <pc:picChg chg="mod ord">
          <ac:chgData name="Jacobo de Nicolás Nuñez" userId="7c6829d1-1bf6-4417-b4a9-02cb8827630e" providerId="ADAL" clId="{857BC41E-A371-448C-9B0F-48FE52EEF25B}" dt="2025-04-22T14:55:12.614" v="8583" actId="14100"/>
          <ac:picMkLst>
            <pc:docMk/>
            <pc:sldMk cId="1005058865" sldId="2134805977"/>
            <ac:picMk id="24" creationId="{14D1DB47-4B19-4C3B-BB6E-2256DE70B102}"/>
          </ac:picMkLst>
        </pc:picChg>
        <pc:picChg chg="add mod ord">
          <ac:chgData name="Jacobo de Nicolás Nuñez" userId="7c6829d1-1bf6-4417-b4a9-02cb8827630e" providerId="ADAL" clId="{857BC41E-A371-448C-9B0F-48FE52EEF25B}" dt="2025-04-22T12:54:45.450" v="7638"/>
          <ac:picMkLst>
            <pc:docMk/>
            <pc:sldMk cId="1005058865" sldId="2134805977"/>
            <ac:picMk id="27" creationId="{15CA8DCB-3E27-00CD-28EE-51DA1A27930D}"/>
          </ac:picMkLst>
        </pc:picChg>
        <pc:picChg chg="add mod ord">
          <ac:chgData name="Jacobo de Nicolás Nuñez" userId="7c6829d1-1bf6-4417-b4a9-02cb8827630e" providerId="ADAL" clId="{857BC41E-A371-448C-9B0F-48FE52EEF25B}" dt="2025-04-22T12:55:09.810" v="7693" actId="1076"/>
          <ac:picMkLst>
            <pc:docMk/>
            <pc:sldMk cId="1005058865" sldId="2134805977"/>
            <ac:picMk id="28" creationId="{AAE71D94-762C-34A6-92BA-80BD3A5673D9}"/>
          </ac:picMkLst>
        </pc:picChg>
        <pc:picChg chg="add mod ord">
          <ac:chgData name="Jacobo de Nicolás Nuñez" userId="7c6829d1-1bf6-4417-b4a9-02cb8827630e" providerId="ADAL" clId="{857BC41E-A371-448C-9B0F-48FE52EEF25B}" dt="2025-04-22T12:54:45.450" v="7640"/>
          <ac:picMkLst>
            <pc:docMk/>
            <pc:sldMk cId="1005058865" sldId="2134805977"/>
            <ac:picMk id="34" creationId="{ED515A1A-6DB2-E305-A20C-CFCB0F1AFE91}"/>
          </ac:picMkLst>
        </pc:picChg>
        <pc:picChg chg="add mod ord">
          <ac:chgData name="Jacobo de Nicolás Nuñez" userId="7c6829d1-1bf6-4417-b4a9-02cb8827630e" providerId="ADAL" clId="{857BC41E-A371-448C-9B0F-48FE52EEF25B}" dt="2025-04-22T12:54:45.450" v="7642"/>
          <ac:picMkLst>
            <pc:docMk/>
            <pc:sldMk cId="1005058865" sldId="2134805977"/>
            <ac:picMk id="35" creationId="{F5508BFA-BA35-A2DD-5CD4-17CFF5320CEC}"/>
          </ac:picMkLst>
        </pc:picChg>
        <pc:picChg chg="add mod ord">
          <ac:chgData name="Jacobo de Nicolás Nuñez" userId="7c6829d1-1bf6-4417-b4a9-02cb8827630e" providerId="ADAL" clId="{857BC41E-A371-448C-9B0F-48FE52EEF25B}" dt="2025-04-22T12:55:09.810" v="7693" actId="1076"/>
          <ac:picMkLst>
            <pc:docMk/>
            <pc:sldMk cId="1005058865" sldId="2134805977"/>
            <ac:picMk id="36" creationId="{2E685ED8-F9C6-8264-8E92-867D89CFA097}"/>
          </ac:picMkLst>
        </pc:picChg>
        <pc:picChg chg="add mod ord">
          <ac:chgData name="Jacobo de Nicolás Nuñez" userId="7c6829d1-1bf6-4417-b4a9-02cb8827630e" providerId="ADAL" clId="{857BC41E-A371-448C-9B0F-48FE52EEF25B}" dt="2025-04-22T12:55:09.810" v="7693" actId="1076"/>
          <ac:picMkLst>
            <pc:docMk/>
            <pc:sldMk cId="1005058865" sldId="2134805977"/>
            <ac:picMk id="37" creationId="{004FC54E-A80D-DA3C-F865-A3241051FDED}"/>
          </ac:picMkLst>
        </pc:picChg>
      </pc:sldChg>
      <pc:sldChg chg="addSp delSp modSp mod">
        <pc:chgData name="Jacobo de Nicolás Nuñez" userId="7c6829d1-1bf6-4417-b4a9-02cb8827630e" providerId="ADAL" clId="{857BC41E-A371-448C-9B0F-48FE52EEF25B}" dt="2025-04-22T14:34:02.335" v="8556" actId="14826"/>
        <pc:sldMkLst>
          <pc:docMk/>
          <pc:sldMk cId="2364281794" sldId="2134805979"/>
        </pc:sldMkLst>
        <pc:spChg chg="mod ord">
          <ac:chgData name="Jacobo de Nicolás Nuñez" userId="7c6829d1-1bf6-4417-b4a9-02cb8827630e" providerId="ADAL" clId="{857BC41E-A371-448C-9B0F-48FE52EEF25B}" dt="2025-04-15T13:38:55.933" v="4608"/>
          <ac:spMkLst>
            <pc:docMk/>
            <pc:sldMk cId="2364281794" sldId="2134805979"/>
            <ac:spMk id="2" creationId="{60148060-8D3E-67FB-8568-1D5BA00CCEF1}"/>
          </ac:spMkLst>
        </pc:spChg>
        <pc:spChg chg="mod ord">
          <ac:chgData name="Jacobo de Nicolás Nuñez" userId="7c6829d1-1bf6-4417-b4a9-02cb8827630e" providerId="ADAL" clId="{857BC41E-A371-448C-9B0F-48FE52EEF25B}" dt="2025-04-15T13:38:55.933" v="4606"/>
          <ac:spMkLst>
            <pc:docMk/>
            <pc:sldMk cId="2364281794" sldId="2134805979"/>
            <ac:spMk id="4" creationId="{69771C21-E89C-DDE6-CF08-DC3247E62040}"/>
          </ac:spMkLst>
        </pc:spChg>
        <pc:spChg chg="mod ord">
          <ac:chgData name="Jacobo de Nicolás Nuñez" userId="7c6829d1-1bf6-4417-b4a9-02cb8827630e" providerId="ADAL" clId="{857BC41E-A371-448C-9B0F-48FE52EEF25B}" dt="2025-04-15T13:38:55.933" v="4610"/>
          <ac:spMkLst>
            <pc:docMk/>
            <pc:sldMk cId="2364281794" sldId="2134805979"/>
            <ac:spMk id="5" creationId="{C2EC2384-6CFA-EFCE-6EA8-2EF1C61E60C6}"/>
          </ac:spMkLst>
        </pc:spChg>
        <pc:spChg chg="mod ord">
          <ac:chgData name="Jacobo de Nicolás Nuñez" userId="7c6829d1-1bf6-4417-b4a9-02cb8827630e" providerId="ADAL" clId="{857BC41E-A371-448C-9B0F-48FE52EEF25B}" dt="2025-04-15T13:38:55.933" v="4628"/>
          <ac:spMkLst>
            <pc:docMk/>
            <pc:sldMk cId="2364281794" sldId="2134805979"/>
            <ac:spMk id="6" creationId="{F9549394-92EE-A54E-0E4D-1EBF618CC757}"/>
          </ac:spMkLst>
        </pc:spChg>
        <pc:spChg chg="mod ord">
          <ac:chgData name="Jacobo de Nicolás Nuñez" userId="7c6829d1-1bf6-4417-b4a9-02cb8827630e" providerId="ADAL" clId="{857BC41E-A371-448C-9B0F-48FE52EEF25B}" dt="2025-04-15T13:38:55.933" v="4612"/>
          <ac:spMkLst>
            <pc:docMk/>
            <pc:sldMk cId="2364281794" sldId="2134805979"/>
            <ac:spMk id="9" creationId="{2B2BC842-20B8-3A9F-DEDC-0FCF2AAB2A5B}"/>
          </ac:spMkLst>
        </pc:spChg>
        <pc:spChg chg="mod ord">
          <ac:chgData name="Jacobo de Nicolás Nuñez" userId="7c6829d1-1bf6-4417-b4a9-02cb8827630e" providerId="ADAL" clId="{857BC41E-A371-448C-9B0F-48FE52EEF25B}" dt="2025-04-15T13:38:55.933" v="4602"/>
          <ac:spMkLst>
            <pc:docMk/>
            <pc:sldMk cId="2364281794" sldId="2134805979"/>
            <ac:spMk id="10" creationId="{4AC399DE-D4E4-C4AF-59E7-215433152576}"/>
          </ac:spMkLst>
        </pc:spChg>
        <pc:spChg chg="mod ord">
          <ac:chgData name="Jacobo de Nicolás Nuñez" userId="7c6829d1-1bf6-4417-b4a9-02cb8827630e" providerId="ADAL" clId="{857BC41E-A371-448C-9B0F-48FE52EEF25B}" dt="2025-04-15T13:38:55.933" v="4614"/>
          <ac:spMkLst>
            <pc:docMk/>
            <pc:sldMk cId="2364281794" sldId="2134805979"/>
            <ac:spMk id="12" creationId="{8104ACB1-5F29-09AB-4527-8EACD2F2C399}"/>
          </ac:spMkLst>
        </pc:spChg>
        <pc:spChg chg="mod ord">
          <ac:chgData name="Jacobo de Nicolás Nuñez" userId="7c6829d1-1bf6-4417-b4a9-02cb8827630e" providerId="ADAL" clId="{857BC41E-A371-448C-9B0F-48FE52EEF25B}" dt="2025-04-15T13:38:55.933" v="4604"/>
          <ac:spMkLst>
            <pc:docMk/>
            <pc:sldMk cId="2364281794" sldId="2134805979"/>
            <ac:spMk id="13" creationId="{9C83B014-365B-CE5F-61B1-D0323B12113D}"/>
          </ac:spMkLst>
        </pc:spChg>
        <pc:spChg chg="mod ord">
          <ac:chgData name="Jacobo de Nicolás Nuñez" userId="7c6829d1-1bf6-4417-b4a9-02cb8827630e" providerId="ADAL" clId="{857BC41E-A371-448C-9B0F-48FE52EEF25B}" dt="2025-04-15T13:38:55.933" v="4616"/>
          <ac:spMkLst>
            <pc:docMk/>
            <pc:sldMk cId="2364281794" sldId="2134805979"/>
            <ac:spMk id="14" creationId="{A784AE07-A3E2-0B65-9640-DB486D1163D3}"/>
          </ac:spMkLst>
        </pc:spChg>
        <pc:spChg chg="mod ord">
          <ac:chgData name="Jacobo de Nicolás Nuñez" userId="7c6829d1-1bf6-4417-b4a9-02cb8827630e" providerId="ADAL" clId="{857BC41E-A371-448C-9B0F-48FE52EEF25B}" dt="2025-04-15T13:38:55.933" v="4618"/>
          <ac:spMkLst>
            <pc:docMk/>
            <pc:sldMk cId="2364281794" sldId="2134805979"/>
            <ac:spMk id="15" creationId="{A36CABAC-9262-EAC8-4CE5-B2DE2C981329}"/>
          </ac:spMkLst>
        </pc:spChg>
        <pc:spChg chg="mod ord">
          <ac:chgData name="Jacobo de Nicolás Nuñez" userId="7c6829d1-1bf6-4417-b4a9-02cb8827630e" providerId="ADAL" clId="{857BC41E-A371-448C-9B0F-48FE52EEF25B}" dt="2025-04-15T13:38:55.933" v="4620"/>
          <ac:spMkLst>
            <pc:docMk/>
            <pc:sldMk cId="2364281794" sldId="2134805979"/>
            <ac:spMk id="16" creationId="{E429BA8F-4FDB-42AA-DDB3-4E785B6CB7C3}"/>
          </ac:spMkLst>
        </pc:spChg>
        <pc:spChg chg="mod ord">
          <ac:chgData name="Jacobo de Nicolás Nuñez" userId="7c6829d1-1bf6-4417-b4a9-02cb8827630e" providerId="ADAL" clId="{857BC41E-A371-448C-9B0F-48FE52EEF25B}" dt="2025-04-15T13:38:55.933" v="4622"/>
          <ac:spMkLst>
            <pc:docMk/>
            <pc:sldMk cId="2364281794" sldId="2134805979"/>
            <ac:spMk id="17" creationId="{155700E6-B229-4050-E335-54C819A32897}"/>
          </ac:spMkLst>
        </pc:spChg>
        <pc:spChg chg="mod ord">
          <ac:chgData name="Jacobo de Nicolás Nuñez" userId="7c6829d1-1bf6-4417-b4a9-02cb8827630e" providerId="ADAL" clId="{857BC41E-A371-448C-9B0F-48FE52EEF25B}" dt="2025-04-15T13:38:55.933" v="4624"/>
          <ac:spMkLst>
            <pc:docMk/>
            <pc:sldMk cId="2364281794" sldId="2134805979"/>
            <ac:spMk id="18" creationId="{1EEFDDCA-19D3-174E-A5AA-67067AA2262F}"/>
          </ac:spMkLst>
        </pc:spChg>
        <pc:spChg chg="mod ord">
          <ac:chgData name="Jacobo de Nicolás Nuñez" userId="7c6829d1-1bf6-4417-b4a9-02cb8827630e" providerId="ADAL" clId="{857BC41E-A371-448C-9B0F-48FE52EEF25B}" dt="2025-04-15T13:38:55.933" v="4596"/>
          <ac:spMkLst>
            <pc:docMk/>
            <pc:sldMk cId="2364281794" sldId="2134805979"/>
            <ac:spMk id="66" creationId="{E3D66219-C056-79DF-43B6-AD9C57CCEB15}"/>
          </ac:spMkLst>
        </pc:spChg>
        <pc:spChg chg="mod ord">
          <ac:chgData name="Jacobo de Nicolás Nuñez" userId="7c6829d1-1bf6-4417-b4a9-02cb8827630e" providerId="ADAL" clId="{857BC41E-A371-448C-9B0F-48FE52EEF25B}" dt="2025-04-15T13:38:55.933" v="4598"/>
          <ac:spMkLst>
            <pc:docMk/>
            <pc:sldMk cId="2364281794" sldId="2134805979"/>
            <ac:spMk id="70" creationId="{806B8040-186A-DF35-242B-F6AD41CEFC9B}"/>
          </ac:spMkLst>
        </pc:spChg>
        <pc:spChg chg="mod ord">
          <ac:chgData name="Jacobo de Nicolás Nuñez" userId="7c6829d1-1bf6-4417-b4a9-02cb8827630e" providerId="ADAL" clId="{857BC41E-A371-448C-9B0F-48FE52EEF25B}" dt="2025-04-15T13:38:55.933" v="4600"/>
          <ac:spMkLst>
            <pc:docMk/>
            <pc:sldMk cId="2364281794" sldId="2134805979"/>
            <ac:spMk id="71" creationId="{2AD15FC7-13C1-7EAF-160A-6AFB645E257B}"/>
          </ac:spMkLst>
        </pc:spChg>
        <pc:graphicFrameChg chg="add mod ord modVis">
          <ac:chgData name="Jacobo de Nicolás Nuñez" userId="7c6829d1-1bf6-4417-b4a9-02cb8827630e" providerId="ADAL" clId="{857BC41E-A371-448C-9B0F-48FE52EEF25B}" dt="2025-04-15T13:38:55.949" v="4630"/>
          <ac:graphicFrameMkLst>
            <pc:docMk/>
            <pc:sldMk cId="2364281794" sldId="2134805979"/>
            <ac:graphicFrameMk id="8" creationId="{2F1A487F-16FD-C35C-7C13-FBBCF9393EBD}"/>
          </ac:graphicFrameMkLst>
        </pc:graphicFrameChg>
        <pc:picChg chg="mod ord">
          <ac:chgData name="Jacobo de Nicolás Nuñez" userId="7c6829d1-1bf6-4417-b4a9-02cb8827630e" providerId="ADAL" clId="{857BC41E-A371-448C-9B0F-48FE52EEF25B}" dt="2025-04-22T14:34:02.335" v="8556" actId="14826"/>
          <ac:picMkLst>
            <pc:docMk/>
            <pc:sldMk cId="2364281794" sldId="2134805979"/>
            <ac:picMk id="3" creationId="{8B21A621-E4AE-4AB8-B167-C900183BF557}"/>
          </ac:picMkLst>
        </pc:picChg>
        <pc:picChg chg="add mod ord">
          <ac:chgData name="Jacobo de Nicolás Nuñez" userId="7c6829d1-1bf6-4417-b4a9-02cb8827630e" providerId="ADAL" clId="{857BC41E-A371-448C-9B0F-48FE52EEF25B}" dt="2025-04-22T13:35:21.966" v="8192" actId="14100"/>
          <ac:picMkLst>
            <pc:docMk/>
            <pc:sldMk cId="2364281794" sldId="2134805979"/>
            <ac:picMk id="7" creationId="{CFD7B5AA-40D9-DBA6-68F3-BEDCCB03ABDC}"/>
          </ac:picMkLst>
        </pc:picChg>
        <pc:picChg chg="add mod ord">
          <ac:chgData name="Jacobo de Nicolás Nuñez" userId="7c6829d1-1bf6-4417-b4a9-02cb8827630e" providerId="ADAL" clId="{857BC41E-A371-448C-9B0F-48FE52EEF25B}" dt="2025-04-22T13:35:21.966" v="8192" actId="14100"/>
          <ac:picMkLst>
            <pc:docMk/>
            <pc:sldMk cId="2364281794" sldId="2134805979"/>
            <ac:picMk id="11" creationId="{188238A9-98A8-DEDD-4148-2C04318D31BE}"/>
          </ac:picMkLst>
        </pc:picChg>
        <pc:picChg chg="mod ord">
          <ac:chgData name="Jacobo de Nicolás Nuñez" userId="7c6829d1-1bf6-4417-b4a9-02cb8827630e" providerId="ADAL" clId="{857BC41E-A371-448C-9B0F-48FE52EEF25B}" dt="2025-04-22T13:35:21.966" v="8192" actId="14100"/>
          <ac:picMkLst>
            <pc:docMk/>
            <pc:sldMk cId="2364281794" sldId="2134805979"/>
            <ac:picMk id="29" creationId="{B2DE51B2-3015-FFF6-BC08-DC4DA2005230}"/>
          </ac:picMkLst>
        </pc:picChg>
        <pc:picChg chg="mod ord">
          <ac:chgData name="Jacobo de Nicolás Nuñez" userId="7c6829d1-1bf6-4417-b4a9-02cb8827630e" providerId="ADAL" clId="{857BC41E-A371-448C-9B0F-48FE52EEF25B}" dt="2025-04-22T13:35:21.966" v="8192" actId="14100"/>
          <ac:picMkLst>
            <pc:docMk/>
            <pc:sldMk cId="2364281794" sldId="2134805979"/>
            <ac:picMk id="30" creationId="{211331C7-4C8E-EC6B-9499-336BED4FA3C0}"/>
          </ac:picMkLst>
        </pc:picChg>
        <pc:picChg chg="mod ord">
          <ac:chgData name="Jacobo de Nicolás Nuñez" userId="7c6829d1-1bf6-4417-b4a9-02cb8827630e" providerId="ADAL" clId="{857BC41E-A371-448C-9B0F-48FE52EEF25B}" dt="2025-04-22T13:35:21.966" v="8192" actId="14100"/>
          <ac:picMkLst>
            <pc:docMk/>
            <pc:sldMk cId="2364281794" sldId="2134805979"/>
            <ac:picMk id="38" creationId="{32F63A19-6B03-0F56-A590-8AC067DAA236}"/>
          </ac:picMkLst>
        </pc:picChg>
        <pc:picChg chg="mod ord">
          <ac:chgData name="Jacobo de Nicolás Nuñez" userId="7c6829d1-1bf6-4417-b4a9-02cb8827630e" providerId="ADAL" clId="{857BC41E-A371-448C-9B0F-48FE52EEF25B}" dt="2025-04-22T13:35:21.966" v="8192" actId="14100"/>
          <ac:picMkLst>
            <pc:docMk/>
            <pc:sldMk cId="2364281794" sldId="2134805979"/>
            <ac:picMk id="50" creationId="{87A2E21C-7EE2-09B4-D487-70A3EBAC1D0A}"/>
          </ac:picMkLst>
        </pc:picChg>
        <pc:picChg chg="mod ord">
          <ac:chgData name="Jacobo de Nicolás Nuñez" userId="7c6829d1-1bf6-4417-b4a9-02cb8827630e" providerId="ADAL" clId="{857BC41E-A371-448C-9B0F-48FE52EEF25B}" dt="2025-04-22T13:35:21.966" v="8192" actId="14100"/>
          <ac:picMkLst>
            <pc:docMk/>
            <pc:sldMk cId="2364281794" sldId="2134805979"/>
            <ac:picMk id="54" creationId="{AAAD5C1B-2D1D-4503-2C32-CEAA73EFE644}"/>
          </ac:picMkLst>
        </pc:picChg>
        <pc:picChg chg="mod ord">
          <ac:chgData name="Jacobo de Nicolás Nuñez" userId="7c6829d1-1bf6-4417-b4a9-02cb8827630e" providerId="ADAL" clId="{857BC41E-A371-448C-9B0F-48FE52EEF25B}" dt="2025-04-22T13:35:21.966" v="8192" actId="14100"/>
          <ac:picMkLst>
            <pc:docMk/>
            <pc:sldMk cId="2364281794" sldId="2134805979"/>
            <ac:picMk id="58" creationId="{34DFCC41-C545-78DB-7E26-E92B0371DB9B}"/>
          </ac:picMkLst>
        </pc:picChg>
      </pc:sldChg>
      <pc:sldChg chg="addSp delSp modSp mod">
        <pc:chgData name="Jacobo de Nicolás Nuñez" userId="7c6829d1-1bf6-4417-b4a9-02cb8827630e" providerId="ADAL" clId="{857BC41E-A371-448C-9B0F-48FE52EEF25B}" dt="2025-04-22T12:45:23.936" v="7474" actId="1076"/>
        <pc:sldMkLst>
          <pc:docMk/>
          <pc:sldMk cId="3964233397" sldId="2134805980"/>
        </pc:sldMkLst>
        <pc:spChg chg="mod ord">
          <ac:chgData name="Jacobo de Nicolás Nuñez" userId="7c6829d1-1bf6-4417-b4a9-02cb8827630e" providerId="ADAL" clId="{857BC41E-A371-448C-9B0F-48FE52EEF25B}" dt="2025-04-22T12:45:17.421" v="7446"/>
          <ac:spMkLst>
            <pc:docMk/>
            <pc:sldMk cId="3964233397" sldId="2134805980"/>
            <ac:spMk id="2" creationId="{E24EA311-D7B9-139D-7E4F-47399C366A91}"/>
          </ac:spMkLst>
        </pc:spChg>
        <pc:spChg chg="mod ord">
          <ac:chgData name="Jacobo de Nicolás Nuñez" userId="7c6829d1-1bf6-4417-b4a9-02cb8827630e" providerId="ADAL" clId="{857BC41E-A371-448C-9B0F-48FE52EEF25B}" dt="2025-04-22T12:45:17.421" v="7438"/>
          <ac:spMkLst>
            <pc:docMk/>
            <pc:sldMk cId="3964233397" sldId="2134805980"/>
            <ac:spMk id="9" creationId="{9994BE79-D2E0-7843-0C00-0CA2F19A5A70}"/>
          </ac:spMkLst>
        </pc:spChg>
        <pc:spChg chg="mod ord">
          <ac:chgData name="Jacobo de Nicolás Nuñez" userId="7c6829d1-1bf6-4417-b4a9-02cb8827630e" providerId="ADAL" clId="{857BC41E-A371-448C-9B0F-48FE52EEF25B}" dt="2025-04-22T12:45:17.421" v="7436"/>
          <ac:spMkLst>
            <pc:docMk/>
            <pc:sldMk cId="3964233397" sldId="2134805980"/>
            <ac:spMk id="10" creationId="{4AC399DE-D4E4-C4AF-59E7-215433152576}"/>
          </ac:spMkLst>
        </pc:spChg>
        <pc:spChg chg="mod ord">
          <ac:chgData name="Jacobo de Nicolás Nuñez" userId="7c6829d1-1bf6-4417-b4a9-02cb8827630e" providerId="ADAL" clId="{857BC41E-A371-448C-9B0F-48FE52EEF25B}" dt="2025-04-22T12:45:17.421" v="7428"/>
          <ac:spMkLst>
            <pc:docMk/>
            <pc:sldMk cId="3964233397" sldId="2134805980"/>
            <ac:spMk id="11" creationId="{98392D4A-E041-7E1F-EF3D-6CB99BC30EA3}"/>
          </ac:spMkLst>
        </pc:spChg>
        <pc:spChg chg="mod ord">
          <ac:chgData name="Jacobo de Nicolás Nuñez" userId="7c6829d1-1bf6-4417-b4a9-02cb8827630e" providerId="ADAL" clId="{857BC41E-A371-448C-9B0F-48FE52EEF25B}" dt="2025-04-22T12:45:17.421" v="7444"/>
          <ac:spMkLst>
            <pc:docMk/>
            <pc:sldMk cId="3964233397" sldId="2134805980"/>
            <ac:spMk id="13" creationId="{9FF345BE-73CA-498A-D836-41BC1A914EB8}"/>
          </ac:spMkLst>
        </pc:spChg>
        <pc:spChg chg="mod ord">
          <ac:chgData name="Jacobo de Nicolás Nuñez" userId="7c6829d1-1bf6-4417-b4a9-02cb8827630e" providerId="ADAL" clId="{857BC41E-A371-448C-9B0F-48FE52EEF25B}" dt="2025-04-22T12:45:17.421" v="7452"/>
          <ac:spMkLst>
            <pc:docMk/>
            <pc:sldMk cId="3964233397" sldId="2134805980"/>
            <ac:spMk id="14" creationId="{1D365FCA-CD1B-9B70-F8CF-510929DD1237}"/>
          </ac:spMkLst>
        </pc:spChg>
        <pc:spChg chg="mod ord">
          <ac:chgData name="Jacobo de Nicolás Nuñez" userId="7c6829d1-1bf6-4417-b4a9-02cb8827630e" providerId="ADAL" clId="{857BC41E-A371-448C-9B0F-48FE52EEF25B}" dt="2025-04-22T12:45:17.421" v="7454"/>
          <ac:spMkLst>
            <pc:docMk/>
            <pc:sldMk cId="3964233397" sldId="2134805980"/>
            <ac:spMk id="16" creationId="{F6660846-EEAB-3357-4467-D5046D08C238}"/>
          </ac:spMkLst>
        </pc:spChg>
        <pc:spChg chg="mod ord">
          <ac:chgData name="Jacobo de Nicolás Nuñez" userId="7c6829d1-1bf6-4417-b4a9-02cb8827630e" providerId="ADAL" clId="{857BC41E-A371-448C-9B0F-48FE52EEF25B}" dt="2025-04-22T12:45:17.421" v="7456"/>
          <ac:spMkLst>
            <pc:docMk/>
            <pc:sldMk cId="3964233397" sldId="2134805980"/>
            <ac:spMk id="20" creationId="{4DF470D2-A451-2DA4-C8B9-80CAD037405B}"/>
          </ac:spMkLst>
        </pc:spChg>
        <pc:spChg chg="mod ord">
          <ac:chgData name="Jacobo de Nicolás Nuñez" userId="7c6829d1-1bf6-4417-b4a9-02cb8827630e" providerId="ADAL" clId="{857BC41E-A371-448C-9B0F-48FE52EEF25B}" dt="2025-04-22T12:45:17.421" v="7458"/>
          <ac:spMkLst>
            <pc:docMk/>
            <pc:sldMk cId="3964233397" sldId="2134805980"/>
            <ac:spMk id="21" creationId="{4F0BFE79-AD9B-3204-27A2-EFA8F2511BB2}"/>
          </ac:spMkLst>
        </pc:spChg>
        <pc:spChg chg="mod ord">
          <ac:chgData name="Jacobo de Nicolás Nuñez" userId="7c6829d1-1bf6-4417-b4a9-02cb8827630e" providerId="ADAL" clId="{857BC41E-A371-448C-9B0F-48FE52EEF25B}" dt="2025-04-22T12:45:17.421" v="7460"/>
          <ac:spMkLst>
            <pc:docMk/>
            <pc:sldMk cId="3964233397" sldId="2134805980"/>
            <ac:spMk id="22" creationId="{E4EBC5F8-92D0-DC4D-4DCD-E3B6B54F6131}"/>
          </ac:spMkLst>
        </pc:spChg>
        <pc:spChg chg="mod ord">
          <ac:chgData name="Jacobo de Nicolás Nuñez" userId="7c6829d1-1bf6-4417-b4a9-02cb8827630e" providerId="ADAL" clId="{857BC41E-A371-448C-9B0F-48FE52EEF25B}" dt="2025-04-22T12:45:17.421" v="7462"/>
          <ac:spMkLst>
            <pc:docMk/>
            <pc:sldMk cId="3964233397" sldId="2134805980"/>
            <ac:spMk id="23" creationId="{65BDF182-7D91-99B2-7F58-E6DB6E153A5A}"/>
          </ac:spMkLst>
        </pc:spChg>
        <pc:spChg chg="mod ord">
          <ac:chgData name="Jacobo de Nicolás Nuñez" userId="7c6829d1-1bf6-4417-b4a9-02cb8827630e" providerId="ADAL" clId="{857BC41E-A371-448C-9B0F-48FE52EEF25B}" dt="2025-04-22T12:45:17.421" v="7464"/>
          <ac:spMkLst>
            <pc:docMk/>
            <pc:sldMk cId="3964233397" sldId="2134805980"/>
            <ac:spMk id="24" creationId="{40E8D209-84A8-7DC6-8030-1E43A5C846C9}"/>
          </ac:spMkLst>
        </pc:spChg>
        <pc:spChg chg="mod ord">
          <ac:chgData name="Jacobo de Nicolás Nuñez" userId="7c6829d1-1bf6-4417-b4a9-02cb8827630e" providerId="ADAL" clId="{857BC41E-A371-448C-9B0F-48FE52EEF25B}" dt="2025-04-22T12:45:17.421" v="7466"/>
          <ac:spMkLst>
            <pc:docMk/>
            <pc:sldMk cId="3964233397" sldId="2134805980"/>
            <ac:spMk id="25" creationId="{01DAC9CA-8E2D-A706-5416-D243E5B2B7F4}"/>
          </ac:spMkLst>
        </pc:spChg>
        <pc:spChg chg="mod ord">
          <ac:chgData name="Jacobo de Nicolás Nuñez" userId="7c6829d1-1bf6-4417-b4a9-02cb8827630e" providerId="ADAL" clId="{857BC41E-A371-448C-9B0F-48FE52EEF25B}" dt="2025-04-22T12:45:17.421" v="7468"/>
          <ac:spMkLst>
            <pc:docMk/>
            <pc:sldMk cId="3964233397" sldId="2134805980"/>
            <ac:spMk id="26" creationId="{EB592C4B-A4BC-0FA7-F9C1-B4C2390F368B}"/>
          </ac:spMkLst>
        </pc:spChg>
        <pc:spChg chg="mod ord">
          <ac:chgData name="Jacobo de Nicolás Nuñez" userId="7c6829d1-1bf6-4417-b4a9-02cb8827630e" providerId="ADAL" clId="{857BC41E-A371-448C-9B0F-48FE52EEF25B}" dt="2025-04-22T12:45:17.421" v="7470"/>
          <ac:spMkLst>
            <pc:docMk/>
            <pc:sldMk cId="3964233397" sldId="2134805980"/>
            <ac:spMk id="27" creationId="{F6033711-2BFC-C284-C58C-D52A02012F8F}"/>
          </ac:spMkLst>
        </pc:spChg>
        <pc:spChg chg="mod ord">
          <ac:chgData name="Jacobo de Nicolás Nuñez" userId="7c6829d1-1bf6-4417-b4a9-02cb8827630e" providerId="ADAL" clId="{857BC41E-A371-448C-9B0F-48FE52EEF25B}" dt="2025-04-22T12:45:17.421" v="7432"/>
          <ac:spMkLst>
            <pc:docMk/>
            <pc:sldMk cId="3964233397" sldId="2134805980"/>
            <ac:spMk id="70" creationId="{806B8040-186A-DF35-242B-F6AD41CEFC9B}"/>
          </ac:spMkLst>
        </pc:spChg>
        <pc:spChg chg="mod ord">
          <ac:chgData name="Jacobo de Nicolás Nuñez" userId="7c6829d1-1bf6-4417-b4a9-02cb8827630e" providerId="ADAL" clId="{857BC41E-A371-448C-9B0F-48FE52EEF25B}" dt="2025-04-22T12:45:17.421" v="7434"/>
          <ac:spMkLst>
            <pc:docMk/>
            <pc:sldMk cId="3964233397" sldId="2134805980"/>
            <ac:spMk id="71" creationId="{2AD15FC7-13C1-7EAF-160A-6AFB645E257B}"/>
          </ac:spMkLst>
        </pc:spChg>
        <pc:graphicFrameChg chg="mod">
          <ac:chgData name="Jacobo de Nicolás Nuñez" userId="7c6829d1-1bf6-4417-b4a9-02cb8827630e" providerId="ADAL" clId="{857BC41E-A371-448C-9B0F-48FE52EEF25B}" dt="2025-04-22T12:45:17.437" v="7472"/>
          <ac:graphicFrameMkLst>
            <pc:docMk/>
            <pc:sldMk cId="3964233397" sldId="2134805980"/>
            <ac:graphicFrameMk id="15" creationId="{5147141A-9E95-E891-688F-A6928AB4FDAA}"/>
          </ac:graphicFrameMkLst>
        </pc:graphicFrameChg>
        <pc:picChg chg="mod ord">
          <ac:chgData name="Jacobo de Nicolás Nuñez" userId="7c6829d1-1bf6-4417-b4a9-02cb8827630e" providerId="ADAL" clId="{857BC41E-A371-448C-9B0F-48FE52EEF25B}" dt="2025-04-22T12:45:17.416" v="7418"/>
          <ac:picMkLst>
            <pc:docMk/>
            <pc:sldMk cId="3964233397" sldId="2134805980"/>
            <ac:picMk id="3" creationId="{3137ACB8-AFCB-96A7-EAEC-CE5E418B1121}"/>
          </ac:picMkLst>
        </pc:picChg>
        <pc:picChg chg="mod ord">
          <ac:chgData name="Jacobo de Nicolás Nuñez" userId="7c6829d1-1bf6-4417-b4a9-02cb8827630e" providerId="ADAL" clId="{857BC41E-A371-448C-9B0F-48FE52EEF25B}" dt="2025-04-22T12:45:17.421" v="7448"/>
          <ac:picMkLst>
            <pc:docMk/>
            <pc:sldMk cId="3964233397" sldId="2134805980"/>
            <ac:picMk id="4" creationId="{472734A7-6F5B-25AF-0AB9-E2CC4B0D07CA}"/>
          </ac:picMkLst>
        </pc:picChg>
        <pc:picChg chg="add mod ord">
          <ac:chgData name="Jacobo de Nicolás Nuñez" userId="7c6829d1-1bf6-4417-b4a9-02cb8827630e" providerId="ADAL" clId="{857BC41E-A371-448C-9B0F-48FE52EEF25B}" dt="2025-04-22T12:45:17.416" v="7422"/>
          <ac:picMkLst>
            <pc:docMk/>
            <pc:sldMk cId="3964233397" sldId="2134805980"/>
            <ac:picMk id="5" creationId="{6D7F2AD4-4398-CCEA-A02E-0A54BD526649}"/>
          </ac:picMkLst>
        </pc:picChg>
        <pc:picChg chg="mod ord">
          <ac:chgData name="Jacobo de Nicolás Nuñez" userId="7c6829d1-1bf6-4417-b4a9-02cb8827630e" providerId="ADAL" clId="{857BC41E-A371-448C-9B0F-48FE52EEF25B}" dt="2025-04-22T12:45:17.421" v="7440"/>
          <ac:picMkLst>
            <pc:docMk/>
            <pc:sldMk cId="3964233397" sldId="2134805980"/>
            <ac:picMk id="6" creationId="{1CB1D092-4F50-3019-62FF-0E9523CF3624}"/>
          </ac:picMkLst>
        </pc:picChg>
        <pc:picChg chg="mod ord">
          <ac:chgData name="Jacobo de Nicolás Nuñez" userId="7c6829d1-1bf6-4417-b4a9-02cb8827630e" providerId="ADAL" clId="{857BC41E-A371-448C-9B0F-48FE52EEF25B}" dt="2025-04-22T12:45:17.421" v="7442"/>
          <ac:picMkLst>
            <pc:docMk/>
            <pc:sldMk cId="3964233397" sldId="2134805980"/>
            <ac:picMk id="7" creationId="{A6CFB719-0CDA-E2A9-9192-9A2C474396B8}"/>
          </ac:picMkLst>
        </pc:picChg>
        <pc:picChg chg="mod ord">
          <ac:chgData name="Jacobo de Nicolás Nuñez" userId="7c6829d1-1bf6-4417-b4a9-02cb8827630e" providerId="ADAL" clId="{857BC41E-A371-448C-9B0F-48FE52EEF25B}" dt="2025-04-22T12:45:17.421" v="7450"/>
          <ac:picMkLst>
            <pc:docMk/>
            <pc:sldMk cId="3964233397" sldId="2134805980"/>
            <ac:picMk id="8" creationId="{D24A2E13-C904-2D8B-C6F8-E32B51407BA9}"/>
          </ac:picMkLst>
        </pc:picChg>
        <pc:picChg chg="mod ord">
          <ac:chgData name="Jacobo de Nicolás Nuñez" userId="7c6829d1-1bf6-4417-b4a9-02cb8827630e" providerId="ADAL" clId="{857BC41E-A371-448C-9B0F-48FE52EEF25B}" dt="2025-04-22T12:45:17.416" v="7426"/>
          <ac:picMkLst>
            <pc:docMk/>
            <pc:sldMk cId="3964233397" sldId="2134805980"/>
            <ac:picMk id="12" creationId="{7A1A54B8-522D-853D-AE63-188317BAAAC0}"/>
          </ac:picMkLst>
        </pc:picChg>
        <pc:picChg chg="mod ord">
          <ac:chgData name="Jacobo de Nicolás Nuñez" userId="7c6829d1-1bf6-4417-b4a9-02cb8827630e" providerId="ADAL" clId="{857BC41E-A371-448C-9B0F-48FE52EEF25B}" dt="2025-04-22T12:45:17.416" v="7424"/>
          <ac:picMkLst>
            <pc:docMk/>
            <pc:sldMk cId="3964233397" sldId="2134805980"/>
            <ac:picMk id="19" creationId="{606E8792-80F5-A2D3-A83D-B69388822E41}"/>
          </ac:picMkLst>
        </pc:picChg>
        <pc:picChg chg="add mod ord">
          <ac:chgData name="Jacobo de Nicolás Nuñez" userId="7c6829d1-1bf6-4417-b4a9-02cb8827630e" providerId="ADAL" clId="{857BC41E-A371-448C-9B0F-48FE52EEF25B}" dt="2025-04-22T12:45:23.936" v="7474" actId="1076"/>
          <ac:picMkLst>
            <pc:docMk/>
            <pc:sldMk cId="3964233397" sldId="2134805980"/>
            <ac:picMk id="28" creationId="{D19729DD-FF3E-A63C-5282-984D56D9227E}"/>
          </ac:picMkLst>
        </pc:picChg>
        <pc:picChg chg="mod ord">
          <ac:chgData name="Jacobo de Nicolás Nuñez" userId="7c6829d1-1bf6-4417-b4a9-02cb8827630e" providerId="ADAL" clId="{857BC41E-A371-448C-9B0F-48FE52EEF25B}" dt="2025-04-22T12:45:17.421" v="7430"/>
          <ac:picMkLst>
            <pc:docMk/>
            <pc:sldMk cId="3964233397" sldId="2134805980"/>
            <ac:picMk id="30" creationId="{211331C7-4C8E-EC6B-9499-336BED4FA3C0}"/>
          </ac:picMkLst>
        </pc:picChg>
      </pc:sldChg>
      <pc:sldChg chg="addSp delSp modSp mod">
        <pc:chgData name="Jacobo de Nicolás Nuñez" userId="7c6829d1-1bf6-4417-b4a9-02cb8827630e" providerId="ADAL" clId="{857BC41E-A371-448C-9B0F-48FE52EEF25B}" dt="2025-04-17T08:10:19.422" v="6515" actId="1076"/>
        <pc:sldMkLst>
          <pc:docMk/>
          <pc:sldMk cId="1458180138" sldId="2134805982"/>
        </pc:sldMkLst>
        <pc:spChg chg="mod ord">
          <ac:chgData name="Jacobo de Nicolás Nuñez" userId="7c6829d1-1bf6-4417-b4a9-02cb8827630e" providerId="ADAL" clId="{857BC41E-A371-448C-9B0F-48FE52EEF25B}" dt="2025-04-15T13:00:54.027" v="3288"/>
          <ac:spMkLst>
            <pc:docMk/>
            <pc:sldMk cId="1458180138" sldId="2134805982"/>
            <ac:spMk id="3" creationId="{9EEF4770-6090-11EC-020F-92EEA6F6DD0A}"/>
          </ac:spMkLst>
        </pc:spChg>
        <pc:spChg chg="mod ord">
          <ac:chgData name="Jacobo de Nicolás Nuñez" userId="7c6829d1-1bf6-4417-b4a9-02cb8827630e" providerId="ADAL" clId="{857BC41E-A371-448C-9B0F-48FE52EEF25B}" dt="2025-04-15T13:00:54.027" v="3286"/>
          <ac:spMkLst>
            <pc:docMk/>
            <pc:sldMk cId="1458180138" sldId="2134805982"/>
            <ac:spMk id="4" creationId="{99565CD3-07FF-1C05-93AC-4541A6CDBDB1}"/>
          </ac:spMkLst>
        </pc:spChg>
        <pc:spChg chg="mod ord">
          <ac:chgData name="Jacobo de Nicolás Nuñez" userId="7c6829d1-1bf6-4417-b4a9-02cb8827630e" providerId="ADAL" clId="{857BC41E-A371-448C-9B0F-48FE52EEF25B}" dt="2025-04-15T13:00:54.027" v="3290"/>
          <ac:spMkLst>
            <pc:docMk/>
            <pc:sldMk cId="1458180138" sldId="2134805982"/>
            <ac:spMk id="5" creationId="{E6A5A5C3-69C3-A2DD-B0E4-390820419793}"/>
          </ac:spMkLst>
        </pc:spChg>
        <pc:spChg chg="mod ord">
          <ac:chgData name="Jacobo de Nicolás Nuñez" userId="7c6829d1-1bf6-4417-b4a9-02cb8827630e" providerId="ADAL" clId="{857BC41E-A371-448C-9B0F-48FE52EEF25B}" dt="2025-04-15T13:00:54.027" v="3292"/>
          <ac:spMkLst>
            <pc:docMk/>
            <pc:sldMk cId="1458180138" sldId="2134805982"/>
            <ac:spMk id="6" creationId="{5734371D-B4A8-54D6-E0A0-F87AC2571B50}"/>
          </ac:spMkLst>
        </pc:spChg>
        <pc:spChg chg="mod ord">
          <ac:chgData name="Jacobo de Nicolás Nuñez" userId="7c6829d1-1bf6-4417-b4a9-02cb8827630e" providerId="ADAL" clId="{857BC41E-A371-448C-9B0F-48FE52EEF25B}" dt="2025-04-15T13:00:54.027" v="3284"/>
          <ac:spMkLst>
            <pc:docMk/>
            <pc:sldMk cId="1458180138" sldId="2134805982"/>
            <ac:spMk id="8" creationId="{B4ECB390-398C-CD36-5996-F412134D736D}"/>
          </ac:spMkLst>
        </pc:spChg>
        <pc:spChg chg="mod ord">
          <ac:chgData name="Jacobo de Nicolás Nuñez" userId="7c6829d1-1bf6-4417-b4a9-02cb8827630e" providerId="ADAL" clId="{857BC41E-A371-448C-9B0F-48FE52EEF25B}" dt="2025-04-15T13:00:54.027" v="3282"/>
          <ac:spMkLst>
            <pc:docMk/>
            <pc:sldMk cId="1458180138" sldId="2134805982"/>
            <ac:spMk id="70" creationId="{806B8040-186A-DF35-242B-F6AD41CEFC9B}"/>
          </ac:spMkLst>
        </pc:spChg>
        <pc:graphicFrameChg chg="mod">
          <ac:chgData name="Jacobo de Nicolás Nuñez" userId="7c6829d1-1bf6-4417-b4a9-02cb8827630e" providerId="ADAL" clId="{857BC41E-A371-448C-9B0F-48FE52EEF25B}" dt="2025-04-15T13:00:54.027" v="3294"/>
          <ac:graphicFrameMkLst>
            <pc:docMk/>
            <pc:sldMk cId="1458180138" sldId="2134805982"/>
            <ac:graphicFrameMk id="9" creationId="{3BB54D1D-FB2A-4811-9981-2F6D6CFC7D3F}"/>
          </ac:graphicFrameMkLst>
        </pc:graphicFrameChg>
        <pc:picChg chg="mod ord">
          <ac:chgData name="Jacobo de Nicolás Nuñez" userId="7c6829d1-1bf6-4417-b4a9-02cb8827630e" providerId="ADAL" clId="{857BC41E-A371-448C-9B0F-48FE52EEF25B}" dt="2025-04-17T08:10:15.594" v="6514" actId="14100"/>
          <ac:picMkLst>
            <pc:docMk/>
            <pc:sldMk cId="1458180138" sldId="2134805982"/>
            <ac:picMk id="7" creationId="{1229F743-E930-98AE-7AB7-AB6FC5F9B213}"/>
          </ac:picMkLst>
        </pc:picChg>
        <pc:picChg chg="add mod ord">
          <ac:chgData name="Jacobo de Nicolás Nuñez" userId="7c6829d1-1bf6-4417-b4a9-02cb8827630e" providerId="ADAL" clId="{857BC41E-A371-448C-9B0F-48FE52EEF25B}" dt="2025-04-17T08:10:19.422" v="6515" actId="1076"/>
          <ac:picMkLst>
            <pc:docMk/>
            <pc:sldMk cId="1458180138" sldId="2134805982"/>
            <ac:picMk id="10" creationId="{BE8D4C36-F0EA-1132-692C-7944C8810469}"/>
          </ac:picMkLst>
        </pc:picChg>
      </pc:sldChg>
      <pc:sldChg chg="addSp delSp modSp mod">
        <pc:chgData name="Jacobo de Nicolás Nuñez" userId="7c6829d1-1bf6-4417-b4a9-02cb8827630e" providerId="ADAL" clId="{857BC41E-A371-448C-9B0F-48FE52EEF25B}" dt="2025-04-22T14:29:33.399" v="8554" actId="14826"/>
        <pc:sldMkLst>
          <pc:docMk/>
          <pc:sldMk cId="354827328" sldId="2134805984"/>
        </pc:sldMkLst>
        <pc:spChg chg="mod ord">
          <ac:chgData name="Jacobo de Nicolás Nuñez" userId="7c6829d1-1bf6-4417-b4a9-02cb8827630e" providerId="ADAL" clId="{857BC41E-A371-448C-9B0F-48FE52EEF25B}" dt="2025-04-15T13:06:11.069" v="3472"/>
          <ac:spMkLst>
            <pc:docMk/>
            <pc:sldMk cId="354827328" sldId="2134805984"/>
            <ac:spMk id="2" creationId="{7BC489BD-ED7F-5DED-BE17-D44794E4F943}"/>
          </ac:spMkLst>
        </pc:spChg>
        <pc:spChg chg="mod ord">
          <ac:chgData name="Jacobo de Nicolás Nuñez" userId="7c6829d1-1bf6-4417-b4a9-02cb8827630e" providerId="ADAL" clId="{857BC41E-A371-448C-9B0F-48FE52EEF25B}" dt="2025-04-15T13:06:11.069" v="3466"/>
          <ac:spMkLst>
            <pc:docMk/>
            <pc:sldMk cId="354827328" sldId="2134805984"/>
            <ac:spMk id="7" creationId="{0D31998C-DC92-0406-77F5-0DD01E540F7B}"/>
          </ac:spMkLst>
        </pc:spChg>
        <pc:spChg chg="mod ord">
          <ac:chgData name="Jacobo de Nicolás Nuñez" userId="7c6829d1-1bf6-4417-b4a9-02cb8827630e" providerId="ADAL" clId="{857BC41E-A371-448C-9B0F-48FE52EEF25B}" dt="2025-04-15T13:06:11.069" v="3458"/>
          <ac:spMkLst>
            <pc:docMk/>
            <pc:sldMk cId="354827328" sldId="2134805984"/>
            <ac:spMk id="9" creationId="{F70E7C81-6952-E07F-5AAA-E349B3C64A35}"/>
          </ac:spMkLst>
        </pc:spChg>
        <pc:spChg chg="mod ord">
          <ac:chgData name="Jacobo de Nicolás Nuñez" userId="7c6829d1-1bf6-4417-b4a9-02cb8827630e" providerId="ADAL" clId="{857BC41E-A371-448C-9B0F-48FE52EEF25B}" dt="2025-04-15T13:06:11.085" v="3492"/>
          <ac:spMkLst>
            <pc:docMk/>
            <pc:sldMk cId="354827328" sldId="2134805984"/>
            <ac:spMk id="13" creationId="{B67E44BC-92C6-34B9-3B55-554AF7A43599}"/>
          </ac:spMkLst>
        </pc:spChg>
        <pc:spChg chg="mod ord">
          <ac:chgData name="Jacobo de Nicolás Nuñez" userId="7c6829d1-1bf6-4417-b4a9-02cb8827630e" providerId="ADAL" clId="{857BC41E-A371-448C-9B0F-48FE52EEF25B}" dt="2025-04-15T13:06:11.069" v="3474"/>
          <ac:spMkLst>
            <pc:docMk/>
            <pc:sldMk cId="354827328" sldId="2134805984"/>
            <ac:spMk id="17" creationId="{F6D2460D-3CE2-9581-9FC8-5539AB0DDE3F}"/>
          </ac:spMkLst>
        </pc:spChg>
        <pc:spChg chg="mod ord">
          <ac:chgData name="Jacobo de Nicolás Nuñez" userId="7c6829d1-1bf6-4417-b4a9-02cb8827630e" providerId="ADAL" clId="{857BC41E-A371-448C-9B0F-48FE52EEF25B}" dt="2025-04-15T13:06:11.085" v="3494"/>
          <ac:spMkLst>
            <pc:docMk/>
            <pc:sldMk cId="354827328" sldId="2134805984"/>
            <ac:spMk id="21" creationId="{A4109A99-3DF5-BBEC-80D4-177B23F5149D}"/>
          </ac:spMkLst>
        </pc:spChg>
        <pc:spChg chg="mod ord">
          <ac:chgData name="Jacobo de Nicolás Nuñez" userId="7c6829d1-1bf6-4417-b4a9-02cb8827630e" providerId="ADAL" clId="{857BC41E-A371-448C-9B0F-48FE52EEF25B}" dt="2025-04-15T13:06:11.085" v="3496"/>
          <ac:spMkLst>
            <pc:docMk/>
            <pc:sldMk cId="354827328" sldId="2134805984"/>
            <ac:spMk id="22" creationId="{84494840-72FC-9C35-655F-46D422699640}"/>
          </ac:spMkLst>
        </pc:spChg>
        <pc:spChg chg="mod ord">
          <ac:chgData name="Jacobo de Nicolás Nuñez" userId="7c6829d1-1bf6-4417-b4a9-02cb8827630e" providerId="ADAL" clId="{857BC41E-A371-448C-9B0F-48FE52EEF25B}" dt="2025-04-15T13:06:11.069" v="3476"/>
          <ac:spMkLst>
            <pc:docMk/>
            <pc:sldMk cId="354827328" sldId="2134805984"/>
            <ac:spMk id="24" creationId="{097F7A72-5456-1522-C0EE-3AF905EE2CBC}"/>
          </ac:spMkLst>
        </pc:spChg>
        <pc:spChg chg="mod ord">
          <ac:chgData name="Jacobo de Nicolás Nuñez" userId="7c6829d1-1bf6-4417-b4a9-02cb8827630e" providerId="ADAL" clId="{857BC41E-A371-448C-9B0F-48FE52EEF25B}" dt="2025-04-15T13:06:11.069" v="3478"/>
          <ac:spMkLst>
            <pc:docMk/>
            <pc:sldMk cId="354827328" sldId="2134805984"/>
            <ac:spMk id="26" creationId="{8BA1DFF2-9503-F17C-F473-A9A12C42E392}"/>
          </ac:spMkLst>
        </pc:spChg>
        <pc:spChg chg="mod ord">
          <ac:chgData name="Jacobo de Nicolás Nuñez" userId="7c6829d1-1bf6-4417-b4a9-02cb8827630e" providerId="ADAL" clId="{857BC41E-A371-448C-9B0F-48FE52EEF25B}" dt="2025-04-15T13:06:11.069" v="3480"/>
          <ac:spMkLst>
            <pc:docMk/>
            <pc:sldMk cId="354827328" sldId="2134805984"/>
            <ac:spMk id="36" creationId="{F1AC1BB2-BE4A-9637-CB43-34ABC6BA0935}"/>
          </ac:spMkLst>
        </pc:spChg>
        <pc:spChg chg="mod ord">
          <ac:chgData name="Jacobo de Nicolás Nuñez" userId="7c6829d1-1bf6-4417-b4a9-02cb8827630e" providerId="ADAL" clId="{857BC41E-A371-448C-9B0F-48FE52EEF25B}" dt="2025-04-15T13:06:11.069" v="3482"/>
          <ac:spMkLst>
            <pc:docMk/>
            <pc:sldMk cId="354827328" sldId="2134805984"/>
            <ac:spMk id="38" creationId="{3AC90061-CF17-0D05-3FB4-841AC159D12B}"/>
          </ac:spMkLst>
        </pc:spChg>
        <pc:spChg chg="mod ord">
          <ac:chgData name="Jacobo de Nicolás Nuñez" userId="7c6829d1-1bf6-4417-b4a9-02cb8827630e" providerId="ADAL" clId="{857BC41E-A371-448C-9B0F-48FE52EEF25B}" dt="2025-04-15T13:06:11.069" v="3484"/>
          <ac:spMkLst>
            <pc:docMk/>
            <pc:sldMk cId="354827328" sldId="2134805984"/>
            <ac:spMk id="39" creationId="{BCBEF0D3-634E-6008-3BAC-A8A202608AF7}"/>
          </ac:spMkLst>
        </pc:spChg>
        <pc:spChg chg="mod ord">
          <ac:chgData name="Jacobo de Nicolás Nuñez" userId="7c6829d1-1bf6-4417-b4a9-02cb8827630e" providerId="ADAL" clId="{857BC41E-A371-448C-9B0F-48FE52EEF25B}" dt="2025-04-15T13:06:11.085" v="3500"/>
          <ac:spMkLst>
            <pc:docMk/>
            <pc:sldMk cId="354827328" sldId="2134805984"/>
            <ac:spMk id="44" creationId="{3114A9B9-4934-AA06-7FB3-2B77A212DAA8}"/>
          </ac:spMkLst>
        </pc:spChg>
        <pc:spChg chg="mod ord">
          <ac:chgData name="Jacobo de Nicolás Nuñez" userId="7c6829d1-1bf6-4417-b4a9-02cb8827630e" providerId="ADAL" clId="{857BC41E-A371-448C-9B0F-48FE52EEF25B}" dt="2025-04-15T13:06:11.085" v="3502"/>
          <ac:spMkLst>
            <pc:docMk/>
            <pc:sldMk cId="354827328" sldId="2134805984"/>
            <ac:spMk id="45" creationId="{6269A539-03A8-C3C5-5DFD-F5DE630F62A4}"/>
          </ac:spMkLst>
        </pc:spChg>
        <pc:spChg chg="mod ord">
          <ac:chgData name="Jacobo de Nicolás Nuñez" userId="7c6829d1-1bf6-4417-b4a9-02cb8827630e" providerId="ADAL" clId="{857BC41E-A371-448C-9B0F-48FE52EEF25B}" dt="2025-04-15T13:06:11.085" v="3504"/>
          <ac:spMkLst>
            <pc:docMk/>
            <pc:sldMk cId="354827328" sldId="2134805984"/>
            <ac:spMk id="46" creationId="{F24C2B0A-6E39-AC0F-E123-8033526CA30B}"/>
          </ac:spMkLst>
        </pc:spChg>
        <pc:spChg chg="mod ord">
          <ac:chgData name="Jacobo de Nicolás Nuñez" userId="7c6829d1-1bf6-4417-b4a9-02cb8827630e" providerId="ADAL" clId="{857BC41E-A371-448C-9B0F-48FE52EEF25B}" dt="2025-04-15T13:06:11.085" v="3506"/>
          <ac:spMkLst>
            <pc:docMk/>
            <pc:sldMk cId="354827328" sldId="2134805984"/>
            <ac:spMk id="47" creationId="{F1C0BB41-2D13-3C6A-F3E4-8A16E4E1750E}"/>
          </ac:spMkLst>
        </pc:spChg>
        <pc:spChg chg="mod ord">
          <ac:chgData name="Jacobo de Nicolás Nuñez" userId="7c6829d1-1bf6-4417-b4a9-02cb8827630e" providerId="ADAL" clId="{857BC41E-A371-448C-9B0F-48FE52EEF25B}" dt="2025-04-15T13:06:11.085" v="3508"/>
          <ac:spMkLst>
            <pc:docMk/>
            <pc:sldMk cId="354827328" sldId="2134805984"/>
            <ac:spMk id="48" creationId="{7ECA60CD-C43D-2787-13DE-2F3575328CD3}"/>
          </ac:spMkLst>
        </pc:spChg>
        <pc:spChg chg="mod ord">
          <ac:chgData name="Jacobo de Nicolás Nuñez" userId="7c6829d1-1bf6-4417-b4a9-02cb8827630e" providerId="ADAL" clId="{857BC41E-A371-448C-9B0F-48FE52EEF25B}" dt="2025-04-15T13:06:11.085" v="3510"/>
          <ac:spMkLst>
            <pc:docMk/>
            <pc:sldMk cId="354827328" sldId="2134805984"/>
            <ac:spMk id="49" creationId="{5B6C761F-004A-3C52-1C17-D167B51F1A6B}"/>
          </ac:spMkLst>
        </pc:spChg>
        <pc:spChg chg="mod ord">
          <ac:chgData name="Jacobo de Nicolás Nuñez" userId="7c6829d1-1bf6-4417-b4a9-02cb8827630e" providerId="ADAL" clId="{857BC41E-A371-448C-9B0F-48FE52EEF25B}" dt="2025-04-15T13:06:11.069" v="3452"/>
          <ac:spMkLst>
            <pc:docMk/>
            <pc:sldMk cId="354827328" sldId="2134805984"/>
            <ac:spMk id="50" creationId="{838E391A-26A0-7297-0220-4FDDDA2FE4DA}"/>
          </ac:spMkLst>
        </pc:spChg>
        <pc:spChg chg="mod ord">
          <ac:chgData name="Jacobo de Nicolás Nuñez" userId="7c6829d1-1bf6-4417-b4a9-02cb8827630e" providerId="ADAL" clId="{857BC41E-A371-448C-9B0F-48FE52EEF25B}" dt="2025-04-15T13:06:11.069" v="3456"/>
          <ac:spMkLst>
            <pc:docMk/>
            <pc:sldMk cId="354827328" sldId="2134805984"/>
            <ac:spMk id="70" creationId="{806B8040-186A-DF35-242B-F6AD41CEFC9B}"/>
          </ac:spMkLst>
        </pc:spChg>
        <pc:graphicFrameChg chg="add mod ord modVis">
          <ac:chgData name="Jacobo de Nicolás Nuñez" userId="7c6829d1-1bf6-4417-b4a9-02cb8827630e" providerId="ADAL" clId="{857BC41E-A371-448C-9B0F-48FE52EEF25B}" dt="2025-04-15T13:06:11.151" v="3524"/>
          <ac:graphicFrameMkLst>
            <pc:docMk/>
            <pc:sldMk cId="354827328" sldId="2134805984"/>
            <ac:graphicFrameMk id="5" creationId="{91382F62-8801-0825-8C53-F0CBBC25215D}"/>
          </ac:graphicFrameMkLst>
        </pc:graphicFrameChg>
        <pc:picChg chg="mod ord">
          <ac:chgData name="Jacobo de Nicolás Nuñez" userId="7c6829d1-1bf6-4417-b4a9-02cb8827630e" providerId="ADAL" clId="{857BC41E-A371-448C-9B0F-48FE52EEF25B}" dt="2025-04-22T14:29:21.624" v="8553" actId="14826"/>
          <ac:picMkLst>
            <pc:docMk/>
            <pc:sldMk cId="354827328" sldId="2134805984"/>
            <ac:picMk id="3" creationId="{CA2B1D0F-4C70-65B4-5A0A-DA2A86D7ABF2}"/>
          </ac:picMkLst>
        </pc:picChg>
        <pc:picChg chg="add mod ord">
          <ac:chgData name="Jacobo de Nicolás Nuñez" userId="7c6829d1-1bf6-4417-b4a9-02cb8827630e" providerId="ADAL" clId="{857BC41E-A371-448C-9B0F-48FE52EEF25B}" dt="2025-04-15T13:06:11.069" v="3450"/>
          <ac:picMkLst>
            <pc:docMk/>
            <pc:sldMk cId="354827328" sldId="2134805984"/>
            <ac:picMk id="4" creationId="{B97CD68C-66D9-4801-DEED-0743BE27B8B4}"/>
          </ac:picMkLst>
        </pc:picChg>
        <pc:picChg chg="add mod">
          <ac:chgData name="Jacobo de Nicolás Nuñez" userId="7c6829d1-1bf6-4417-b4a9-02cb8827630e" providerId="ADAL" clId="{857BC41E-A371-448C-9B0F-48FE52EEF25B}" dt="2025-04-15T13:06:31.655" v="3532" actId="1076"/>
          <ac:picMkLst>
            <pc:docMk/>
            <pc:sldMk cId="354827328" sldId="2134805984"/>
            <ac:picMk id="6" creationId="{9353C446-AB1C-7567-EB32-1DB3C9E5E623}"/>
          </ac:picMkLst>
        </pc:picChg>
        <pc:picChg chg="mod ord">
          <ac:chgData name="Jacobo de Nicolás Nuñez" userId="7c6829d1-1bf6-4417-b4a9-02cb8827630e" providerId="ADAL" clId="{857BC41E-A371-448C-9B0F-48FE52EEF25B}" dt="2025-04-22T14:29:12.644" v="8552" actId="14826"/>
          <ac:picMkLst>
            <pc:docMk/>
            <pc:sldMk cId="354827328" sldId="2134805984"/>
            <ac:picMk id="8" creationId="{AFB3065D-4CF3-E1F2-085F-47C7D15160E3}"/>
          </ac:picMkLst>
        </pc:picChg>
        <pc:picChg chg="mod ord">
          <ac:chgData name="Jacobo de Nicolás Nuñez" userId="7c6829d1-1bf6-4417-b4a9-02cb8827630e" providerId="ADAL" clId="{857BC41E-A371-448C-9B0F-48FE52EEF25B}" dt="2025-04-22T14:29:33.399" v="8554" actId="14826"/>
          <ac:picMkLst>
            <pc:docMk/>
            <pc:sldMk cId="354827328" sldId="2134805984"/>
            <ac:picMk id="11" creationId="{9843FAF0-6F54-FF5A-8F6E-A5310043817F}"/>
          </ac:picMkLst>
        </pc:picChg>
        <pc:picChg chg="mod ord">
          <ac:chgData name="Jacobo de Nicolás Nuñez" userId="7c6829d1-1bf6-4417-b4a9-02cb8827630e" providerId="ADAL" clId="{857BC41E-A371-448C-9B0F-48FE52EEF25B}" dt="2025-04-22T13:36:23.349" v="8193" actId="14826"/>
          <ac:picMkLst>
            <pc:docMk/>
            <pc:sldMk cId="354827328" sldId="2134805984"/>
            <ac:picMk id="14" creationId="{A4A5D284-9635-84B5-6A5D-BFFA64BB6A4A}"/>
          </ac:picMkLst>
        </pc:picChg>
        <pc:picChg chg="mod ord">
          <ac:chgData name="Jacobo de Nicolás Nuñez" userId="7c6829d1-1bf6-4417-b4a9-02cb8827630e" providerId="ADAL" clId="{857BC41E-A371-448C-9B0F-48FE52EEF25B}" dt="2025-04-22T13:36:39.005" v="8195" actId="14826"/>
          <ac:picMkLst>
            <pc:docMk/>
            <pc:sldMk cId="354827328" sldId="2134805984"/>
            <ac:picMk id="15" creationId="{37F3A418-16F8-6F69-9AFB-1F7A35B9BE84}"/>
          </ac:picMkLst>
        </pc:picChg>
        <pc:picChg chg="mod ord">
          <ac:chgData name="Jacobo de Nicolás Nuñez" userId="7c6829d1-1bf6-4417-b4a9-02cb8827630e" providerId="ADAL" clId="{857BC41E-A371-448C-9B0F-48FE52EEF25B}" dt="2025-04-22T13:36:30.337" v="8194" actId="14826"/>
          <ac:picMkLst>
            <pc:docMk/>
            <pc:sldMk cId="354827328" sldId="2134805984"/>
            <ac:picMk id="16" creationId="{3F1B3581-866C-2C4E-6337-01037DDD0DE5}"/>
          </ac:picMkLst>
        </pc:picChg>
        <pc:picChg chg="mod ord">
          <ac:chgData name="Jacobo de Nicolás Nuñez" userId="7c6829d1-1bf6-4417-b4a9-02cb8827630e" providerId="ADAL" clId="{857BC41E-A371-448C-9B0F-48FE52EEF25B}" dt="2025-04-22T13:36:50.050" v="8196" actId="14826"/>
          <ac:picMkLst>
            <pc:docMk/>
            <pc:sldMk cId="354827328" sldId="2134805984"/>
            <ac:picMk id="27" creationId="{FF5144E5-CC31-77FB-ECD4-F2B68D1ECCCB}"/>
          </ac:picMkLst>
        </pc:picChg>
        <pc:picChg chg="mod ord">
          <ac:chgData name="Jacobo de Nicolás Nuñez" userId="7c6829d1-1bf6-4417-b4a9-02cb8827630e" providerId="ADAL" clId="{857BC41E-A371-448C-9B0F-48FE52EEF25B}" dt="2025-04-22T13:36:58.819" v="8197" actId="14826"/>
          <ac:picMkLst>
            <pc:docMk/>
            <pc:sldMk cId="354827328" sldId="2134805984"/>
            <ac:picMk id="34" creationId="{9C36B4A5-7F54-2A00-C873-1B97D4795A38}"/>
          </ac:picMkLst>
        </pc:picChg>
        <pc:picChg chg="mod ord">
          <ac:chgData name="Jacobo de Nicolás Nuñez" userId="7c6829d1-1bf6-4417-b4a9-02cb8827630e" providerId="ADAL" clId="{857BC41E-A371-448C-9B0F-48FE52EEF25B}" dt="2025-04-22T13:37:08.854" v="8198" actId="14826"/>
          <ac:picMkLst>
            <pc:docMk/>
            <pc:sldMk cId="354827328" sldId="2134805984"/>
            <ac:picMk id="37" creationId="{F9FB5CB6-6EE2-CF7D-F0EB-99D72FB0B68C}"/>
          </ac:picMkLst>
        </pc:picChg>
      </pc:sldChg>
      <pc:sldChg chg="addSp delSp modSp mod">
        <pc:chgData name="Jacobo de Nicolás Nuñez" userId="7c6829d1-1bf6-4417-b4a9-02cb8827630e" providerId="ADAL" clId="{857BC41E-A371-448C-9B0F-48FE52EEF25B}" dt="2025-04-22T13:30:15.749" v="8168" actId="12788"/>
        <pc:sldMkLst>
          <pc:docMk/>
          <pc:sldMk cId="1879302680" sldId="2134805986"/>
        </pc:sldMkLst>
        <pc:spChg chg="mod ord">
          <ac:chgData name="Jacobo de Nicolás Nuñez" userId="7c6829d1-1bf6-4417-b4a9-02cb8827630e" providerId="ADAL" clId="{857BC41E-A371-448C-9B0F-48FE52EEF25B}" dt="2025-04-16T09:46:10.656" v="5506"/>
          <ac:spMkLst>
            <pc:docMk/>
            <pc:sldMk cId="1879302680" sldId="2134805986"/>
            <ac:spMk id="2" creationId="{A6B014FC-FD10-88A9-7428-603F998F95B7}"/>
          </ac:spMkLst>
        </pc:spChg>
        <pc:spChg chg="mod ord">
          <ac:chgData name="Jacobo de Nicolás Nuñez" userId="7c6829d1-1bf6-4417-b4a9-02cb8827630e" providerId="ADAL" clId="{857BC41E-A371-448C-9B0F-48FE52EEF25B}" dt="2025-04-16T09:46:10.671" v="5540"/>
          <ac:spMkLst>
            <pc:docMk/>
            <pc:sldMk cId="1879302680" sldId="2134805986"/>
            <ac:spMk id="3" creationId="{0B68372C-7D6F-2AE6-5971-771E63A1678E}"/>
          </ac:spMkLst>
        </pc:spChg>
        <pc:spChg chg="mod ord">
          <ac:chgData name="Jacobo de Nicolás Nuñez" userId="7c6829d1-1bf6-4417-b4a9-02cb8827630e" providerId="ADAL" clId="{857BC41E-A371-448C-9B0F-48FE52EEF25B}" dt="2025-04-16T09:46:10.640" v="5490"/>
          <ac:spMkLst>
            <pc:docMk/>
            <pc:sldMk cId="1879302680" sldId="2134805986"/>
            <ac:spMk id="6" creationId="{71DD7162-8BE6-D95D-E3F5-B36021300E3A}"/>
          </ac:spMkLst>
        </pc:spChg>
        <pc:spChg chg="mod ord">
          <ac:chgData name="Jacobo de Nicolás Nuñez" userId="7c6829d1-1bf6-4417-b4a9-02cb8827630e" providerId="ADAL" clId="{857BC41E-A371-448C-9B0F-48FE52EEF25B}" dt="2025-04-16T09:46:10.656" v="5508"/>
          <ac:spMkLst>
            <pc:docMk/>
            <pc:sldMk cId="1879302680" sldId="2134805986"/>
            <ac:spMk id="9" creationId="{C317207E-2CBC-4A93-15D1-17EFE729C910}"/>
          </ac:spMkLst>
        </pc:spChg>
        <pc:spChg chg="mod ord">
          <ac:chgData name="Jacobo de Nicolás Nuñez" userId="7c6829d1-1bf6-4417-b4a9-02cb8827630e" providerId="ADAL" clId="{857BC41E-A371-448C-9B0F-48FE52EEF25B}" dt="2025-04-16T09:46:10.640" v="5488"/>
          <ac:spMkLst>
            <pc:docMk/>
            <pc:sldMk cId="1879302680" sldId="2134805986"/>
            <ac:spMk id="10" creationId="{4AC399DE-D4E4-C4AF-59E7-215433152576}"/>
          </ac:spMkLst>
        </pc:spChg>
        <pc:spChg chg="mod ord">
          <ac:chgData name="Jacobo de Nicolás Nuñez" userId="7c6829d1-1bf6-4417-b4a9-02cb8827630e" providerId="ADAL" clId="{857BC41E-A371-448C-9B0F-48FE52EEF25B}" dt="2025-04-16T09:46:10.656" v="5510"/>
          <ac:spMkLst>
            <pc:docMk/>
            <pc:sldMk cId="1879302680" sldId="2134805986"/>
            <ac:spMk id="11" creationId="{04151D3F-A2E6-68DC-B8A9-894F6C71C661}"/>
          </ac:spMkLst>
        </pc:spChg>
        <pc:spChg chg="mod ord">
          <ac:chgData name="Jacobo de Nicolás Nuñez" userId="7c6829d1-1bf6-4417-b4a9-02cb8827630e" providerId="ADAL" clId="{857BC41E-A371-448C-9B0F-48FE52EEF25B}" dt="2025-04-16T09:46:10.656" v="5512"/>
          <ac:spMkLst>
            <pc:docMk/>
            <pc:sldMk cId="1879302680" sldId="2134805986"/>
            <ac:spMk id="12" creationId="{E7FD11EA-2C37-D202-20A8-D41CCD704B2F}"/>
          </ac:spMkLst>
        </pc:spChg>
        <pc:spChg chg="mod ord">
          <ac:chgData name="Jacobo de Nicolás Nuñez" userId="7c6829d1-1bf6-4417-b4a9-02cb8827630e" providerId="ADAL" clId="{857BC41E-A371-448C-9B0F-48FE52EEF25B}" dt="2025-04-16T09:46:10.656" v="5514"/>
          <ac:spMkLst>
            <pc:docMk/>
            <pc:sldMk cId="1879302680" sldId="2134805986"/>
            <ac:spMk id="13" creationId="{BE0D0205-C60E-336C-C3A0-D6538F44BAEB}"/>
          </ac:spMkLst>
        </pc:spChg>
        <pc:spChg chg="mod ord">
          <ac:chgData name="Jacobo de Nicolás Nuñez" userId="7c6829d1-1bf6-4417-b4a9-02cb8827630e" providerId="ADAL" clId="{857BC41E-A371-448C-9B0F-48FE52EEF25B}" dt="2025-04-16T09:46:10.656" v="5516"/>
          <ac:spMkLst>
            <pc:docMk/>
            <pc:sldMk cId="1879302680" sldId="2134805986"/>
            <ac:spMk id="14" creationId="{E2F7FC8D-A661-651C-97F6-0BBBDB106F72}"/>
          </ac:spMkLst>
        </pc:spChg>
        <pc:spChg chg="mod ord">
          <ac:chgData name="Jacobo de Nicolás Nuñez" userId="7c6829d1-1bf6-4417-b4a9-02cb8827630e" providerId="ADAL" clId="{857BC41E-A371-448C-9B0F-48FE52EEF25B}" dt="2025-04-16T09:46:10.656" v="5518"/>
          <ac:spMkLst>
            <pc:docMk/>
            <pc:sldMk cId="1879302680" sldId="2134805986"/>
            <ac:spMk id="15" creationId="{18CE5FDA-85AF-BBAE-22CD-657D799BFEC3}"/>
          </ac:spMkLst>
        </pc:spChg>
        <pc:spChg chg="mod ord">
          <ac:chgData name="Jacobo de Nicolás Nuñez" userId="7c6829d1-1bf6-4417-b4a9-02cb8827630e" providerId="ADAL" clId="{857BC41E-A371-448C-9B0F-48FE52EEF25B}" dt="2025-04-16T09:46:10.656" v="5520"/>
          <ac:spMkLst>
            <pc:docMk/>
            <pc:sldMk cId="1879302680" sldId="2134805986"/>
            <ac:spMk id="16" creationId="{B81717AC-4BDC-E7E2-9A67-812ED559947E}"/>
          </ac:spMkLst>
        </pc:spChg>
        <pc:spChg chg="mod ord">
          <ac:chgData name="Jacobo de Nicolás Nuñez" userId="7c6829d1-1bf6-4417-b4a9-02cb8827630e" providerId="ADAL" clId="{857BC41E-A371-448C-9B0F-48FE52EEF25B}" dt="2025-04-16T09:46:10.656" v="5522"/>
          <ac:spMkLst>
            <pc:docMk/>
            <pc:sldMk cId="1879302680" sldId="2134805986"/>
            <ac:spMk id="20" creationId="{DC49F7DE-BF01-73EC-BA7B-C31200F5C419}"/>
          </ac:spMkLst>
        </pc:spChg>
        <pc:spChg chg="mod ord">
          <ac:chgData name="Jacobo de Nicolás Nuñez" userId="7c6829d1-1bf6-4417-b4a9-02cb8827630e" providerId="ADAL" clId="{857BC41E-A371-448C-9B0F-48FE52EEF25B}" dt="2025-04-16T09:46:10.656" v="5524"/>
          <ac:spMkLst>
            <pc:docMk/>
            <pc:sldMk cId="1879302680" sldId="2134805986"/>
            <ac:spMk id="21" creationId="{D80DC564-4B7F-5BF1-DEED-5B5EF5E1F3E6}"/>
          </ac:spMkLst>
        </pc:spChg>
        <pc:spChg chg="mod ord">
          <ac:chgData name="Jacobo de Nicolás Nuñez" userId="7c6829d1-1bf6-4417-b4a9-02cb8827630e" providerId="ADAL" clId="{857BC41E-A371-448C-9B0F-48FE52EEF25B}" dt="2025-04-16T09:46:10.656" v="5526"/>
          <ac:spMkLst>
            <pc:docMk/>
            <pc:sldMk cId="1879302680" sldId="2134805986"/>
            <ac:spMk id="23" creationId="{36011797-9388-9757-2681-3F3B7353F37A}"/>
          </ac:spMkLst>
        </pc:spChg>
        <pc:spChg chg="mod ord">
          <ac:chgData name="Jacobo de Nicolás Nuñez" userId="7c6829d1-1bf6-4417-b4a9-02cb8827630e" providerId="ADAL" clId="{857BC41E-A371-448C-9B0F-48FE52EEF25B}" dt="2025-04-16T09:46:10.656" v="5528"/>
          <ac:spMkLst>
            <pc:docMk/>
            <pc:sldMk cId="1879302680" sldId="2134805986"/>
            <ac:spMk id="24" creationId="{8DEE9329-FD04-2C79-DB86-8A89CFB51D27}"/>
          </ac:spMkLst>
        </pc:spChg>
        <pc:spChg chg="mod ord">
          <ac:chgData name="Jacobo de Nicolás Nuñez" userId="7c6829d1-1bf6-4417-b4a9-02cb8827630e" providerId="ADAL" clId="{857BC41E-A371-448C-9B0F-48FE52EEF25B}" dt="2025-04-16T09:46:10.656" v="5530"/>
          <ac:spMkLst>
            <pc:docMk/>
            <pc:sldMk cId="1879302680" sldId="2134805986"/>
            <ac:spMk id="25" creationId="{8B79E630-147D-80B5-288A-07D6805F34BA}"/>
          </ac:spMkLst>
        </pc:spChg>
        <pc:spChg chg="mod ord">
          <ac:chgData name="Jacobo de Nicolás Nuñez" userId="7c6829d1-1bf6-4417-b4a9-02cb8827630e" providerId="ADAL" clId="{857BC41E-A371-448C-9B0F-48FE52EEF25B}" dt="2025-04-16T09:46:10.624" v="5470"/>
          <ac:spMkLst>
            <pc:docMk/>
            <pc:sldMk cId="1879302680" sldId="2134805986"/>
            <ac:spMk id="26" creationId="{05B73ABE-9428-5623-B315-90B1BADC77F3}"/>
          </ac:spMkLst>
        </pc:spChg>
        <pc:spChg chg="mod ord">
          <ac:chgData name="Jacobo de Nicolás Nuñez" userId="7c6829d1-1bf6-4417-b4a9-02cb8827630e" providerId="ADAL" clId="{857BC41E-A371-448C-9B0F-48FE52EEF25B}" dt="2025-04-16T09:46:10.671" v="5532"/>
          <ac:spMkLst>
            <pc:docMk/>
            <pc:sldMk cId="1879302680" sldId="2134805986"/>
            <ac:spMk id="27" creationId="{BECE7EF9-31CB-78FC-68A3-A42189F92FC0}"/>
          </ac:spMkLst>
        </pc:spChg>
        <pc:spChg chg="mod ord">
          <ac:chgData name="Jacobo de Nicolás Nuñez" userId="7c6829d1-1bf6-4417-b4a9-02cb8827630e" providerId="ADAL" clId="{857BC41E-A371-448C-9B0F-48FE52EEF25B}" dt="2025-04-16T09:46:10.671" v="5534"/>
          <ac:spMkLst>
            <pc:docMk/>
            <pc:sldMk cId="1879302680" sldId="2134805986"/>
            <ac:spMk id="29" creationId="{F53C15DC-36AA-3AED-592E-C466B5EBBF12}"/>
          </ac:spMkLst>
        </pc:spChg>
        <pc:spChg chg="mod ord">
          <ac:chgData name="Jacobo de Nicolás Nuñez" userId="7c6829d1-1bf6-4417-b4a9-02cb8827630e" providerId="ADAL" clId="{857BC41E-A371-448C-9B0F-48FE52EEF25B}" dt="2025-04-16T09:46:10.640" v="5492"/>
          <ac:spMkLst>
            <pc:docMk/>
            <pc:sldMk cId="1879302680" sldId="2134805986"/>
            <ac:spMk id="30" creationId="{03CD7E84-C391-2444-D899-274EE2FAB01F}"/>
          </ac:spMkLst>
        </pc:spChg>
        <pc:spChg chg="mod ord">
          <ac:chgData name="Jacobo de Nicolás Nuñez" userId="7c6829d1-1bf6-4417-b4a9-02cb8827630e" providerId="ADAL" clId="{857BC41E-A371-448C-9B0F-48FE52EEF25B}" dt="2025-04-16T09:46:10.671" v="5536"/>
          <ac:spMkLst>
            <pc:docMk/>
            <pc:sldMk cId="1879302680" sldId="2134805986"/>
            <ac:spMk id="31" creationId="{EAC492B6-6549-79E5-B111-E17F322182CC}"/>
          </ac:spMkLst>
        </pc:spChg>
        <pc:spChg chg="mod ord">
          <ac:chgData name="Jacobo de Nicolás Nuñez" userId="7c6829d1-1bf6-4417-b4a9-02cb8827630e" providerId="ADAL" clId="{857BC41E-A371-448C-9B0F-48FE52EEF25B}" dt="2025-04-16T09:46:10.671" v="5538"/>
          <ac:spMkLst>
            <pc:docMk/>
            <pc:sldMk cId="1879302680" sldId="2134805986"/>
            <ac:spMk id="32" creationId="{E9E80C24-3E12-2146-0C0C-6DEEBB7C8B4B}"/>
          </ac:spMkLst>
        </pc:spChg>
        <pc:spChg chg="mod ord">
          <ac:chgData name="Jacobo de Nicolás Nuñez" userId="7c6829d1-1bf6-4417-b4a9-02cb8827630e" providerId="ADAL" clId="{857BC41E-A371-448C-9B0F-48FE52EEF25B}" dt="2025-04-16T09:46:10.640" v="5494"/>
          <ac:spMkLst>
            <pc:docMk/>
            <pc:sldMk cId="1879302680" sldId="2134805986"/>
            <ac:spMk id="55" creationId="{0D131863-26B9-884A-6A6A-837AF6001C34}"/>
          </ac:spMkLst>
        </pc:spChg>
        <pc:spChg chg="mod ord">
          <ac:chgData name="Jacobo de Nicolás Nuñez" userId="7c6829d1-1bf6-4417-b4a9-02cb8827630e" providerId="ADAL" clId="{857BC41E-A371-448C-9B0F-48FE52EEF25B}" dt="2025-04-16T09:46:10.640" v="5482"/>
          <ac:spMkLst>
            <pc:docMk/>
            <pc:sldMk cId="1879302680" sldId="2134805986"/>
            <ac:spMk id="70" creationId="{806B8040-186A-DF35-242B-F6AD41CEFC9B}"/>
          </ac:spMkLst>
        </pc:spChg>
        <pc:spChg chg="mod ord">
          <ac:chgData name="Jacobo de Nicolás Nuñez" userId="7c6829d1-1bf6-4417-b4a9-02cb8827630e" providerId="ADAL" clId="{857BC41E-A371-448C-9B0F-48FE52EEF25B}" dt="2025-04-16T09:46:10.640" v="5484"/>
          <ac:spMkLst>
            <pc:docMk/>
            <pc:sldMk cId="1879302680" sldId="2134805986"/>
            <ac:spMk id="71" creationId="{2AD15FC7-13C1-7EAF-160A-6AFB645E257B}"/>
          </ac:spMkLst>
        </pc:spChg>
        <pc:spChg chg="mod ord">
          <ac:chgData name="Jacobo de Nicolás Nuñez" userId="7c6829d1-1bf6-4417-b4a9-02cb8827630e" providerId="ADAL" clId="{857BC41E-A371-448C-9B0F-48FE52EEF25B}" dt="2025-04-16T09:46:10.640" v="5486"/>
          <ac:spMkLst>
            <pc:docMk/>
            <pc:sldMk cId="1879302680" sldId="2134805986"/>
            <ac:spMk id="72" creationId="{234DE21D-50CF-DB20-39D6-AED9A2B1BE66}"/>
          </ac:spMkLst>
        </pc:spChg>
        <pc:graphicFrameChg chg="add mod ord modVis">
          <ac:chgData name="Jacobo de Nicolás Nuñez" userId="7c6829d1-1bf6-4417-b4a9-02cb8827630e" providerId="ADAL" clId="{857BC41E-A371-448C-9B0F-48FE52EEF25B}" dt="2025-04-16T09:46:10.671" v="5542"/>
          <ac:graphicFrameMkLst>
            <pc:docMk/>
            <pc:sldMk cId="1879302680" sldId="2134805986"/>
            <ac:graphicFrameMk id="5" creationId="{C1380E02-328E-A946-81B2-6BCACBC5F3FF}"/>
          </ac:graphicFrameMkLst>
        </pc:graphicFrameChg>
        <pc:picChg chg="add mod ord">
          <ac:chgData name="Jacobo de Nicolás Nuñez" userId="7c6829d1-1bf6-4417-b4a9-02cb8827630e" providerId="ADAL" clId="{857BC41E-A371-448C-9B0F-48FE52EEF25B}" dt="2025-04-22T13:30:09.781" v="8167" actId="12788"/>
          <ac:picMkLst>
            <pc:docMk/>
            <pc:sldMk cId="1879302680" sldId="2134805986"/>
            <ac:picMk id="4" creationId="{F9AD1530-7174-8E57-5B3A-7CCCEAEFBEE0}"/>
          </ac:picMkLst>
        </pc:picChg>
        <pc:picChg chg="add mod ord">
          <ac:chgData name="Jacobo de Nicolás Nuñez" userId="7c6829d1-1bf6-4417-b4a9-02cb8827630e" providerId="ADAL" clId="{857BC41E-A371-448C-9B0F-48FE52EEF25B}" dt="2025-04-22T13:30:09.781" v="8167" actId="12788"/>
          <ac:picMkLst>
            <pc:docMk/>
            <pc:sldMk cId="1879302680" sldId="2134805986"/>
            <ac:picMk id="7" creationId="{2CB26609-5027-01D4-7808-7996518B14DB}"/>
          </ac:picMkLst>
        </pc:picChg>
        <pc:picChg chg="add mod ord">
          <ac:chgData name="Jacobo de Nicolás Nuñez" userId="7c6829d1-1bf6-4417-b4a9-02cb8827630e" providerId="ADAL" clId="{857BC41E-A371-448C-9B0F-48FE52EEF25B}" dt="2025-04-22T13:30:09.781" v="8167" actId="12788"/>
          <ac:picMkLst>
            <pc:docMk/>
            <pc:sldMk cId="1879302680" sldId="2134805986"/>
            <ac:picMk id="8" creationId="{E51A186D-CC39-F4F4-9699-40C254F98EE6}"/>
          </ac:picMkLst>
        </pc:picChg>
        <pc:picChg chg="mod ord">
          <ac:chgData name="Jacobo de Nicolás Nuñez" userId="7c6829d1-1bf6-4417-b4a9-02cb8827630e" providerId="ADAL" clId="{857BC41E-A371-448C-9B0F-48FE52EEF25B}" dt="2025-04-22T13:29:57.379" v="8166" actId="14100"/>
          <ac:picMkLst>
            <pc:docMk/>
            <pc:sldMk cId="1879302680" sldId="2134805986"/>
            <ac:picMk id="17" creationId="{BD2E03E8-110D-BF14-7533-AA361FD59F25}"/>
          </ac:picMkLst>
        </pc:picChg>
        <pc:picChg chg="mod ord">
          <ac:chgData name="Jacobo de Nicolás Nuñez" userId="7c6829d1-1bf6-4417-b4a9-02cb8827630e" providerId="ADAL" clId="{857BC41E-A371-448C-9B0F-48FE52EEF25B}" dt="2025-04-22T13:27:55.494" v="8150" actId="14826"/>
          <ac:picMkLst>
            <pc:docMk/>
            <pc:sldMk cId="1879302680" sldId="2134805986"/>
            <ac:picMk id="18" creationId="{31D76CC1-5F42-7945-E9BC-9E9C0640A443}"/>
          </ac:picMkLst>
        </pc:picChg>
        <pc:picChg chg="mod ord">
          <ac:chgData name="Jacobo de Nicolás Nuñez" userId="7c6829d1-1bf6-4417-b4a9-02cb8827630e" providerId="ADAL" clId="{857BC41E-A371-448C-9B0F-48FE52EEF25B}" dt="2025-04-22T13:30:15.749" v="8168" actId="12788"/>
          <ac:picMkLst>
            <pc:docMk/>
            <pc:sldMk cId="1879302680" sldId="2134805986"/>
            <ac:picMk id="19" creationId="{96C4E6D5-887F-3709-DBB7-D13A16DC38CC}"/>
          </ac:picMkLst>
        </pc:picChg>
        <pc:picChg chg="mod ord">
          <ac:chgData name="Jacobo de Nicolás Nuñez" userId="7c6829d1-1bf6-4417-b4a9-02cb8827630e" providerId="ADAL" clId="{857BC41E-A371-448C-9B0F-48FE52EEF25B}" dt="2025-04-22T13:30:15.749" v="8168" actId="12788"/>
          <ac:picMkLst>
            <pc:docMk/>
            <pc:sldMk cId="1879302680" sldId="2134805986"/>
            <ac:picMk id="22" creationId="{9927DF5B-8A3B-309E-792A-05958F2C1850}"/>
          </ac:picMkLst>
        </pc:picChg>
        <pc:picChg chg="add mod ord">
          <ac:chgData name="Jacobo de Nicolás Nuñez" userId="7c6829d1-1bf6-4417-b4a9-02cb8827630e" providerId="ADAL" clId="{857BC41E-A371-448C-9B0F-48FE52EEF25B}" dt="2025-04-22T13:30:15.749" v="8168" actId="12788"/>
          <ac:picMkLst>
            <pc:docMk/>
            <pc:sldMk cId="1879302680" sldId="2134805986"/>
            <ac:picMk id="33" creationId="{6B35B0DF-D346-C9CD-7B7A-83BAAC118544}"/>
          </ac:picMkLst>
        </pc:picChg>
        <pc:picChg chg="add mod ord">
          <ac:chgData name="Jacobo de Nicolás Nuñez" userId="7c6829d1-1bf6-4417-b4a9-02cb8827630e" providerId="ADAL" clId="{857BC41E-A371-448C-9B0F-48FE52EEF25B}" dt="2025-04-22T13:30:15.749" v="8168" actId="12788"/>
          <ac:picMkLst>
            <pc:docMk/>
            <pc:sldMk cId="1879302680" sldId="2134805986"/>
            <ac:picMk id="34" creationId="{647EE89C-6573-8030-2A5C-323A863D18A5}"/>
          </ac:picMkLst>
        </pc:picChg>
        <pc:picChg chg="mod ord">
          <ac:chgData name="Jacobo de Nicolás Nuñez" userId="7c6829d1-1bf6-4417-b4a9-02cb8827630e" providerId="ADAL" clId="{857BC41E-A371-448C-9B0F-48FE52EEF25B}" dt="2025-04-22T13:30:09.781" v="8167" actId="12788"/>
          <ac:picMkLst>
            <pc:docMk/>
            <pc:sldMk cId="1879302680" sldId="2134805986"/>
            <ac:picMk id="35" creationId="{8E722B4D-32DC-6242-E142-62D99DDE4A8F}"/>
          </ac:picMkLst>
        </pc:picChg>
        <pc:picChg chg="mod ord">
          <ac:chgData name="Jacobo de Nicolás Nuñez" userId="7c6829d1-1bf6-4417-b4a9-02cb8827630e" providerId="ADAL" clId="{857BC41E-A371-448C-9B0F-48FE52EEF25B}" dt="2025-04-22T13:28:20.130" v="8153" actId="14826"/>
          <ac:picMkLst>
            <pc:docMk/>
            <pc:sldMk cId="1879302680" sldId="2134805986"/>
            <ac:picMk id="37" creationId="{987B5095-2F9C-945D-126D-A9621F498BB6}"/>
          </ac:picMkLst>
        </pc:picChg>
        <pc:picChg chg="mod ord">
          <ac:chgData name="Jacobo de Nicolás Nuñez" userId="7c6829d1-1bf6-4417-b4a9-02cb8827630e" providerId="ADAL" clId="{857BC41E-A371-448C-9B0F-48FE52EEF25B}" dt="2025-04-22T13:29:01.992" v="8154" actId="14826"/>
          <ac:picMkLst>
            <pc:docMk/>
            <pc:sldMk cId="1879302680" sldId="2134805986"/>
            <ac:picMk id="43" creationId="{D2F3E3FC-939F-45CC-B1EB-581750FC2F9C}"/>
          </ac:picMkLst>
        </pc:picChg>
        <pc:picChg chg="mod ord">
          <ac:chgData name="Jacobo de Nicolás Nuñez" userId="7c6829d1-1bf6-4417-b4a9-02cb8827630e" providerId="ADAL" clId="{857BC41E-A371-448C-9B0F-48FE52EEF25B}" dt="2025-04-22T13:29:57.379" v="8166" actId="14100"/>
          <ac:picMkLst>
            <pc:docMk/>
            <pc:sldMk cId="1879302680" sldId="2134805986"/>
            <ac:picMk id="47" creationId="{04544B88-EF79-EA68-CD93-1D7907406C47}"/>
          </ac:picMkLst>
        </pc:picChg>
        <pc:picChg chg="mod ord">
          <ac:chgData name="Jacobo de Nicolás Nuñez" userId="7c6829d1-1bf6-4417-b4a9-02cb8827630e" providerId="ADAL" clId="{857BC41E-A371-448C-9B0F-48FE52EEF25B}" dt="2025-04-22T13:30:09.781" v="8167" actId="12788"/>
          <ac:picMkLst>
            <pc:docMk/>
            <pc:sldMk cId="1879302680" sldId="2134805986"/>
            <ac:picMk id="57" creationId="{5C861F9B-BB71-9555-62CA-7BD7457432E8}"/>
          </ac:picMkLst>
        </pc:picChg>
        <pc:picChg chg="mod ord">
          <ac:chgData name="Jacobo de Nicolás Nuñez" userId="7c6829d1-1bf6-4417-b4a9-02cb8827630e" providerId="ADAL" clId="{857BC41E-A371-448C-9B0F-48FE52EEF25B}" dt="2025-04-22T13:27:44.696" v="8149" actId="14826"/>
          <ac:picMkLst>
            <pc:docMk/>
            <pc:sldMk cId="1879302680" sldId="2134805986"/>
            <ac:picMk id="98" creationId="{4CE521ED-228E-9631-82A3-330D44EB4978}"/>
          </ac:picMkLst>
        </pc:picChg>
      </pc:sldChg>
      <pc:sldChg chg="addSp delSp modSp mod">
        <pc:chgData name="Jacobo de Nicolás Nuñez" userId="7c6829d1-1bf6-4417-b4a9-02cb8827630e" providerId="ADAL" clId="{857BC41E-A371-448C-9B0F-48FE52EEF25B}" dt="2025-04-22T12:22:58.410" v="7243" actId="1076"/>
        <pc:sldMkLst>
          <pc:docMk/>
          <pc:sldMk cId="1029932044" sldId="2134805987"/>
        </pc:sldMkLst>
        <pc:spChg chg="mod ord">
          <ac:chgData name="Jacobo de Nicolás Nuñez" userId="7c6829d1-1bf6-4417-b4a9-02cb8827630e" providerId="ADAL" clId="{857BC41E-A371-448C-9B0F-48FE52EEF25B}" dt="2025-04-16T09:39:30.725" v="5349"/>
          <ac:spMkLst>
            <pc:docMk/>
            <pc:sldMk cId="1029932044" sldId="2134805987"/>
            <ac:spMk id="2" creationId="{DDDA06A1-BD2F-732C-AE2C-F5450E713165}"/>
          </ac:spMkLst>
        </pc:spChg>
        <pc:spChg chg="mod ord">
          <ac:chgData name="Jacobo de Nicolás Nuñez" userId="7c6829d1-1bf6-4417-b4a9-02cb8827630e" providerId="ADAL" clId="{857BC41E-A371-448C-9B0F-48FE52EEF25B}" dt="2025-04-16T09:39:30.725" v="5351"/>
          <ac:spMkLst>
            <pc:docMk/>
            <pc:sldMk cId="1029932044" sldId="2134805987"/>
            <ac:spMk id="3" creationId="{C5297124-C92F-B27C-164D-56B5399789EE}"/>
          </ac:spMkLst>
        </pc:spChg>
        <pc:spChg chg="mod ord">
          <ac:chgData name="Jacobo de Nicolás Nuñez" userId="7c6829d1-1bf6-4417-b4a9-02cb8827630e" providerId="ADAL" clId="{857BC41E-A371-448C-9B0F-48FE52EEF25B}" dt="2025-04-16T09:39:30.728" v="5353"/>
          <ac:spMkLst>
            <pc:docMk/>
            <pc:sldMk cId="1029932044" sldId="2134805987"/>
            <ac:spMk id="5" creationId="{44A59D0F-8494-97BA-A935-89803A79932A}"/>
          </ac:spMkLst>
        </pc:spChg>
        <pc:spChg chg="mod ord">
          <ac:chgData name="Jacobo de Nicolás Nuñez" userId="7c6829d1-1bf6-4417-b4a9-02cb8827630e" providerId="ADAL" clId="{857BC41E-A371-448C-9B0F-48FE52EEF25B}" dt="2025-04-16T09:39:30.721" v="5345"/>
          <ac:spMkLst>
            <pc:docMk/>
            <pc:sldMk cId="1029932044" sldId="2134805987"/>
            <ac:spMk id="6" creationId="{98D36994-1E0C-772B-613A-810FD53B6AA2}"/>
          </ac:spMkLst>
        </pc:spChg>
        <pc:spChg chg="mod ord">
          <ac:chgData name="Jacobo de Nicolás Nuñez" userId="7c6829d1-1bf6-4417-b4a9-02cb8827630e" providerId="ADAL" clId="{857BC41E-A371-448C-9B0F-48FE52EEF25B}" dt="2025-04-16T09:39:30.729" v="5355"/>
          <ac:spMkLst>
            <pc:docMk/>
            <pc:sldMk cId="1029932044" sldId="2134805987"/>
            <ac:spMk id="7" creationId="{2BE969F1-D6C4-54AF-427E-18EAC2AE4EDD}"/>
          </ac:spMkLst>
        </pc:spChg>
        <pc:spChg chg="mod ord">
          <ac:chgData name="Jacobo de Nicolás Nuñez" userId="7c6829d1-1bf6-4417-b4a9-02cb8827630e" providerId="ADAL" clId="{857BC41E-A371-448C-9B0F-48FE52EEF25B}" dt="2025-04-16T09:39:30.731" v="5357"/>
          <ac:spMkLst>
            <pc:docMk/>
            <pc:sldMk cId="1029932044" sldId="2134805987"/>
            <ac:spMk id="8" creationId="{10DDAD96-450B-DC5E-0CF8-DBA4BADE581C}"/>
          </ac:spMkLst>
        </pc:spChg>
        <pc:spChg chg="mod ord">
          <ac:chgData name="Jacobo de Nicolás Nuñez" userId="7c6829d1-1bf6-4417-b4a9-02cb8827630e" providerId="ADAL" clId="{857BC41E-A371-448C-9B0F-48FE52EEF25B}" dt="2025-04-16T09:39:30.721" v="5343"/>
          <ac:spMkLst>
            <pc:docMk/>
            <pc:sldMk cId="1029932044" sldId="2134805987"/>
            <ac:spMk id="9" creationId="{9994BE79-D2E0-7843-0C00-0CA2F19A5A70}"/>
          </ac:spMkLst>
        </pc:spChg>
        <pc:spChg chg="mod ord">
          <ac:chgData name="Jacobo de Nicolás Nuñez" userId="7c6829d1-1bf6-4417-b4a9-02cb8827630e" providerId="ADAL" clId="{857BC41E-A371-448C-9B0F-48FE52EEF25B}" dt="2025-04-16T09:39:30.720" v="5341"/>
          <ac:spMkLst>
            <pc:docMk/>
            <pc:sldMk cId="1029932044" sldId="2134805987"/>
            <ac:spMk id="70" creationId="{806B8040-186A-DF35-242B-F6AD41CEFC9B}"/>
          </ac:spMkLst>
        </pc:spChg>
        <pc:graphicFrameChg chg="add mod ord modVis">
          <ac:chgData name="Jacobo de Nicolás Nuñez" userId="7c6829d1-1bf6-4417-b4a9-02cb8827630e" providerId="ADAL" clId="{857BC41E-A371-448C-9B0F-48FE52EEF25B}" dt="2025-04-16T09:39:30.734" v="5359"/>
          <ac:graphicFrameMkLst>
            <pc:docMk/>
            <pc:sldMk cId="1029932044" sldId="2134805987"/>
            <ac:graphicFrameMk id="11" creationId="{B200AB2C-B23F-2A36-F085-0ABEA95D5E1A}"/>
          </ac:graphicFrameMkLst>
        </pc:graphicFrameChg>
        <pc:picChg chg="mod ord">
          <ac:chgData name="Jacobo de Nicolás Nuñez" userId="7c6829d1-1bf6-4417-b4a9-02cb8827630e" providerId="ADAL" clId="{857BC41E-A371-448C-9B0F-48FE52EEF25B}" dt="2025-04-22T12:22:45.375" v="7241" actId="1076"/>
          <ac:picMkLst>
            <pc:docMk/>
            <pc:sldMk cId="1029932044" sldId="2134805987"/>
            <ac:picMk id="4" creationId="{821EDB12-0F16-C2F5-53B6-18E7AC44DCB5}"/>
          </ac:picMkLst>
        </pc:picChg>
        <pc:picChg chg="add mod ord">
          <ac:chgData name="Jacobo de Nicolás Nuñez" userId="7c6829d1-1bf6-4417-b4a9-02cb8827630e" providerId="ADAL" clId="{857BC41E-A371-448C-9B0F-48FE52EEF25B}" dt="2025-04-22T12:22:50.245" v="7242" actId="1076"/>
          <ac:picMkLst>
            <pc:docMk/>
            <pc:sldMk cId="1029932044" sldId="2134805987"/>
            <ac:picMk id="10" creationId="{2ABBFD6B-5F7B-686E-1407-1E3BEE4BC6DE}"/>
          </ac:picMkLst>
        </pc:picChg>
        <pc:picChg chg="add mod ord">
          <ac:chgData name="Jacobo de Nicolás Nuñez" userId="7c6829d1-1bf6-4417-b4a9-02cb8827630e" providerId="ADAL" clId="{857BC41E-A371-448C-9B0F-48FE52EEF25B}" dt="2025-04-22T12:22:41.329" v="7240" actId="1076"/>
          <ac:picMkLst>
            <pc:docMk/>
            <pc:sldMk cId="1029932044" sldId="2134805987"/>
            <ac:picMk id="12" creationId="{1A5C47E8-AD78-DAE8-8A6D-A51D2021B638}"/>
          </ac:picMkLst>
        </pc:picChg>
        <pc:picChg chg="mod ord">
          <ac:chgData name="Jacobo de Nicolás Nuñez" userId="7c6829d1-1bf6-4417-b4a9-02cb8827630e" providerId="ADAL" clId="{857BC41E-A371-448C-9B0F-48FE52EEF25B}" dt="2025-04-22T12:22:58.410" v="7243" actId="1076"/>
          <ac:picMkLst>
            <pc:docMk/>
            <pc:sldMk cId="1029932044" sldId="2134805987"/>
            <ac:picMk id="34" creationId="{29DABECC-57FA-76AB-396B-E47B9A3DDB3C}"/>
          </ac:picMkLst>
        </pc:picChg>
      </pc:sldChg>
      <pc:sldChg chg="addSp delSp modSp mod">
        <pc:chgData name="Jacobo de Nicolás Nuñez" userId="7c6829d1-1bf6-4417-b4a9-02cb8827630e" providerId="ADAL" clId="{857BC41E-A371-448C-9B0F-48FE52EEF25B}" dt="2025-04-22T12:46:36.706" v="7486" actId="1076"/>
        <pc:sldMkLst>
          <pc:docMk/>
          <pc:sldMk cId="2891202667" sldId="2134805988"/>
        </pc:sldMkLst>
        <pc:spChg chg="mod ord">
          <ac:chgData name="Jacobo de Nicolás Nuñez" userId="7c6829d1-1bf6-4417-b4a9-02cb8827630e" providerId="ADAL" clId="{857BC41E-A371-448C-9B0F-48FE52EEF25B}" dt="2025-04-17T07:55:11.708" v="6495"/>
          <ac:spMkLst>
            <pc:docMk/>
            <pc:sldMk cId="2891202667" sldId="2134805988"/>
            <ac:spMk id="3" creationId="{63A23E59-E42D-B4D3-3A59-9CCD92FF0B6E}"/>
          </ac:spMkLst>
        </pc:spChg>
        <pc:spChg chg="mod ord">
          <ac:chgData name="Jacobo de Nicolás Nuñez" userId="7c6829d1-1bf6-4417-b4a9-02cb8827630e" providerId="ADAL" clId="{857BC41E-A371-448C-9B0F-48FE52EEF25B}" dt="2025-04-17T07:55:11.708" v="6497"/>
          <ac:spMkLst>
            <pc:docMk/>
            <pc:sldMk cId="2891202667" sldId="2134805988"/>
            <ac:spMk id="9" creationId="{515D976B-A6D5-2351-C98F-BEEA076B2D9B}"/>
          </ac:spMkLst>
        </pc:spChg>
        <pc:spChg chg="mod ord">
          <ac:chgData name="Jacobo de Nicolás Nuñez" userId="7c6829d1-1bf6-4417-b4a9-02cb8827630e" providerId="ADAL" clId="{857BC41E-A371-448C-9B0F-48FE52EEF25B}" dt="2025-04-17T07:55:11.708" v="6499"/>
          <ac:spMkLst>
            <pc:docMk/>
            <pc:sldMk cId="2891202667" sldId="2134805988"/>
            <ac:spMk id="11" creationId="{07556480-D5D5-16A7-EF34-0C53E77EA557}"/>
          </ac:spMkLst>
        </pc:spChg>
        <pc:spChg chg="mod ord">
          <ac:chgData name="Jacobo de Nicolás Nuñez" userId="7c6829d1-1bf6-4417-b4a9-02cb8827630e" providerId="ADAL" clId="{857BC41E-A371-448C-9B0F-48FE52EEF25B}" dt="2025-04-17T07:55:11.708" v="6501"/>
          <ac:spMkLst>
            <pc:docMk/>
            <pc:sldMk cId="2891202667" sldId="2134805988"/>
            <ac:spMk id="12" creationId="{0AEB3CC9-423D-6639-41E4-F1F5DAD1B426}"/>
          </ac:spMkLst>
        </pc:spChg>
        <pc:spChg chg="mod ord">
          <ac:chgData name="Jacobo de Nicolás Nuñez" userId="7c6829d1-1bf6-4417-b4a9-02cb8827630e" providerId="ADAL" clId="{857BC41E-A371-448C-9B0F-48FE52EEF25B}" dt="2025-04-17T07:55:11.708" v="6503"/>
          <ac:spMkLst>
            <pc:docMk/>
            <pc:sldMk cId="2891202667" sldId="2134805988"/>
            <ac:spMk id="13" creationId="{42453D67-FD4E-B56F-9105-EDFDD9B72E05}"/>
          </ac:spMkLst>
        </pc:spChg>
        <pc:spChg chg="mod ord">
          <ac:chgData name="Jacobo de Nicolás Nuñez" userId="7c6829d1-1bf6-4417-b4a9-02cb8827630e" providerId="ADAL" clId="{857BC41E-A371-448C-9B0F-48FE52EEF25B}" dt="2025-04-17T07:55:11.708" v="6505"/>
          <ac:spMkLst>
            <pc:docMk/>
            <pc:sldMk cId="2891202667" sldId="2134805988"/>
            <ac:spMk id="14" creationId="{CC13EAE2-F9C9-E7B5-953B-81A853A517A8}"/>
          </ac:spMkLst>
        </pc:spChg>
        <pc:spChg chg="mod ord">
          <ac:chgData name="Jacobo de Nicolás Nuñez" userId="7c6829d1-1bf6-4417-b4a9-02cb8827630e" providerId="ADAL" clId="{857BC41E-A371-448C-9B0F-48FE52EEF25B}" dt="2025-04-17T07:55:11.708" v="6491"/>
          <ac:spMkLst>
            <pc:docMk/>
            <pc:sldMk cId="2891202667" sldId="2134805988"/>
            <ac:spMk id="15" creationId="{EAFCAB39-8C42-1C42-729C-5D83CDA46383}"/>
          </ac:spMkLst>
        </pc:spChg>
        <pc:spChg chg="mod ord">
          <ac:chgData name="Jacobo de Nicolás Nuñez" userId="7c6829d1-1bf6-4417-b4a9-02cb8827630e" providerId="ADAL" clId="{857BC41E-A371-448C-9B0F-48FE52EEF25B}" dt="2025-04-17T07:55:11.708" v="6507"/>
          <ac:spMkLst>
            <pc:docMk/>
            <pc:sldMk cId="2891202667" sldId="2134805988"/>
            <ac:spMk id="17" creationId="{10C34EFD-E808-FE49-5614-A5B95A73259F}"/>
          </ac:spMkLst>
        </pc:spChg>
        <pc:spChg chg="mod ord">
          <ac:chgData name="Jacobo de Nicolás Nuñez" userId="7c6829d1-1bf6-4417-b4a9-02cb8827630e" providerId="ADAL" clId="{857BC41E-A371-448C-9B0F-48FE52EEF25B}" dt="2025-04-17T07:55:11.708" v="6493"/>
          <ac:spMkLst>
            <pc:docMk/>
            <pc:sldMk cId="2891202667" sldId="2134805988"/>
            <ac:spMk id="34" creationId="{F84097C4-F415-EBAC-9533-CC3E825C3356}"/>
          </ac:spMkLst>
        </pc:spChg>
        <pc:spChg chg="mod ord">
          <ac:chgData name="Jacobo de Nicolás Nuñez" userId="7c6829d1-1bf6-4417-b4a9-02cb8827630e" providerId="ADAL" clId="{857BC41E-A371-448C-9B0F-48FE52EEF25B}" dt="2025-04-17T07:55:11.708" v="6485"/>
          <ac:spMkLst>
            <pc:docMk/>
            <pc:sldMk cId="2891202667" sldId="2134805988"/>
            <ac:spMk id="71" creationId="{2AD15FC7-13C1-7EAF-160A-6AFB645E257B}"/>
          </ac:spMkLst>
        </pc:spChg>
        <pc:graphicFrameChg chg="add mod ord modVis">
          <ac:chgData name="Jacobo de Nicolás Nuñez" userId="7c6829d1-1bf6-4417-b4a9-02cb8827630e" providerId="ADAL" clId="{857BC41E-A371-448C-9B0F-48FE52EEF25B}" dt="2025-04-17T07:55:11.708" v="6509"/>
          <ac:graphicFrameMkLst>
            <pc:docMk/>
            <pc:sldMk cId="2891202667" sldId="2134805988"/>
            <ac:graphicFrameMk id="10" creationId="{DCF352A4-1F9B-AA10-E9D1-8BA51A2A6CCE}"/>
          </ac:graphicFrameMkLst>
        </pc:graphicFrameChg>
        <pc:picChg chg="mod ord">
          <ac:chgData name="Jacobo de Nicolás Nuñez" userId="7c6829d1-1bf6-4417-b4a9-02cb8827630e" providerId="ADAL" clId="{857BC41E-A371-448C-9B0F-48FE52EEF25B}" dt="2025-04-22T12:46:36.706" v="7486" actId="1076"/>
          <ac:picMkLst>
            <pc:docMk/>
            <pc:sldMk cId="2891202667" sldId="2134805988"/>
            <ac:picMk id="4" creationId="{13877D33-D80D-FB94-C42D-FE832144C86A}"/>
          </ac:picMkLst>
        </pc:picChg>
        <pc:picChg chg="mod ord">
          <ac:chgData name="Jacobo de Nicolás Nuñez" userId="7c6829d1-1bf6-4417-b4a9-02cb8827630e" providerId="ADAL" clId="{857BC41E-A371-448C-9B0F-48FE52EEF25B}" dt="2025-04-22T12:46:36.706" v="7486" actId="1076"/>
          <ac:picMkLst>
            <pc:docMk/>
            <pc:sldMk cId="2891202667" sldId="2134805988"/>
            <ac:picMk id="5" creationId="{B85C7EDB-9C4B-8F27-79AA-9B80F95B3E39}"/>
          </ac:picMkLst>
        </pc:picChg>
        <pc:picChg chg="add mod ord">
          <ac:chgData name="Jacobo de Nicolás Nuñez" userId="7c6829d1-1bf6-4417-b4a9-02cb8827630e" providerId="ADAL" clId="{857BC41E-A371-448C-9B0F-48FE52EEF25B}" dt="2025-04-22T12:46:30.085" v="7485" actId="1076"/>
          <ac:picMkLst>
            <pc:docMk/>
            <pc:sldMk cId="2891202667" sldId="2134805988"/>
            <ac:picMk id="6" creationId="{665D44E7-9309-AF79-1B2C-BF24EF005A5E}"/>
          </ac:picMkLst>
        </pc:picChg>
        <pc:picChg chg="add mod ord">
          <ac:chgData name="Jacobo de Nicolás Nuñez" userId="7c6829d1-1bf6-4417-b4a9-02cb8827630e" providerId="ADAL" clId="{857BC41E-A371-448C-9B0F-48FE52EEF25B}" dt="2025-04-22T12:46:30.085" v="7485" actId="1076"/>
          <ac:picMkLst>
            <pc:docMk/>
            <pc:sldMk cId="2891202667" sldId="2134805988"/>
            <ac:picMk id="8" creationId="{B9C96D5C-29A5-1C05-F929-AF2F176286F1}"/>
          </ac:picMkLst>
        </pc:picChg>
        <pc:picChg chg="add mod ord">
          <ac:chgData name="Jacobo de Nicolás Nuñez" userId="7c6829d1-1bf6-4417-b4a9-02cb8827630e" providerId="ADAL" clId="{857BC41E-A371-448C-9B0F-48FE52EEF25B}" dt="2025-04-22T12:46:30.085" v="7485" actId="1076"/>
          <ac:picMkLst>
            <pc:docMk/>
            <pc:sldMk cId="2891202667" sldId="2134805988"/>
            <ac:picMk id="18" creationId="{4DB4FCD1-29A3-3632-BE68-D8A838A7354E}"/>
          </ac:picMkLst>
        </pc:picChg>
        <pc:picChg chg="add mod ord">
          <ac:chgData name="Jacobo de Nicolás Nuñez" userId="7c6829d1-1bf6-4417-b4a9-02cb8827630e" providerId="ADAL" clId="{857BC41E-A371-448C-9B0F-48FE52EEF25B}" dt="2025-04-22T12:46:30.085" v="7485" actId="1076"/>
          <ac:picMkLst>
            <pc:docMk/>
            <pc:sldMk cId="2891202667" sldId="2134805988"/>
            <ac:picMk id="19" creationId="{FEA41E42-6157-A02D-CFC6-CE8BEAE2B016}"/>
          </ac:picMkLst>
        </pc:picChg>
      </pc:sldChg>
      <pc:sldChg chg="modSp mod">
        <pc:chgData name="Jacobo de Nicolás Nuñez" userId="7c6829d1-1bf6-4417-b4a9-02cb8827630e" providerId="ADAL" clId="{857BC41E-A371-448C-9B0F-48FE52EEF25B}" dt="2025-04-22T14:59:49.524" v="8593" actId="14826"/>
        <pc:sldMkLst>
          <pc:docMk/>
          <pc:sldMk cId="2483803822" sldId="2134805989"/>
        </pc:sldMkLst>
        <pc:picChg chg="mod">
          <ac:chgData name="Jacobo de Nicolás Nuñez" userId="7c6829d1-1bf6-4417-b4a9-02cb8827630e" providerId="ADAL" clId="{857BC41E-A371-448C-9B0F-48FE52EEF25B}" dt="2025-04-22T14:59:49.524" v="8593" actId="14826"/>
          <ac:picMkLst>
            <pc:docMk/>
            <pc:sldMk cId="2483803822" sldId="2134805989"/>
            <ac:picMk id="2" creationId="{23E643E8-AE93-4D0F-8392-902BEB789432}"/>
          </ac:picMkLst>
        </pc:picChg>
        <pc:picChg chg="mod">
          <ac:chgData name="Jacobo de Nicolás Nuñez" userId="7c6829d1-1bf6-4417-b4a9-02cb8827630e" providerId="ADAL" clId="{857BC41E-A371-448C-9B0F-48FE52EEF25B}" dt="2025-04-22T12:50:27.209" v="7517" actId="14100"/>
          <ac:picMkLst>
            <pc:docMk/>
            <pc:sldMk cId="2483803822" sldId="2134805989"/>
            <ac:picMk id="4" creationId="{48C21262-1EFC-8A50-F04D-2DA161E282B1}"/>
          </ac:picMkLst>
        </pc:picChg>
        <pc:picChg chg="mod">
          <ac:chgData name="Jacobo de Nicolás Nuñez" userId="7c6829d1-1bf6-4417-b4a9-02cb8827630e" providerId="ADAL" clId="{857BC41E-A371-448C-9B0F-48FE52EEF25B}" dt="2025-04-22T14:59:15.504" v="8591" actId="14826"/>
          <ac:picMkLst>
            <pc:docMk/>
            <pc:sldMk cId="2483803822" sldId="2134805989"/>
            <ac:picMk id="8" creationId="{D2BBB641-3562-AC32-A1DE-ED2C3639D0AB}"/>
          </ac:picMkLst>
        </pc:picChg>
        <pc:picChg chg="mod">
          <ac:chgData name="Jacobo de Nicolás Nuñez" userId="7c6829d1-1bf6-4417-b4a9-02cb8827630e" providerId="ADAL" clId="{857BC41E-A371-448C-9B0F-48FE52EEF25B}" dt="2025-04-22T12:50:40.149" v="7518" actId="1076"/>
          <ac:picMkLst>
            <pc:docMk/>
            <pc:sldMk cId="2483803822" sldId="2134805989"/>
            <ac:picMk id="9" creationId="{F96C32CA-C05D-F873-B752-A15117F12087}"/>
          </ac:picMkLst>
        </pc:picChg>
        <pc:picChg chg="mod">
          <ac:chgData name="Jacobo de Nicolás Nuñez" userId="7c6829d1-1bf6-4417-b4a9-02cb8827630e" providerId="ADAL" clId="{857BC41E-A371-448C-9B0F-48FE52EEF25B}" dt="2025-04-22T12:50:53.308" v="7520" actId="1076"/>
          <ac:picMkLst>
            <pc:docMk/>
            <pc:sldMk cId="2483803822" sldId="2134805989"/>
            <ac:picMk id="12" creationId="{F26B8D16-34E9-29AC-57ED-85913D960F5E}"/>
          </ac:picMkLst>
        </pc:picChg>
        <pc:picChg chg="mod">
          <ac:chgData name="Jacobo de Nicolás Nuñez" userId="7c6829d1-1bf6-4417-b4a9-02cb8827630e" providerId="ADAL" clId="{857BC41E-A371-448C-9B0F-48FE52EEF25B}" dt="2025-04-22T12:50:27.209" v="7517" actId="14100"/>
          <ac:picMkLst>
            <pc:docMk/>
            <pc:sldMk cId="2483803822" sldId="2134805989"/>
            <ac:picMk id="14" creationId="{168BF0FF-5E09-81C4-770F-203E359F2790}"/>
          </ac:picMkLst>
        </pc:picChg>
        <pc:picChg chg="mod">
          <ac:chgData name="Jacobo de Nicolás Nuñez" userId="7c6829d1-1bf6-4417-b4a9-02cb8827630e" providerId="ADAL" clId="{857BC41E-A371-448C-9B0F-48FE52EEF25B}" dt="2025-04-22T14:59:24.456" v="8592" actId="14826"/>
          <ac:picMkLst>
            <pc:docMk/>
            <pc:sldMk cId="2483803822" sldId="2134805989"/>
            <ac:picMk id="23" creationId="{6F2020A6-DA68-A6AE-E8DF-94F441E2FC05}"/>
          </ac:picMkLst>
        </pc:picChg>
        <pc:picChg chg="mod">
          <ac:chgData name="Jacobo de Nicolás Nuñez" userId="7c6829d1-1bf6-4417-b4a9-02cb8827630e" providerId="ADAL" clId="{857BC41E-A371-448C-9B0F-48FE52EEF25B}" dt="2025-04-22T12:50:27.209" v="7517" actId="14100"/>
          <ac:picMkLst>
            <pc:docMk/>
            <pc:sldMk cId="2483803822" sldId="2134805989"/>
            <ac:picMk id="26" creationId="{FB29675E-6582-94DB-7F85-CDC65F7255B6}"/>
          </ac:picMkLst>
        </pc:picChg>
        <pc:picChg chg="mod">
          <ac:chgData name="Jacobo de Nicolás Nuñez" userId="7c6829d1-1bf6-4417-b4a9-02cb8827630e" providerId="ADAL" clId="{857BC41E-A371-448C-9B0F-48FE52EEF25B}" dt="2025-04-22T12:50:27.209" v="7517" actId="14100"/>
          <ac:picMkLst>
            <pc:docMk/>
            <pc:sldMk cId="2483803822" sldId="2134805989"/>
            <ac:picMk id="35" creationId="{D9D8360C-D903-1F0A-DAA1-026C0941D950}"/>
          </ac:picMkLst>
        </pc:picChg>
        <pc:picChg chg="mod">
          <ac:chgData name="Jacobo de Nicolás Nuñez" userId="7c6829d1-1bf6-4417-b4a9-02cb8827630e" providerId="ADAL" clId="{857BC41E-A371-448C-9B0F-48FE52EEF25B}" dt="2025-04-22T12:50:27.209" v="7517" actId="14100"/>
          <ac:picMkLst>
            <pc:docMk/>
            <pc:sldMk cId="2483803822" sldId="2134805989"/>
            <ac:picMk id="40" creationId="{BB440E00-EFEF-FB83-074A-F851F6B4E264}"/>
          </ac:picMkLst>
        </pc:picChg>
        <pc:picChg chg="mod">
          <ac:chgData name="Jacobo de Nicolás Nuñez" userId="7c6829d1-1bf6-4417-b4a9-02cb8827630e" providerId="ADAL" clId="{857BC41E-A371-448C-9B0F-48FE52EEF25B}" dt="2025-04-22T12:50:27.209" v="7517" actId="14100"/>
          <ac:picMkLst>
            <pc:docMk/>
            <pc:sldMk cId="2483803822" sldId="2134805989"/>
            <ac:picMk id="43" creationId="{B97D9364-19A5-A712-198A-A50E313E991A}"/>
          </ac:picMkLst>
        </pc:picChg>
      </pc:sldChg>
      <pc:sldChg chg="addSp delSp modSp mod">
        <pc:chgData name="Jacobo de Nicolás Nuñez" userId="7c6829d1-1bf6-4417-b4a9-02cb8827630e" providerId="ADAL" clId="{857BC41E-A371-448C-9B0F-48FE52EEF25B}" dt="2025-04-22T12:23:35.364" v="7247" actId="1076"/>
        <pc:sldMkLst>
          <pc:docMk/>
          <pc:sldMk cId="437238162" sldId="2134805990"/>
        </pc:sldMkLst>
        <pc:spChg chg="mod ord">
          <ac:chgData name="Jacobo de Nicolás Nuñez" userId="7c6829d1-1bf6-4417-b4a9-02cb8827630e" providerId="ADAL" clId="{857BC41E-A371-448C-9B0F-48FE52EEF25B}" dt="2025-04-15T13:27:41.792" v="4057"/>
          <ac:spMkLst>
            <pc:docMk/>
            <pc:sldMk cId="437238162" sldId="2134805990"/>
            <ac:spMk id="3" creationId="{C8E17898-DA7D-93F1-1185-927716BB811A}"/>
          </ac:spMkLst>
        </pc:spChg>
        <pc:spChg chg="mod ord">
          <ac:chgData name="Jacobo de Nicolás Nuñez" userId="7c6829d1-1bf6-4417-b4a9-02cb8827630e" providerId="ADAL" clId="{857BC41E-A371-448C-9B0F-48FE52EEF25B}" dt="2025-04-15T13:27:41.807" v="4061"/>
          <ac:spMkLst>
            <pc:docMk/>
            <pc:sldMk cId="437238162" sldId="2134805990"/>
            <ac:spMk id="4" creationId="{0BE2B642-5FE0-8DC4-4FBD-D3363E742381}"/>
          </ac:spMkLst>
        </pc:spChg>
        <pc:spChg chg="mod ord">
          <ac:chgData name="Jacobo de Nicolás Nuñez" userId="7c6829d1-1bf6-4417-b4a9-02cb8827630e" providerId="ADAL" clId="{857BC41E-A371-448C-9B0F-48FE52EEF25B}" dt="2025-04-15T13:27:41.807" v="4059"/>
          <ac:spMkLst>
            <pc:docMk/>
            <pc:sldMk cId="437238162" sldId="2134805990"/>
            <ac:spMk id="6" creationId="{78AF93A7-7FED-145D-B3A0-1BE92C07B25C}"/>
          </ac:spMkLst>
        </pc:spChg>
        <pc:spChg chg="mod ord">
          <ac:chgData name="Jacobo de Nicolás Nuñez" userId="7c6829d1-1bf6-4417-b4a9-02cb8827630e" providerId="ADAL" clId="{857BC41E-A371-448C-9B0F-48FE52EEF25B}" dt="2025-04-15T13:27:41.807" v="4065"/>
          <ac:spMkLst>
            <pc:docMk/>
            <pc:sldMk cId="437238162" sldId="2134805990"/>
            <ac:spMk id="10" creationId="{76865DA5-7FAD-7C9C-2FCE-9DDB8CB80A9D}"/>
          </ac:spMkLst>
        </pc:spChg>
        <pc:spChg chg="mod ord">
          <ac:chgData name="Jacobo de Nicolás Nuñez" userId="7c6829d1-1bf6-4417-b4a9-02cb8827630e" providerId="ADAL" clId="{857BC41E-A371-448C-9B0F-48FE52EEF25B}" dt="2025-04-15T13:27:41.807" v="4067"/>
          <ac:spMkLst>
            <pc:docMk/>
            <pc:sldMk cId="437238162" sldId="2134805990"/>
            <ac:spMk id="11" creationId="{69C15E55-9C99-AC93-7BC9-3A1B31F0990B}"/>
          </ac:spMkLst>
        </pc:spChg>
        <pc:spChg chg="mod ord">
          <ac:chgData name="Jacobo de Nicolás Nuñez" userId="7c6829d1-1bf6-4417-b4a9-02cb8827630e" providerId="ADAL" clId="{857BC41E-A371-448C-9B0F-48FE52EEF25B}" dt="2025-04-16T08:17:49.207" v="4777" actId="1076"/>
          <ac:spMkLst>
            <pc:docMk/>
            <pc:sldMk cId="437238162" sldId="2134805990"/>
            <ac:spMk id="12" creationId="{7C03755F-8F54-7389-29E8-00933D32AF72}"/>
          </ac:spMkLst>
        </pc:spChg>
        <pc:spChg chg="mod ord">
          <ac:chgData name="Jacobo de Nicolás Nuñez" userId="7c6829d1-1bf6-4417-b4a9-02cb8827630e" providerId="ADAL" clId="{857BC41E-A371-448C-9B0F-48FE52EEF25B}" dt="2025-04-15T13:27:41.807" v="4071"/>
          <ac:spMkLst>
            <pc:docMk/>
            <pc:sldMk cId="437238162" sldId="2134805990"/>
            <ac:spMk id="13" creationId="{D1198A75-FB9C-F2C7-32B2-B544CFB75220}"/>
          </ac:spMkLst>
        </pc:spChg>
        <pc:spChg chg="mod ord">
          <ac:chgData name="Jacobo de Nicolás Nuñez" userId="7c6829d1-1bf6-4417-b4a9-02cb8827630e" providerId="ADAL" clId="{857BC41E-A371-448C-9B0F-48FE52EEF25B}" dt="2025-04-15T13:27:41.807" v="4073"/>
          <ac:spMkLst>
            <pc:docMk/>
            <pc:sldMk cId="437238162" sldId="2134805990"/>
            <ac:spMk id="15" creationId="{9E211E7B-EA3A-97A3-E975-849D57CE2389}"/>
          </ac:spMkLst>
        </pc:spChg>
        <pc:spChg chg="mod ord">
          <ac:chgData name="Jacobo de Nicolás Nuñez" userId="7c6829d1-1bf6-4417-b4a9-02cb8827630e" providerId="ADAL" clId="{857BC41E-A371-448C-9B0F-48FE52EEF25B}" dt="2025-04-15T13:27:41.807" v="4075"/>
          <ac:spMkLst>
            <pc:docMk/>
            <pc:sldMk cId="437238162" sldId="2134805990"/>
            <ac:spMk id="16" creationId="{39B12FA6-BF12-A22F-E333-D857F70E50C7}"/>
          </ac:spMkLst>
        </pc:spChg>
        <pc:graphicFrameChg chg="mod">
          <ac:chgData name="Jacobo de Nicolás Nuñez" userId="7c6829d1-1bf6-4417-b4a9-02cb8827630e" providerId="ADAL" clId="{857BC41E-A371-448C-9B0F-48FE52EEF25B}" dt="2025-04-15T13:27:41.807" v="4077"/>
          <ac:graphicFrameMkLst>
            <pc:docMk/>
            <pc:sldMk cId="437238162" sldId="2134805990"/>
            <ac:graphicFrameMk id="18" creationId="{F4B552E2-A1F9-8677-B21E-95FB1FEDAB30}"/>
          </ac:graphicFrameMkLst>
        </pc:graphicFrameChg>
        <pc:picChg chg="add mod ord">
          <ac:chgData name="Jacobo de Nicolás Nuñez" userId="7c6829d1-1bf6-4417-b4a9-02cb8827630e" providerId="ADAL" clId="{857BC41E-A371-448C-9B0F-48FE52EEF25B}" dt="2025-04-22T12:23:31.714" v="7246" actId="1076"/>
          <ac:picMkLst>
            <pc:docMk/>
            <pc:sldMk cId="437238162" sldId="2134805990"/>
            <ac:picMk id="5" creationId="{5CDF34A5-7D6F-1BAB-1C0B-4EE99C20DF9F}"/>
          </ac:picMkLst>
        </pc:picChg>
        <pc:picChg chg="mod ord">
          <ac:chgData name="Jacobo de Nicolás Nuñez" userId="7c6829d1-1bf6-4417-b4a9-02cb8827630e" providerId="ADAL" clId="{857BC41E-A371-448C-9B0F-48FE52EEF25B}" dt="2025-04-22T12:19:14.100" v="7207" actId="1076"/>
          <ac:picMkLst>
            <pc:docMk/>
            <pc:sldMk cId="437238162" sldId="2134805990"/>
            <ac:picMk id="8" creationId="{97D538B2-1225-C7F7-2951-13E206BCBA69}"/>
          </ac:picMkLst>
        </pc:picChg>
        <pc:picChg chg="add mod ord">
          <ac:chgData name="Jacobo de Nicolás Nuñez" userId="7c6829d1-1bf6-4417-b4a9-02cb8827630e" providerId="ADAL" clId="{857BC41E-A371-448C-9B0F-48FE52EEF25B}" dt="2025-04-22T12:19:14.100" v="7207" actId="1076"/>
          <ac:picMkLst>
            <pc:docMk/>
            <pc:sldMk cId="437238162" sldId="2134805990"/>
            <ac:picMk id="9" creationId="{42F0E302-FA59-69C5-80EE-49D3CF84A454}"/>
          </ac:picMkLst>
        </pc:picChg>
        <pc:picChg chg="mod ord">
          <ac:chgData name="Jacobo de Nicolás Nuñez" userId="7c6829d1-1bf6-4417-b4a9-02cb8827630e" providerId="ADAL" clId="{857BC41E-A371-448C-9B0F-48FE52EEF25B}" dt="2025-04-22T12:18:53.268" v="7204" actId="14100"/>
          <ac:picMkLst>
            <pc:docMk/>
            <pc:sldMk cId="437238162" sldId="2134805990"/>
            <ac:picMk id="14" creationId="{FC7078D4-D72D-2A6C-AB70-0ACDF670B908}"/>
          </ac:picMkLst>
        </pc:picChg>
        <pc:picChg chg="add mod ord">
          <ac:chgData name="Jacobo de Nicolás Nuñez" userId="7c6829d1-1bf6-4417-b4a9-02cb8827630e" providerId="ADAL" clId="{857BC41E-A371-448C-9B0F-48FE52EEF25B}" dt="2025-04-22T12:23:35.364" v="7247" actId="1076"/>
          <ac:picMkLst>
            <pc:docMk/>
            <pc:sldMk cId="437238162" sldId="2134805990"/>
            <ac:picMk id="19" creationId="{8D7C68DA-06AD-0E4D-5E2B-66579E0F3794}"/>
          </ac:picMkLst>
        </pc:picChg>
      </pc:sldChg>
      <pc:sldChg chg="addSp delSp modSp mod">
        <pc:chgData name="Jacobo de Nicolás Nuñez" userId="7c6829d1-1bf6-4417-b4a9-02cb8827630e" providerId="ADAL" clId="{857BC41E-A371-448C-9B0F-48FE52EEF25B}" dt="2025-04-22T13:09:21.111" v="8046"/>
        <pc:sldMkLst>
          <pc:docMk/>
          <pc:sldMk cId="2897335782" sldId="2134805995"/>
        </pc:sldMkLst>
        <pc:spChg chg="mod ord">
          <ac:chgData name="Jacobo de Nicolás Nuñez" userId="7c6829d1-1bf6-4417-b4a9-02cb8827630e" providerId="ADAL" clId="{857BC41E-A371-448C-9B0F-48FE52EEF25B}" dt="2025-04-22T13:09:21.111" v="8022"/>
          <ac:spMkLst>
            <pc:docMk/>
            <pc:sldMk cId="2897335782" sldId="2134805995"/>
            <ac:spMk id="2" creationId="{08997DA8-F87A-C952-4824-EAC36E70C3E6}"/>
          </ac:spMkLst>
        </pc:spChg>
        <pc:spChg chg="mod ord">
          <ac:chgData name="Jacobo de Nicolás Nuñez" userId="7c6829d1-1bf6-4417-b4a9-02cb8827630e" providerId="ADAL" clId="{857BC41E-A371-448C-9B0F-48FE52EEF25B}" dt="2025-04-22T13:09:21.111" v="8020"/>
          <ac:spMkLst>
            <pc:docMk/>
            <pc:sldMk cId="2897335782" sldId="2134805995"/>
            <ac:spMk id="6" creationId="{8304188E-AF24-A51E-41DD-5C0C9E5A5EA2}"/>
          </ac:spMkLst>
        </pc:spChg>
        <pc:spChg chg="mod ord">
          <ac:chgData name="Jacobo de Nicolás Nuñez" userId="7c6829d1-1bf6-4417-b4a9-02cb8827630e" providerId="ADAL" clId="{857BC41E-A371-448C-9B0F-48FE52EEF25B}" dt="2025-04-22T13:09:21.111" v="8024"/>
          <ac:spMkLst>
            <pc:docMk/>
            <pc:sldMk cId="2897335782" sldId="2134805995"/>
            <ac:spMk id="10" creationId="{336F7C82-4518-DDD3-13C6-4224F6E8D999}"/>
          </ac:spMkLst>
        </pc:spChg>
        <pc:spChg chg="mod ord">
          <ac:chgData name="Jacobo de Nicolás Nuñez" userId="7c6829d1-1bf6-4417-b4a9-02cb8827630e" providerId="ADAL" clId="{857BC41E-A371-448C-9B0F-48FE52EEF25B}" dt="2025-04-22T13:09:21.111" v="8026"/>
          <ac:spMkLst>
            <pc:docMk/>
            <pc:sldMk cId="2897335782" sldId="2134805995"/>
            <ac:spMk id="11" creationId="{83BFBA18-C563-02CE-9B4E-C3E076268A58}"/>
          </ac:spMkLst>
        </pc:spChg>
        <pc:spChg chg="mod ord">
          <ac:chgData name="Jacobo de Nicolás Nuñez" userId="7c6829d1-1bf6-4417-b4a9-02cb8827630e" providerId="ADAL" clId="{857BC41E-A371-448C-9B0F-48FE52EEF25B}" dt="2025-04-22T13:09:21.111" v="8028"/>
          <ac:spMkLst>
            <pc:docMk/>
            <pc:sldMk cId="2897335782" sldId="2134805995"/>
            <ac:spMk id="12" creationId="{2A7D4878-1147-AA4F-22E2-E7D07678FC8E}"/>
          </ac:spMkLst>
        </pc:spChg>
        <pc:spChg chg="mod ord">
          <ac:chgData name="Jacobo de Nicolás Nuñez" userId="7c6829d1-1bf6-4417-b4a9-02cb8827630e" providerId="ADAL" clId="{857BC41E-A371-448C-9B0F-48FE52EEF25B}" dt="2025-04-22T13:09:21.111" v="8018"/>
          <ac:spMkLst>
            <pc:docMk/>
            <pc:sldMk cId="2897335782" sldId="2134805995"/>
            <ac:spMk id="13" creationId="{9C83B014-365B-CE5F-61B1-D0323B12113D}"/>
          </ac:spMkLst>
        </pc:spChg>
        <pc:spChg chg="mod ord">
          <ac:chgData name="Jacobo de Nicolás Nuñez" userId="7c6829d1-1bf6-4417-b4a9-02cb8827630e" providerId="ADAL" clId="{857BC41E-A371-448C-9B0F-48FE52EEF25B}" dt="2025-04-22T13:09:21.111" v="8030"/>
          <ac:spMkLst>
            <pc:docMk/>
            <pc:sldMk cId="2897335782" sldId="2134805995"/>
            <ac:spMk id="14" creationId="{4750343A-111B-7493-6D8B-C18EFA6F308F}"/>
          </ac:spMkLst>
        </pc:spChg>
        <pc:spChg chg="mod ord">
          <ac:chgData name="Jacobo de Nicolás Nuñez" userId="7c6829d1-1bf6-4417-b4a9-02cb8827630e" providerId="ADAL" clId="{857BC41E-A371-448C-9B0F-48FE52EEF25B}" dt="2025-04-22T13:09:21.111" v="8032"/>
          <ac:spMkLst>
            <pc:docMk/>
            <pc:sldMk cId="2897335782" sldId="2134805995"/>
            <ac:spMk id="15" creationId="{ED21DB1C-E7DC-BCA9-ECE7-EA9F8666D9F3}"/>
          </ac:spMkLst>
        </pc:spChg>
        <pc:spChg chg="mod ord">
          <ac:chgData name="Jacobo de Nicolás Nuñez" userId="7c6829d1-1bf6-4417-b4a9-02cb8827630e" providerId="ADAL" clId="{857BC41E-A371-448C-9B0F-48FE52EEF25B}" dt="2025-04-22T13:09:21.111" v="8034"/>
          <ac:spMkLst>
            <pc:docMk/>
            <pc:sldMk cId="2897335782" sldId="2134805995"/>
            <ac:spMk id="16" creationId="{B832D57B-4D12-55EA-9B78-47D0312FA7B6}"/>
          </ac:spMkLst>
        </pc:spChg>
        <pc:spChg chg="mod ord">
          <ac:chgData name="Jacobo de Nicolás Nuñez" userId="7c6829d1-1bf6-4417-b4a9-02cb8827630e" providerId="ADAL" clId="{857BC41E-A371-448C-9B0F-48FE52EEF25B}" dt="2025-04-22T13:09:21.111" v="8036"/>
          <ac:spMkLst>
            <pc:docMk/>
            <pc:sldMk cId="2897335782" sldId="2134805995"/>
            <ac:spMk id="17" creationId="{6DFB5AB2-6396-5533-5BD3-D1554695800E}"/>
          </ac:spMkLst>
        </pc:spChg>
        <pc:spChg chg="mod ord">
          <ac:chgData name="Jacobo de Nicolás Nuñez" userId="7c6829d1-1bf6-4417-b4a9-02cb8827630e" providerId="ADAL" clId="{857BC41E-A371-448C-9B0F-48FE52EEF25B}" dt="2025-04-22T13:09:21.111" v="8038"/>
          <ac:spMkLst>
            <pc:docMk/>
            <pc:sldMk cId="2897335782" sldId="2134805995"/>
            <ac:spMk id="18" creationId="{12C5673D-1A09-AA8D-9610-CE14C31F3BA8}"/>
          </ac:spMkLst>
        </pc:spChg>
        <pc:spChg chg="mod ord">
          <ac:chgData name="Jacobo de Nicolás Nuñez" userId="7c6829d1-1bf6-4417-b4a9-02cb8827630e" providerId="ADAL" clId="{857BC41E-A371-448C-9B0F-48FE52EEF25B}" dt="2025-04-22T13:09:21.111" v="8040"/>
          <ac:spMkLst>
            <pc:docMk/>
            <pc:sldMk cId="2897335782" sldId="2134805995"/>
            <ac:spMk id="19" creationId="{FD77C227-3790-C86A-E80D-2A11FABD4A91}"/>
          </ac:spMkLst>
        </pc:spChg>
        <pc:spChg chg="mod ord">
          <ac:chgData name="Jacobo de Nicolás Nuñez" userId="7c6829d1-1bf6-4417-b4a9-02cb8827630e" providerId="ADAL" clId="{857BC41E-A371-448C-9B0F-48FE52EEF25B}" dt="2025-04-22T13:09:21.111" v="8042"/>
          <ac:spMkLst>
            <pc:docMk/>
            <pc:sldMk cId="2897335782" sldId="2134805995"/>
            <ac:spMk id="20" creationId="{6561B6A1-1939-296E-587F-A0C4B082C2ED}"/>
          </ac:spMkLst>
        </pc:spChg>
        <pc:spChg chg="mod ord">
          <ac:chgData name="Jacobo de Nicolás Nuñez" userId="7c6829d1-1bf6-4417-b4a9-02cb8827630e" providerId="ADAL" clId="{857BC41E-A371-448C-9B0F-48FE52EEF25B}" dt="2025-04-22T13:09:21.111" v="8044"/>
          <ac:spMkLst>
            <pc:docMk/>
            <pc:sldMk cId="2897335782" sldId="2134805995"/>
            <ac:spMk id="21" creationId="{F2AC6D33-F308-AF30-0476-6C42045226A5}"/>
          </ac:spMkLst>
        </pc:spChg>
        <pc:spChg chg="mod ord">
          <ac:chgData name="Jacobo de Nicolás Nuñez" userId="7c6829d1-1bf6-4417-b4a9-02cb8827630e" providerId="ADAL" clId="{857BC41E-A371-448C-9B0F-48FE52EEF25B}" dt="2025-04-22T13:09:21.111" v="8016"/>
          <ac:spMkLst>
            <pc:docMk/>
            <pc:sldMk cId="2897335782" sldId="2134805995"/>
            <ac:spMk id="71" creationId="{2AD15FC7-13C1-7EAF-160A-6AFB645E257B}"/>
          </ac:spMkLst>
        </pc:spChg>
        <pc:graphicFrameChg chg="add mod ord modVis">
          <ac:chgData name="Jacobo de Nicolás Nuñez" userId="7c6829d1-1bf6-4417-b4a9-02cb8827630e" providerId="ADAL" clId="{857BC41E-A371-448C-9B0F-48FE52EEF25B}" dt="2025-04-22T13:09:21.111" v="8046"/>
          <ac:graphicFrameMkLst>
            <pc:docMk/>
            <pc:sldMk cId="2897335782" sldId="2134805995"/>
            <ac:graphicFrameMk id="5" creationId="{D5B3AFA1-0E9F-ED57-AC69-D11299971324}"/>
          </ac:graphicFrameMkLst>
        </pc:graphicFrameChg>
        <pc:picChg chg="add mod ord">
          <ac:chgData name="Jacobo de Nicolás Nuñez" userId="7c6829d1-1bf6-4417-b4a9-02cb8827630e" providerId="ADAL" clId="{857BC41E-A371-448C-9B0F-48FE52EEF25B}" dt="2025-04-22T13:09:21.095" v="7994"/>
          <ac:picMkLst>
            <pc:docMk/>
            <pc:sldMk cId="2897335782" sldId="2134805995"/>
            <ac:picMk id="3" creationId="{95EB36D5-F0CC-C898-3029-B266CF8A0DED}"/>
          </ac:picMkLst>
        </pc:picChg>
        <pc:picChg chg="add mod ord">
          <ac:chgData name="Jacobo de Nicolás Nuñez" userId="7c6829d1-1bf6-4417-b4a9-02cb8827630e" providerId="ADAL" clId="{857BC41E-A371-448C-9B0F-48FE52EEF25B}" dt="2025-04-22T13:09:21.095" v="7996"/>
          <ac:picMkLst>
            <pc:docMk/>
            <pc:sldMk cId="2897335782" sldId="2134805995"/>
            <ac:picMk id="4" creationId="{2C397737-109B-86AD-0D21-BB42AE931B13}"/>
          </ac:picMkLst>
        </pc:picChg>
        <pc:picChg chg="mod ord">
          <ac:chgData name="Jacobo de Nicolás Nuñez" userId="7c6829d1-1bf6-4417-b4a9-02cb8827630e" providerId="ADAL" clId="{857BC41E-A371-448C-9B0F-48FE52EEF25B}" dt="2025-04-22T13:09:21.095" v="8004"/>
          <ac:picMkLst>
            <pc:docMk/>
            <pc:sldMk cId="2897335782" sldId="2134805995"/>
            <ac:picMk id="37" creationId="{D1EE6E9B-3A50-7E4D-026C-7B277D793DF4}"/>
          </ac:picMkLst>
        </pc:picChg>
        <pc:picChg chg="mod ord">
          <ac:chgData name="Jacobo de Nicolás Nuñez" userId="7c6829d1-1bf6-4417-b4a9-02cb8827630e" providerId="ADAL" clId="{857BC41E-A371-448C-9B0F-48FE52EEF25B}" dt="2025-04-22T13:09:21.111" v="8006"/>
          <ac:picMkLst>
            <pc:docMk/>
            <pc:sldMk cId="2897335782" sldId="2134805995"/>
            <ac:picMk id="38" creationId="{96CFC8EA-1AA0-70DF-9744-22A0EDF6EF38}"/>
          </ac:picMkLst>
        </pc:picChg>
        <pc:picChg chg="mod ord">
          <ac:chgData name="Jacobo de Nicolás Nuñez" userId="7c6829d1-1bf6-4417-b4a9-02cb8827630e" providerId="ADAL" clId="{857BC41E-A371-448C-9B0F-48FE52EEF25B}" dt="2025-04-22T13:09:21.111" v="8008"/>
          <ac:picMkLst>
            <pc:docMk/>
            <pc:sldMk cId="2897335782" sldId="2134805995"/>
            <ac:picMk id="39" creationId="{884213EE-C1B0-36C7-3DA4-B7B3AA0623E9}"/>
          </ac:picMkLst>
        </pc:picChg>
        <pc:picChg chg="mod ord">
          <ac:chgData name="Jacobo de Nicolás Nuñez" userId="7c6829d1-1bf6-4417-b4a9-02cb8827630e" providerId="ADAL" clId="{857BC41E-A371-448C-9B0F-48FE52EEF25B}" dt="2025-04-22T13:09:21.111" v="8010"/>
          <ac:picMkLst>
            <pc:docMk/>
            <pc:sldMk cId="2897335782" sldId="2134805995"/>
            <ac:picMk id="40" creationId="{DE99A9D0-AD6B-94CF-EC56-4125CE7EE7CE}"/>
          </ac:picMkLst>
        </pc:picChg>
        <pc:picChg chg="mod ord">
          <ac:chgData name="Jacobo de Nicolás Nuñez" userId="7c6829d1-1bf6-4417-b4a9-02cb8827630e" providerId="ADAL" clId="{857BC41E-A371-448C-9B0F-48FE52EEF25B}" dt="2025-04-22T13:09:21.111" v="8012"/>
          <ac:picMkLst>
            <pc:docMk/>
            <pc:sldMk cId="2897335782" sldId="2134805995"/>
            <ac:picMk id="41" creationId="{88BA09FF-EFAA-3587-393F-92226FCBFA6C}"/>
          </ac:picMkLst>
        </pc:picChg>
        <pc:picChg chg="mod ord">
          <ac:chgData name="Jacobo de Nicolás Nuñez" userId="7c6829d1-1bf6-4417-b4a9-02cb8827630e" providerId="ADAL" clId="{857BC41E-A371-448C-9B0F-48FE52EEF25B}" dt="2025-04-22T13:09:21.111" v="8014"/>
          <ac:picMkLst>
            <pc:docMk/>
            <pc:sldMk cId="2897335782" sldId="2134805995"/>
            <ac:picMk id="42" creationId="{BDCA1807-A3C7-B085-1E36-48FE9FD76BA9}"/>
          </ac:picMkLst>
        </pc:picChg>
        <pc:picChg chg="mod ord">
          <ac:chgData name="Jacobo de Nicolás Nuñez" userId="7c6829d1-1bf6-4417-b4a9-02cb8827630e" providerId="ADAL" clId="{857BC41E-A371-448C-9B0F-48FE52EEF25B}" dt="2025-04-22T13:09:21.095" v="7998"/>
          <ac:picMkLst>
            <pc:docMk/>
            <pc:sldMk cId="2897335782" sldId="2134805995"/>
            <ac:picMk id="44" creationId="{3AEC9C1A-770A-8012-31F7-0736A9FFE7B9}"/>
          </ac:picMkLst>
        </pc:picChg>
        <pc:picChg chg="mod ord">
          <ac:chgData name="Jacobo de Nicolás Nuñez" userId="7c6829d1-1bf6-4417-b4a9-02cb8827630e" providerId="ADAL" clId="{857BC41E-A371-448C-9B0F-48FE52EEF25B}" dt="2025-04-22T13:09:21.095" v="8000"/>
          <ac:picMkLst>
            <pc:docMk/>
            <pc:sldMk cId="2897335782" sldId="2134805995"/>
            <ac:picMk id="45" creationId="{8533EFF4-CCAB-E274-CB1C-B04B36433F0E}"/>
          </ac:picMkLst>
        </pc:picChg>
        <pc:picChg chg="mod ord">
          <ac:chgData name="Jacobo de Nicolás Nuñez" userId="7c6829d1-1bf6-4417-b4a9-02cb8827630e" providerId="ADAL" clId="{857BC41E-A371-448C-9B0F-48FE52EEF25B}" dt="2025-04-22T13:09:21.095" v="8002"/>
          <ac:picMkLst>
            <pc:docMk/>
            <pc:sldMk cId="2897335782" sldId="2134805995"/>
            <ac:picMk id="46" creationId="{24DB8273-882C-4E8A-31EA-D4DEAF605961}"/>
          </ac:picMkLst>
        </pc:picChg>
      </pc:sldChg>
      <pc:sldChg chg="addSp delSp modSp mod">
        <pc:chgData name="Jacobo de Nicolás Nuñez" userId="7c6829d1-1bf6-4417-b4a9-02cb8827630e" providerId="ADAL" clId="{857BC41E-A371-448C-9B0F-48FE52EEF25B}" dt="2025-04-22T13:49:38.821" v="8515"/>
        <pc:sldMkLst>
          <pc:docMk/>
          <pc:sldMk cId="1104744956" sldId="2134805998"/>
        </pc:sldMkLst>
        <pc:spChg chg="mod ord">
          <ac:chgData name="Jacobo de Nicolás Nuñez" userId="7c6829d1-1bf6-4417-b4a9-02cb8827630e" providerId="ADAL" clId="{857BC41E-A371-448C-9B0F-48FE52EEF25B}" dt="2025-04-22T13:49:38.806" v="8489"/>
          <ac:spMkLst>
            <pc:docMk/>
            <pc:sldMk cId="1104744956" sldId="2134805998"/>
            <ac:spMk id="2" creationId="{AB746150-F1AC-7811-88C2-7D46ABC1F794}"/>
          </ac:spMkLst>
        </pc:spChg>
        <pc:spChg chg="mod ord">
          <ac:chgData name="Jacobo de Nicolás Nuñez" userId="7c6829d1-1bf6-4417-b4a9-02cb8827630e" providerId="ADAL" clId="{857BC41E-A371-448C-9B0F-48FE52EEF25B}" dt="2025-04-22T13:49:38.806" v="8479"/>
          <ac:spMkLst>
            <pc:docMk/>
            <pc:sldMk cId="1104744956" sldId="2134805998"/>
            <ac:spMk id="3" creationId="{F05BB0ED-AC30-1D72-C29B-63AC7ACFAA1E}"/>
          </ac:spMkLst>
        </pc:spChg>
        <pc:spChg chg="mod ord">
          <ac:chgData name="Jacobo de Nicolás Nuñez" userId="7c6829d1-1bf6-4417-b4a9-02cb8827630e" providerId="ADAL" clId="{857BC41E-A371-448C-9B0F-48FE52EEF25B}" dt="2025-04-22T13:49:38.790" v="8473"/>
          <ac:spMkLst>
            <pc:docMk/>
            <pc:sldMk cId="1104744956" sldId="2134805998"/>
            <ac:spMk id="4" creationId="{BD4B03E2-0D83-3272-E83A-720693C13A82}"/>
          </ac:spMkLst>
        </pc:spChg>
        <pc:spChg chg="mod ord">
          <ac:chgData name="Jacobo de Nicolás Nuñez" userId="7c6829d1-1bf6-4417-b4a9-02cb8827630e" providerId="ADAL" clId="{857BC41E-A371-448C-9B0F-48FE52EEF25B}" dt="2025-04-22T13:49:38.806" v="8491"/>
          <ac:spMkLst>
            <pc:docMk/>
            <pc:sldMk cId="1104744956" sldId="2134805998"/>
            <ac:spMk id="5" creationId="{94F5F401-4C09-E954-1739-429EAA66D71F}"/>
          </ac:spMkLst>
        </pc:spChg>
        <pc:spChg chg="mod ord">
          <ac:chgData name="Jacobo de Nicolás Nuñez" userId="7c6829d1-1bf6-4417-b4a9-02cb8827630e" providerId="ADAL" clId="{857BC41E-A371-448C-9B0F-48FE52EEF25B}" dt="2025-04-22T13:49:38.806" v="8481"/>
          <ac:spMkLst>
            <pc:docMk/>
            <pc:sldMk cId="1104744956" sldId="2134805998"/>
            <ac:spMk id="6" creationId="{5F07C0A6-EE49-659F-118F-45A35A0D976B}"/>
          </ac:spMkLst>
        </pc:spChg>
        <pc:spChg chg="mod ord">
          <ac:chgData name="Jacobo de Nicolás Nuñez" userId="7c6829d1-1bf6-4417-b4a9-02cb8827630e" providerId="ADAL" clId="{857BC41E-A371-448C-9B0F-48FE52EEF25B}" dt="2025-04-22T13:49:38.806" v="8493"/>
          <ac:spMkLst>
            <pc:docMk/>
            <pc:sldMk cId="1104744956" sldId="2134805998"/>
            <ac:spMk id="7" creationId="{2BFCBF4A-6675-099A-5E74-DA3B5350C1B8}"/>
          </ac:spMkLst>
        </pc:spChg>
        <pc:spChg chg="mod ord">
          <ac:chgData name="Jacobo de Nicolás Nuñez" userId="7c6829d1-1bf6-4417-b4a9-02cb8827630e" providerId="ADAL" clId="{857BC41E-A371-448C-9B0F-48FE52EEF25B}" dt="2025-04-22T13:49:38.790" v="8475"/>
          <ac:spMkLst>
            <pc:docMk/>
            <pc:sldMk cId="1104744956" sldId="2134805998"/>
            <ac:spMk id="8" creationId="{A04571F0-1BAC-28B7-7462-C3A4ABD9ECB5}"/>
          </ac:spMkLst>
        </pc:spChg>
        <pc:spChg chg="mod ord">
          <ac:chgData name="Jacobo de Nicolás Nuñez" userId="7c6829d1-1bf6-4417-b4a9-02cb8827630e" providerId="ADAL" clId="{857BC41E-A371-448C-9B0F-48FE52EEF25B}" dt="2025-04-22T13:49:38.806" v="8495"/>
          <ac:spMkLst>
            <pc:docMk/>
            <pc:sldMk cId="1104744956" sldId="2134805998"/>
            <ac:spMk id="9" creationId="{FA9449C1-A6F2-61B8-D5D1-31DC0C841929}"/>
          </ac:spMkLst>
        </pc:spChg>
        <pc:spChg chg="mod ord">
          <ac:chgData name="Jacobo de Nicolás Nuñez" userId="7c6829d1-1bf6-4417-b4a9-02cb8827630e" providerId="ADAL" clId="{857BC41E-A371-448C-9B0F-48FE52EEF25B}" dt="2025-04-22T13:49:38.806" v="8487"/>
          <ac:spMkLst>
            <pc:docMk/>
            <pc:sldMk cId="1104744956" sldId="2134805998"/>
            <ac:spMk id="10" creationId="{4AC399DE-D4E4-C4AF-59E7-215433152576}"/>
          </ac:spMkLst>
        </pc:spChg>
        <pc:spChg chg="mod ord">
          <ac:chgData name="Jacobo de Nicolás Nuñez" userId="7c6829d1-1bf6-4417-b4a9-02cb8827630e" providerId="ADAL" clId="{857BC41E-A371-448C-9B0F-48FE52EEF25B}" dt="2025-04-22T13:49:38.806" v="8497"/>
          <ac:spMkLst>
            <pc:docMk/>
            <pc:sldMk cId="1104744956" sldId="2134805998"/>
            <ac:spMk id="12" creationId="{5AAA6515-6968-1541-7BD7-EC3605CE65D5}"/>
          </ac:spMkLst>
        </pc:spChg>
        <pc:spChg chg="mod ord">
          <ac:chgData name="Jacobo de Nicolás Nuñez" userId="7c6829d1-1bf6-4417-b4a9-02cb8827630e" providerId="ADAL" clId="{857BC41E-A371-448C-9B0F-48FE52EEF25B}" dt="2025-04-22T13:49:38.806" v="8499"/>
          <ac:spMkLst>
            <pc:docMk/>
            <pc:sldMk cId="1104744956" sldId="2134805998"/>
            <ac:spMk id="14" creationId="{8390C771-887A-6D4D-2CEC-38C531FD173B}"/>
          </ac:spMkLst>
        </pc:spChg>
        <pc:spChg chg="mod ord">
          <ac:chgData name="Jacobo de Nicolás Nuñez" userId="7c6829d1-1bf6-4417-b4a9-02cb8827630e" providerId="ADAL" clId="{857BC41E-A371-448C-9B0F-48FE52EEF25B}" dt="2025-04-22T13:49:38.806" v="8483"/>
          <ac:spMkLst>
            <pc:docMk/>
            <pc:sldMk cId="1104744956" sldId="2134805998"/>
            <ac:spMk id="16" creationId="{2570A031-93E9-0FC4-7EFD-01D8C18ED0BA}"/>
          </ac:spMkLst>
        </pc:spChg>
        <pc:spChg chg="mod ord">
          <ac:chgData name="Jacobo de Nicolás Nuñez" userId="7c6829d1-1bf6-4417-b4a9-02cb8827630e" providerId="ADAL" clId="{857BC41E-A371-448C-9B0F-48FE52EEF25B}" dt="2025-04-22T13:49:38.806" v="8501"/>
          <ac:spMkLst>
            <pc:docMk/>
            <pc:sldMk cId="1104744956" sldId="2134805998"/>
            <ac:spMk id="21" creationId="{CD3A1A8A-D40E-30BD-A702-14FF18883E24}"/>
          </ac:spMkLst>
        </pc:spChg>
        <pc:spChg chg="mod ord">
          <ac:chgData name="Jacobo de Nicolás Nuñez" userId="7c6829d1-1bf6-4417-b4a9-02cb8827630e" providerId="ADAL" clId="{857BC41E-A371-448C-9B0F-48FE52EEF25B}" dt="2025-04-22T13:49:38.806" v="8503"/>
          <ac:spMkLst>
            <pc:docMk/>
            <pc:sldMk cId="1104744956" sldId="2134805998"/>
            <ac:spMk id="24" creationId="{53622911-5942-B771-D06B-19A9FCA61CF2}"/>
          </ac:spMkLst>
        </pc:spChg>
        <pc:spChg chg="mod ord">
          <ac:chgData name="Jacobo de Nicolás Nuñez" userId="7c6829d1-1bf6-4417-b4a9-02cb8827630e" providerId="ADAL" clId="{857BC41E-A371-448C-9B0F-48FE52EEF25B}" dt="2025-04-22T13:49:38.806" v="8505"/>
          <ac:spMkLst>
            <pc:docMk/>
            <pc:sldMk cId="1104744956" sldId="2134805998"/>
            <ac:spMk id="25" creationId="{8D731659-A0E8-E8A5-72C0-FF57E005F930}"/>
          </ac:spMkLst>
        </pc:spChg>
        <pc:spChg chg="mod ord">
          <ac:chgData name="Jacobo de Nicolás Nuñez" userId="7c6829d1-1bf6-4417-b4a9-02cb8827630e" providerId="ADAL" clId="{857BC41E-A371-448C-9B0F-48FE52EEF25B}" dt="2025-04-22T13:49:38.806" v="8507"/>
          <ac:spMkLst>
            <pc:docMk/>
            <pc:sldMk cId="1104744956" sldId="2134805998"/>
            <ac:spMk id="28" creationId="{A0DE5C65-831F-DFAD-1474-A1317167E330}"/>
          </ac:spMkLst>
        </pc:spChg>
        <pc:spChg chg="mod ord">
          <ac:chgData name="Jacobo de Nicolás Nuñez" userId="7c6829d1-1bf6-4417-b4a9-02cb8827630e" providerId="ADAL" clId="{857BC41E-A371-448C-9B0F-48FE52EEF25B}" dt="2025-04-22T13:49:38.806" v="8509"/>
          <ac:spMkLst>
            <pc:docMk/>
            <pc:sldMk cId="1104744956" sldId="2134805998"/>
            <ac:spMk id="29" creationId="{F9ABB660-E323-2E10-159E-515258E24803}"/>
          </ac:spMkLst>
        </pc:spChg>
        <pc:spChg chg="mod ord">
          <ac:chgData name="Jacobo de Nicolás Nuñez" userId="7c6829d1-1bf6-4417-b4a9-02cb8827630e" providerId="ADAL" clId="{857BC41E-A371-448C-9B0F-48FE52EEF25B}" dt="2025-04-22T13:49:38.806" v="8511"/>
          <ac:spMkLst>
            <pc:docMk/>
            <pc:sldMk cId="1104744956" sldId="2134805998"/>
            <ac:spMk id="32" creationId="{994CC8ED-BB7C-7D56-971B-3557A5F823D4}"/>
          </ac:spMkLst>
        </pc:spChg>
        <pc:spChg chg="mod ord">
          <ac:chgData name="Jacobo de Nicolás Nuñez" userId="7c6829d1-1bf6-4417-b4a9-02cb8827630e" providerId="ADAL" clId="{857BC41E-A371-448C-9B0F-48FE52EEF25B}" dt="2025-04-22T13:49:38.821" v="8513"/>
          <ac:spMkLst>
            <pc:docMk/>
            <pc:sldMk cId="1104744956" sldId="2134805998"/>
            <ac:spMk id="33" creationId="{239AE4AA-9728-09F9-DAB4-690778895FF3}"/>
          </ac:spMkLst>
        </pc:spChg>
        <pc:spChg chg="mod ord">
          <ac:chgData name="Jacobo de Nicolás Nuñez" userId="7c6829d1-1bf6-4417-b4a9-02cb8827630e" providerId="ADAL" clId="{857BC41E-A371-448C-9B0F-48FE52EEF25B}" dt="2025-04-22T13:49:38.790" v="8469"/>
          <ac:spMkLst>
            <pc:docMk/>
            <pc:sldMk cId="1104744956" sldId="2134805998"/>
            <ac:spMk id="70" creationId="{806B8040-186A-DF35-242B-F6AD41CEFC9B}"/>
          </ac:spMkLst>
        </pc:spChg>
        <pc:spChg chg="mod ord">
          <ac:chgData name="Jacobo de Nicolás Nuñez" userId="7c6829d1-1bf6-4417-b4a9-02cb8827630e" providerId="ADAL" clId="{857BC41E-A371-448C-9B0F-48FE52EEF25B}" dt="2025-04-22T13:49:38.790" v="8471"/>
          <ac:spMkLst>
            <pc:docMk/>
            <pc:sldMk cId="1104744956" sldId="2134805998"/>
            <ac:spMk id="71" creationId="{2AD15FC7-13C1-7EAF-160A-6AFB645E257B}"/>
          </ac:spMkLst>
        </pc:spChg>
        <pc:grpChg chg="mod ord">
          <ac:chgData name="Jacobo de Nicolás Nuñez" userId="7c6829d1-1bf6-4417-b4a9-02cb8827630e" providerId="ADAL" clId="{857BC41E-A371-448C-9B0F-48FE52EEF25B}" dt="2025-04-22T13:49:38.806" v="8485"/>
          <ac:grpSpMkLst>
            <pc:docMk/>
            <pc:sldMk cId="1104744956" sldId="2134805998"/>
            <ac:grpSpMk id="46" creationId="{CDDE91D7-2B55-70B1-BC77-AD88E56DA54D}"/>
          </ac:grpSpMkLst>
        </pc:grpChg>
        <pc:graphicFrameChg chg="mod">
          <ac:chgData name="Jacobo de Nicolás Nuñez" userId="7c6829d1-1bf6-4417-b4a9-02cb8827630e" providerId="ADAL" clId="{857BC41E-A371-448C-9B0F-48FE52EEF25B}" dt="2025-04-22T13:49:38.821" v="8515"/>
          <ac:graphicFrameMkLst>
            <pc:docMk/>
            <pc:sldMk cId="1104744956" sldId="2134805998"/>
            <ac:graphicFrameMk id="35" creationId="{757ADD02-1EA0-9807-1B42-6C8B503896B0}"/>
          </ac:graphicFrameMkLst>
        </pc:graphicFrameChg>
        <pc:picChg chg="mod ord">
          <ac:chgData name="Jacobo de Nicolás Nuñez" userId="7c6829d1-1bf6-4417-b4a9-02cb8827630e" providerId="ADAL" clId="{857BC41E-A371-448C-9B0F-48FE52EEF25B}" dt="2025-04-22T13:49:38.790" v="8447"/>
          <ac:picMkLst>
            <pc:docMk/>
            <pc:sldMk cId="1104744956" sldId="2134805998"/>
            <ac:picMk id="11" creationId="{8FBA4B79-B122-2831-24C4-42AB93FFA7AB}"/>
          </ac:picMkLst>
        </pc:picChg>
        <pc:picChg chg="mod ord">
          <ac:chgData name="Jacobo de Nicolás Nuñez" userId="7c6829d1-1bf6-4417-b4a9-02cb8827630e" providerId="ADAL" clId="{857BC41E-A371-448C-9B0F-48FE52EEF25B}" dt="2025-04-22T13:49:38.806" v="8477"/>
          <ac:picMkLst>
            <pc:docMk/>
            <pc:sldMk cId="1104744956" sldId="2134805998"/>
            <ac:picMk id="13" creationId="{CCF1FE69-4CF1-B698-939D-37AC9278F7B2}"/>
          </ac:picMkLst>
        </pc:picChg>
        <pc:picChg chg="add mod ord">
          <ac:chgData name="Jacobo de Nicolás Nuñez" userId="7c6829d1-1bf6-4417-b4a9-02cb8827630e" providerId="ADAL" clId="{857BC41E-A371-448C-9B0F-48FE52EEF25B}" dt="2025-04-22T13:49:38.790" v="8465"/>
          <ac:picMkLst>
            <pc:docMk/>
            <pc:sldMk cId="1104744956" sldId="2134805998"/>
            <ac:picMk id="18" creationId="{AC526E6A-A607-340D-BA89-AF01F9E0A53A}"/>
          </ac:picMkLst>
        </pc:picChg>
        <pc:picChg chg="add mod ord">
          <ac:chgData name="Jacobo de Nicolás Nuñez" userId="7c6829d1-1bf6-4417-b4a9-02cb8827630e" providerId="ADAL" clId="{857BC41E-A371-448C-9B0F-48FE52EEF25B}" dt="2025-04-22T13:49:38.790" v="8455"/>
          <ac:picMkLst>
            <pc:docMk/>
            <pc:sldMk cId="1104744956" sldId="2134805998"/>
            <ac:picMk id="19" creationId="{1FB2FB62-ADA7-5737-336E-8465A8090079}"/>
          </ac:picMkLst>
        </pc:picChg>
        <pc:picChg chg="add mod ord">
          <ac:chgData name="Jacobo de Nicolás Nuñez" userId="7c6829d1-1bf6-4417-b4a9-02cb8827630e" providerId="ADAL" clId="{857BC41E-A371-448C-9B0F-48FE52EEF25B}" dt="2025-04-22T13:49:38.790" v="8449"/>
          <ac:picMkLst>
            <pc:docMk/>
            <pc:sldMk cId="1104744956" sldId="2134805998"/>
            <ac:picMk id="20" creationId="{EB21D830-5846-D8BE-68AA-513EBE25BD1C}"/>
          </ac:picMkLst>
        </pc:picChg>
        <pc:picChg chg="add mod ord">
          <ac:chgData name="Jacobo de Nicolás Nuñez" userId="7c6829d1-1bf6-4417-b4a9-02cb8827630e" providerId="ADAL" clId="{857BC41E-A371-448C-9B0F-48FE52EEF25B}" dt="2025-04-22T13:49:38.790" v="8451"/>
          <ac:picMkLst>
            <pc:docMk/>
            <pc:sldMk cId="1104744956" sldId="2134805998"/>
            <ac:picMk id="22" creationId="{F9A2F2E8-410F-F7DF-DBCE-43DBF402DFFA}"/>
          </ac:picMkLst>
        </pc:picChg>
        <pc:picChg chg="add mod ord">
          <ac:chgData name="Jacobo de Nicolás Nuñez" userId="7c6829d1-1bf6-4417-b4a9-02cb8827630e" providerId="ADAL" clId="{857BC41E-A371-448C-9B0F-48FE52EEF25B}" dt="2025-04-22T13:49:38.790" v="8453"/>
          <ac:picMkLst>
            <pc:docMk/>
            <pc:sldMk cId="1104744956" sldId="2134805998"/>
            <ac:picMk id="27" creationId="{B8CAFC52-518A-87D1-1FD5-7BB77E50FD69}"/>
          </ac:picMkLst>
        </pc:picChg>
        <pc:picChg chg="mod ord">
          <ac:chgData name="Jacobo de Nicolás Nuñez" userId="7c6829d1-1bf6-4417-b4a9-02cb8827630e" providerId="ADAL" clId="{857BC41E-A371-448C-9B0F-48FE52EEF25B}" dt="2025-04-22T13:49:38.790" v="8463"/>
          <ac:picMkLst>
            <pc:docMk/>
            <pc:sldMk cId="1104744956" sldId="2134805998"/>
            <ac:picMk id="30" creationId="{211331C7-4C8E-EC6B-9499-336BED4FA3C0}"/>
          </ac:picMkLst>
        </pc:picChg>
        <pc:picChg chg="mod ord">
          <ac:chgData name="Jacobo de Nicolás Nuñez" userId="7c6829d1-1bf6-4417-b4a9-02cb8827630e" providerId="ADAL" clId="{857BC41E-A371-448C-9B0F-48FE52EEF25B}" dt="2025-04-22T13:49:38.790" v="8461"/>
          <ac:picMkLst>
            <pc:docMk/>
            <pc:sldMk cId="1104744956" sldId="2134805998"/>
            <ac:picMk id="37" creationId="{E6870CD6-6BD5-5918-307A-88EC9ACBD382}"/>
          </ac:picMkLst>
        </pc:picChg>
        <pc:picChg chg="mod ord">
          <ac:chgData name="Jacobo de Nicolás Nuñez" userId="7c6829d1-1bf6-4417-b4a9-02cb8827630e" providerId="ADAL" clId="{857BC41E-A371-448C-9B0F-48FE52EEF25B}" dt="2025-04-22T13:49:38.790" v="8459"/>
          <ac:picMkLst>
            <pc:docMk/>
            <pc:sldMk cId="1104744956" sldId="2134805998"/>
            <ac:picMk id="38" creationId="{03828CF2-35FF-3CE7-A94D-6F0359A21940}"/>
          </ac:picMkLst>
        </pc:picChg>
        <pc:picChg chg="mod ord">
          <ac:chgData name="Jacobo de Nicolás Nuñez" userId="7c6829d1-1bf6-4417-b4a9-02cb8827630e" providerId="ADAL" clId="{857BC41E-A371-448C-9B0F-48FE52EEF25B}" dt="2025-04-22T13:49:38.790" v="8457"/>
          <ac:picMkLst>
            <pc:docMk/>
            <pc:sldMk cId="1104744956" sldId="2134805998"/>
            <ac:picMk id="39" creationId="{CD52AD26-E58D-896E-492E-9F4C8D370610}"/>
          </ac:picMkLst>
        </pc:picChg>
        <pc:picChg chg="mod ord">
          <ac:chgData name="Jacobo de Nicolás Nuñez" userId="7c6829d1-1bf6-4417-b4a9-02cb8827630e" providerId="ADAL" clId="{857BC41E-A371-448C-9B0F-48FE52EEF25B}" dt="2025-04-22T13:49:38.790" v="8467"/>
          <ac:picMkLst>
            <pc:docMk/>
            <pc:sldMk cId="1104744956" sldId="2134805998"/>
            <ac:picMk id="40" creationId="{83FD532A-BCC7-59F7-F3DA-E5F93F9BBCAD}"/>
          </ac:picMkLst>
        </pc:picChg>
      </pc:sldChg>
      <pc:sldChg chg="addSp delSp modSp mod">
        <pc:chgData name="Jacobo de Nicolás Nuñez" userId="7c6829d1-1bf6-4417-b4a9-02cb8827630e" providerId="ADAL" clId="{857BC41E-A371-448C-9B0F-48FE52EEF25B}" dt="2025-04-22T13:04:41.018" v="7895" actId="1076"/>
        <pc:sldMkLst>
          <pc:docMk/>
          <pc:sldMk cId="3700847209" sldId="2134805999"/>
        </pc:sldMkLst>
        <pc:spChg chg="mod ord">
          <ac:chgData name="Jacobo de Nicolás Nuñez" userId="7c6829d1-1bf6-4417-b4a9-02cb8827630e" providerId="ADAL" clId="{857BC41E-A371-448C-9B0F-48FE52EEF25B}" dt="2025-04-22T13:04:28.745" v="7869"/>
          <ac:spMkLst>
            <pc:docMk/>
            <pc:sldMk cId="3700847209" sldId="2134805999"/>
            <ac:spMk id="3" creationId="{9BD7C1C6-BB4A-60B4-A6D3-8AB8371F4EEC}"/>
          </ac:spMkLst>
        </pc:spChg>
        <pc:spChg chg="mod ord">
          <ac:chgData name="Jacobo de Nicolás Nuñez" userId="7c6829d1-1bf6-4417-b4a9-02cb8827630e" providerId="ADAL" clId="{857BC41E-A371-448C-9B0F-48FE52EEF25B}" dt="2025-04-22T13:04:28.745" v="7855"/>
          <ac:spMkLst>
            <pc:docMk/>
            <pc:sldMk cId="3700847209" sldId="2134805999"/>
            <ac:spMk id="4" creationId="{989D3FA4-9E9B-53E3-ECA0-DD1B302C80D6}"/>
          </ac:spMkLst>
        </pc:spChg>
        <pc:spChg chg="mod ord">
          <ac:chgData name="Jacobo de Nicolás Nuñez" userId="7c6829d1-1bf6-4417-b4a9-02cb8827630e" providerId="ADAL" clId="{857BC41E-A371-448C-9B0F-48FE52EEF25B}" dt="2025-04-22T13:04:28.745" v="7863"/>
          <ac:spMkLst>
            <pc:docMk/>
            <pc:sldMk cId="3700847209" sldId="2134805999"/>
            <ac:spMk id="5" creationId="{5F187907-EAEB-0AAA-B92B-BF4EB452DB95}"/>
          </ac:spMkLst>
        </pc:spChg>
        <pc:spChg chg="mod ord">
          <ac:chgData name="Jacobo de Nicolás Nuñez" userId="7c6829d1-1bf6-4417-b4a9-02cb8827630e" providerId="ADAL" clId="{857BC41E-A371-448C-9B0F-48FE52EEF25B}" dt="2025-04-22T13:04:28.745" v="7861"/>
          <ac:spMkLst>
            <pc:docMk/>
            <pc:sldMk cId="3700847209" sldId="2134805999"/>
            <ac:spMk id="6" creationId="{8304188E-AF24-A51E-41DD-5C0C9E5A5EA2}"/>
          </ac:spMkLst>
        </pc:spChg>
        <pc:spChg chg="mod ord">
          <ac:chgData name="Jacobo de Nicolás Nuñez" userId="7c6829d1-1bf6-4417-b4a9-02cb8827630e" providerId="ADAL" clId="{857BC41E-A371-448C-9B0F-48FE52EEF25B}" dt="2025-04-22T13:04:28.745" v="7859"/>
          <ac:spMkLst>
            <pc:docMk/>
            <pc:sldMk cId="3700847209" sldId="2134805999"/>
            <ac:spMk id="10" creationId="{4AC399DE-D4E4-C4AF-59E7-215433152576}"/>
          </ac:spMkLst>
        </pc:spChg>
        <pc:spChg chg="mod ord">
          <ac:chgData name="Jacobo de Nicolás Nuñez" userId="7c6829d1-1bf6-4417-b4a9-02cb8827630e" providerId="ADAL" clId="{857BC41E-A371-448C-9B0F-48FE52EEF25B}" dt="2025-04-22T13:04:28.745" v="7871"/>
          <ac:spMkLst>
            <pc:docMk/>
            <pc:sldMk cId="3700847209" sldId="2134805999"/>
            <ac:spMk id="14" creationId="{42E486B0-CF82-370E-A497-1BB316D0FCD4}"/>
          </ac:spMkLst>
        </pc:spChg>
        <pc:spChg chg="mod ord">
          <ac:chgData name="Jacobo de Nicolás Nuñez" userId="7c6829d1-1bf6-4417-b4a9-02cb8827630e" providerId="ADAL" clId="{857BC41E-A371-448C-9B0F-48FE52EEF25B}" dt="2025-04-22T13:04:28.745" v="7873"/>
          <ac:spMkLst>
            <pc:docMk/>
            <pc:sldMk cId="3700847209" sldId="2134805999"/>
            <ac:spMk id="16" creationId="{A050DA49-AB73-B064-F4F7-D6A322FFE884}"/>
          </ac:spMkLst>
        </pc:spChg>
        <pc:spChg chg="mod ord">
          <ac:chgData name="Jacobo de Nicolás Nuñez" userId="7c6829d1-1bf6-4417-b4a9-02cb8827630e" providerId="ADAL" clId="{857BC41E-A371-448C-9B0F-48FE52EEF25B}" dt="2025-04-22T13:04:28.745" v="7875"/>
          <ac:spMkLst>
            <pc:docMk/>
            <pc:sldMk cId="3700847209" sldId="2134805999"/>
            <ac:spMk id="18" creationId="{36500E1F-80F2-F5A0-C2E1-092189BB137E}"/>
          </ac:spMkLst>
        </pc:spChg>
        <pc:spChg chg="mod ord">
          <ac:chgData name="Jacobo de Nicolás Nuñez" userId="7c6829d1-1bf6-4417-b4a9-02cb8827630e" providerId="ADAL" clId="{857BC41E-A371-448C-9B0F-48FE52EEF25B}" dt="2025-04-22T13:04:28.745" v="7877"/>
          <ac:spMkLst>
            <pc:docMk/>
            <pc:sldMk cId="3700847209" sldId="2134805999"/>
            <ac:spMk id="22" creationId="{DB5B0DA3-8AF0-3A97-C6B4-913B85E44085}"/>
          </ac:spMkLst>
        </pc:spChg>
        <pc:spChg chg="mod ord">
          <ac:chgData name="Jacobo de Nicolás Nuñez" userId="7c6829d1-1bf6-4417-b4a9-02cb8827630e" providerId="ADAL" clId="{857BC41E-A371-448C-9B0F-48FE52EEF25B}" dt="2025-04-22T13:04:28.745" v="7865"/>
          <ac:spMkLst>
            <pc:docMk/>
            <pc:sldMk cId="3700847209" sldId="2134805999"/>
            <ac:spMk id="30" creationId="{964D9D2C-65CC-975D-9DF9-0239CD332C56}"/>
          </ac:spMkLst>
        </pc:spChg>
        <pc:spChg chg="mod ord">
          <ac:chgData name="Jacobo de Nicolás Nuñez" userId="7c6829d1-1bf6-4417-b4a9-02cb8827630e" providerId="ADAL" clId="{857BC41E-A371-448C-9B0F-48FE52EEF25B}" dt="2025-04-22T13:04:28.745" v="7867"/>
          <ac:spMkLst>
            <pc:docMk/>
            <pc:sldMk cId="3700847209" sldId="2134805999"/>
            <ac:spMk id="31" creationId="{9AFD0C9C-C99B-83BC-E25D-7573521B2C78}"/>
          </ac:spMkLst>
        </pc:spChg>
        <pc:spChg chg="mod ord">
          <ac:chgData name="Jacobo de Nicolás Nuñez" userId="7c6829d1-1bf6-4417-b4a9-02cb8827630e" providerId="ADAL" clId="{857BC41E-A371-448C-9B0F-48FE52EEF25B}" dt="2025-04-22T13:04:28.745" v="7857"/>
          <ac:spMkLst>
            <pc:docMk/>
            <pc:sldMk cId="3700847209" sldId="2134805999"/>
            <ac:spMk id="70" creationId="{806B8040-186A-DF35-242B-F6AD41CEFC9B}"/>
          </ac:spMkLst>
        </pc:spChg>
        <pc:graphicFrameChg chg="add mod ord modVis">
          <ac:chgData name="Jacobo de Nicolás Nuñez" userId="7c6829d1-1bf6-4417-b4a9-02cb8827630e" providerId="ADAL" clId="{857BC41E-A371-448C-9B0F-48FE52EEF25B}" dt="2025-04-22T13:04:28.807" v="7891"/>
          <ac:graphicFrameMkLst>
            <pc:docMk/>
            <pc:sldMk cId="3700847209" sldId="2134805999"/>
            <ac:graphicFrameMk id="20" creationId="{051D1056-D07C-7640-44F3-22F98CB11958}"/>
          </ac:graphicFrameMkLst>
        </pc:graphicFrameChg>
        <pc:picChg chg="mod ord">
          <ac:chgData name="Jacobo de Nicolás Nuñez" userId="7c6829d1-1bf6-4417-b4a9-02cb8827630e" providerId="ADAL" clId="{857BC41E-A371-448C-9B0F-48FE52EEF25B}" dt="2025-04-22T13:04:41.018" v="7895" actId="1076"/>
          <ac:picMkLst>
            <pc:docMk/>
            <pc:sldMk cId="3700847209" sldId="2134805999"/>
            <ac:picMk id="9" creationId="{A14B9080-360B-6F1D-8865-68BEDBCB52B0}"/>
          </ac:picMkLst>
        </pc:picChg>
        <pc:picChg chg="add mod ord">
          <ac:chgData name="Jacobo de Nicolás Nuñez" userId="7c6829d1-1bf6-4417-b4a9-02cb8827630e" providerId="ADAL" clId="{857BC41E-A371-448C-9B0F-48FE52EEF25B}" dt="2025-04-22T13:04:35.839" v="7893" actId="1076"/>
          <ac:picMkLst>
            <pc:docMk/>
            <pc:sldMk cId="3700847209" sldId="2134805999"/>
            <ac:picMk id="12" creationId="{0A2109A6-7928-3ADF-856A-A2CDDF1D4AB2}"/>
          </ac:picMkLst>
        </pc:picChg>
        <pc:picChg chg="mod ord">
          <ac:chgData name="Jacobo de Nicolás Nuñez" userId="7c6829d1-1bf6-4417-b4a9-02cb8827630e" providerId="ADAL" clId="{857BC41E-A371-448C-9B0F-48FE52EEF25B}" dt="2025-04-22T13:04:41.018" v="7895" actId="1076"/>
          <ac:picMkLst>
            <pc:docMk/>
            <pc:sldMk cId="3700847209" sldId="2134805999"/>
            <ac:picMk id="13" creationId="{B994B758-21C2-74B6-AF5F-82E35670CC44}"/>
          </ac:picMkLst>
        </pc:picChg>
        <pc:picChg chg="add mod ord">
          <ac:chgData name="Jacobo de Nicolás Nuñez" userId="7c6829d1-1bf6-4417-b4a9-02cb8827630e" providerId="ADAL" clId="{857BC41E-A371-448C-9B0F-48FE52EEF25B}" dt="2025-04-22T13:04:35.839" v="7893" actId="1076"/>
          <ac:picMkLst>
            <pc:docMk/>
            <pc:sldMk cId="3700847209" sldId="2134805999"/>
            <ac:picMk id="15" creationId="{8950D274-9F25-C609-22AF-5FE018C5BA3B}"/>
          </ac:picMkLst>
        </pc:picChg>
        <pc:picChg chg="add mod ord">
          <ac:chgData name="Jacobo de Nicolás Nuñez" userId="7c6829d1-1bf6-4417-b4a9-02cb8827630e" providerId="ADAL" clId="{857BC41E-A371-448C-9B0F-48FE52EEF25B}" dt="2025-04-22T13:04:32.669" v="7892" actId="1076"/>
          <ac:picMkLst>
            <pc:docMk/>
            <pc:sldMk cId="3700847209" sldId="2134805999"/>
            <ac:picMk id="17" creationId="{8E807898-96C6-0038-5917-DB2BA299335E}"/>
          </ac:picMkLst>
        </pc:picChg>
        <pc:picChg chg="add mod ord">
          <ac:chgData name="Jacobo de Nicolás Nuñez" userId="7c6829d1-1bf6-4417-b4a9-02cb8827630e" providerId="ADAL" clId="{857BC41E-A371-448C-9B0F-48FE52EEF25B}" dt="2025-04-22T13:04:32.669" v="7892" actId="1076"/>
          <ac:picMkLst>
            <pc:docMk/>
            <pc:sldMk cId="3700847209" sldId="2134805999"/>
            <ac:picMk id="19" creationId="{5389B48F-F00A-EDA9-5765-B1939D842863}"/>
          </ac:picMkLst>
        </pc:picChg>
      </pc:sldChg>
      <pc:sldChg chg="modSp mod">
        <pc:chgData name="Jacobo de Nicolás Nuñez" userId="7c6829d1-1bf6-4417-b4a9-02cb8827630e" providerId="ADAL" clId="{857BC41E-A371-448C-9B0F-48FE52EEF25B}" dt="2025-04-22T13:42:06.737" v="8225" actId="14826"/>
        <pc:sldMkLst>
          <pc:docMk/>
          <pc:sldMk cId="2267328279" sldId="2134806001"/>
        </pc:sldMkLst>
        <pc:picChg chg="mod">
          <ac:chgData name="Jacobo de Nicolás Nuñez" userId="7c6829d1-1bf6-4417-b4a9-02cb8827630e" providerId="ADAL" clId="{857BC41E-A371-448C-9B0F-48FE52EEF25B}" dt="2025-04-22T13:40:22.242" v="8218" actId="14826"/>
          <ac:picMkLst>
            <pc:docMk/>
            <pc:sldMk cId="2267328279" sldId="2134806001"/>
            <ac:picMk id="7" creationId="{19FC09EC-8711-7E39-8CCA-9E0201E1B977}"/>
          </ac:picMkLst>
        </pc:picChg>
        <pc:picChg chg="mod">
          <ac:chgData name="Jacobo de Nicolás Nuñez" userId="7c6829d1-1bf6-4417-b4a9-02cb8827630e" providerId="ADAL" clId="{857BC41E-A371-448C-9B0F-48FE52EEF25B}" dt="2025-04-22T13:40:30.556" v="8219" actId="14826"/>
          <ac:picMkLst>
            <pc:docMk/>
            <pc:sldMk cId="2267328279" sldId="2134806001"/>
            <ac:picMk id="8" creationId="{00B1E392-6DB6-F76B-768D-8018A4C60A2F}"/>
          </ac:picMkLst>
        </pc:picChg>
        <pc:picChg chg="mod">
          <ac:chgData name="Jacobo de Nicolás Nuñez" userId="7c6829d1-1bf6-4417-b4a9-02cb8827630e" providerId="ADAL" clId="{857BC41E-A371-448C-9B0F-48FE52EEF25B}" dt="2025-04-22T13:40:51.109" v="8220" actId="14826"/>
          <ac:picMkLst>
            <pc:docMk/>
            <pc:sldMk cId="2267328279" sldId="2134806001"/>
            <ac:picMk id="12" creationId="{4AB2470A-8998-639A-7AB3-CDC00AFE12BE}"/>
          </ac:picMkLst>
        </pc:picChg>
        <pc:picChg chg="mod">
          <ac:chgData name="Jacobo de Nicolás Nuñez" userId="7c6829d1-1bf6-4417-b4a9-02cb8827630e" providerId="ADAL" clId="{857BC41E-A371-448C-9B0F-48FE52EEF25B}" dt="2025-04-22T13:40:59.212" v="8221" actId="14826"/>
          <ac:picMkLst>
            <pc:docMk/>
            <pc:sldMk cId="2267328279" sldId="2134806001"/>
            <ac:picMk id="14" creationId="{3FAF4F3A-C4FE-846B-1115-2658B2E5D4BF}"/>
          </ac:picMkLst>
        </pc:picChg>
        <pc:picChg chg="mod">
          <ac:chgData name="Jacobo de Nicolás Nuñez" userId="7c6829d1-1bf6-4417-b4a9-02cb8827630e" providerId="ADAL" clId="{857BC41E-A371-448C-9B0F-48FE52EEF25B}" dt="2025-04-22T13:41:44.607" v="8222" actId="14826"/>
          <ac:picMkLst>
            <pc:docMk/>
            <pc:sldMk cId="2267328279" sldId="2134806001"/>
            <ac:picMk id="17" creationId="{F64798B1-42B9-3D9C-4996-3F0FDCFF59C6}"/>
          </ac:picMkLst>
        </pc:picChg>
        <pc:picChg chg="mod">
          <ac:chgData name="Jacobo de Nicolás Nuñez" userId="7c6829d1-1bf6-4417-b4a9-02cb8827630e" providerId="ADAL" clId="{857BC41E-A371-448C-9B0F-48FE52EEF25B}" dt="2025-04-22T13:41:52.215" v="8223" actId="14826"/>
          <ac:picMkLst>
            <pc:docMk/>
            <pc:sldMk cId="2267328279" sldId="2134806001"/>
            <ac:picMk id="18" creationId="{5FEBD236-EBD9-A7E0-3BDA-DA91E440C0EF}"/>
          </ac:picMkLst>
        </pc:picChg>
        <pc:picChg chg="mod">
          <ac:chgData name="Jacobo de Nicolás Nuñez" userId="7c6829d1-1bf6-4417-b4a9-02cb8827630e" providerId="ADAL" clId="{857BC41E-A371-448C-9B0F-48FE52EEF25B}" dt="2025-04-22T13:42:06.737" v="8225" actId="14826"/>
          <ac:picMkLst>
            <pc:docMk/>
            <pc:sldMk cId="2267328279" sldId="2134806001"/>
            <ac:picMk id="19" creationId="{0DE38F1D-82C6-1660-A580-00AED0C37DF2}"/>
          </ac:picMkLst>
        </pc:picChg>
        <pc:picChg chg="mod">
          <ac:chgData name="Jacobo de Nicolás Nuñez" userId="7c6829d1-1bf6-4417-b4a9-02cb8827630e" providerId="ADAL" clId="{857BC41E-A371-448C-9B0F-48FE52EEF25B}" dt="2025-04-22T13:41:59.577" v="8224" actId="14826"/>
          <ac:picMkLst>
            <pc:docMk/>
            <pc:sldMk cId="2267328279" sldId="2134806001"/>
            <ac:picMk id="20" creationId="{77DF17C1-3345-4301-B770-1AA80B8F9564}"/>
          </ac:picMkLst>
        </pc:picChg>
      </pc:sldChg>
      <pc:sldChg chg="modSp mod">
        <pc:chgData name="Jacobo de Nicolás Nuñez" userId="7c6829d1-1bf6-4417-b4a9-02cb8827630e" providerId="ADAL" clId="{857BC41E-A371-448C-9B0F-48FE52EEF25B}" dt="2025-04-22T15:08:25.107" v="8972" actId="14100"/>
        <pc:sldMkLst>
          <pc:docMk/>
          <pc:sldMk cId="1462234620" sldId="2134806009"/>
        </pc:sldMkLst>
        <pc:picChg chg="mod">
          <ac:chgData name="Jacobo de Nicolás Nuñez" userId="7c6829d1-1bf6-4417-b4a9-02cb8827630e" providerId="ADAL" clId="{857BC41E-A371-448C-9B0F-48FE52EEF25B}" dt="2025-04-22T15:08:25.107" v="8972" actId="14100"/>
          <ac:picMkLst>
            <pc:docMk/>
            <pc:sldMk cId="1462234620" sldId="2134806009"/>
            <ac:picMk id="5" creationId="{53BF48F4-36E0-45C2-82E3-02EEAA0BE740}"/>
          </ac:picMkLst>
        </pc:picChg>
      </pc:sldChg>
      <pc:sldChg chg="addSp delSp modSp mod">
        <pc:chgData name="Jacobo de Nicolás Nuñez" userId="7c6829d1-1bf6-4417-b4a9-02cb8827630e" providerId="ADAL" clId="{857BC41E-A371-448C-9B0F-48FE52EEF25B}" dt="2025-04-22T13:32:11.309" v="8174" actId="14826"/>
        <pc:sldMkLst>
          <pc:docMk/>
          <pc:sldMk cId="3088050963" sldId="2134806010"/>
        </pc:sldMkLst>
        <pc:picChg chg="add mod">
          <ac:chgData name="Jacobo de Nicolás Nuñez" userId="7c6829d1-1bf6-4417-b4a9-02cb8827630e" providerId="ADAL" clId="{857BC41E-A371-448C-9B0F-48FE52EEF25B}" dt="2025-04-17T08:50:06.339" v="6917" actId="1076"/>
          <ac:picMkLst>
            <pc:docMk/>
            <pc:sldMk cId="3088050963" sldId="2134806010"/>
            <ac:picMk id="6" creationId="{6E550EAF-EBDC-7056-6900-AA8D6F3499AD}"/>
          </ac:picMkLst>
        </pc:picChg>
        <pc:picChg chg="add mod">
          <ac:chgData name="Jacobo de Nicolás Nuñez" userId="7c6829d1-1bf6-4417-b4a9-02cb8827630e" providerId="ADAL" clId="{857BC41E-A371-448C-9B0F-48FE52EEF25B}" dt="2025-04-17T08:50:06.339" v="6917" actId="1076"/>
          <ac:picMkLst>
            <pc:docMk/>
            <pc:sldMk cId="3088050963" sldId="2134806010"/>
            <ac:picMk id="7" creationId="{7A1304AE-3DEE-D397-D9F3-F922DB300A1B}"/>
          </ac:picMkLst>
        </pc:picChg>
        <pc:picChg chg="add mod">
          <ac:chgData name="Jacobo de Nicolás Nuñez" userId="7c6829d1-1bf6-4417-b4a9-02cb8827630e" providerId="ADAL" clId="{857BC41E-A371-448C-9B0F-48FE52EEF25B}" dt="2025-04-17T08:50:06.339" v="6917" actId="1076"/>
          <ac:picMkLst>
            <pc:docMk/>
            <pc:sldMk cId="3088050963" sldId="2134806010"/>
            <ac:picMk id="8" creationId="{0588FCA4-0860-8372-08F0-3DFBC961C88B}"/>
          </ac:picMkLst>
        </pc:picChg>
        <pc:picChg chg="mod">
          <ac:chgData name="Jacobo de Nicolás Nuñez" userId="7c6829d1-1bf6-4417-b4a9-02cb8827630e" providerId="ADAL" clId="{857BC41E-A371-448C-9B0F-48FE52EEF25B}" dt="2025-04-22T13:32:11.309" v="8174" actId="14826"/>
          <ac:picMkLst>
            <pc:docMk/>
            <pc:sldMk cId="3088050963" sldId="2134806010"/>
            <ac:picMk id="21" creationId="{D081EB00-A0F6-FC5E-1739-F8E38A82DFA1}"/>
          </ac:picMkLst>
        </pc:picChg>
        <pc:picChg chg="mod">
          <ac:chgData name="Jacobo de Nicolás Nuñez" userId="7c6829d1-1bf6-4417-b4a9-02cb8827630e" providerId="ADAL" clId="{857BC41E-A371-448C-9B0F-48FE52EEF25B}" dt="2025-04-22T13:32:03.381" v="8173" actId="14826"/>
          <ac:picMkLst>
            <pc:docMk/>
            <pc:sldMk cId="3088050963" sldId="2134806010"/>
            <ac:picMk id="22" creationId="{FAF278FE-2229-FB27-4C16-6DA95CE1A10F}"/>
          </ac:picMkLst>
        </pc:picChg>
        <pc:picChg chg="mod">
          <ac:chgData name="Jacobo de Nicolás Nuñez" userId="7c6829d1-1bf6-4417-b4a9-02cb8827630e" providerId="ADAL" clId="{857BC41E-A371-448C-9B0F-48FE52EEF25B}" dt="2025-04-22T13:31:56.764" v="8172" actId="14826"/>
          <ac:picMkLst>
            <pc:docMk/>
            <pc:sldMk cId="3088050963" sldId="2134806010"/>
            <ac:picMk id="23" creationId="{1BA0CB86-29CA-B901-F7D5-2E7FCA40D025}"/>
          </ac:picMkLst>
        </pc:picChg>
        <pc:picChg chg="mod">
          <ac:chgData name="Jacobo de Nicolás Nuñez" userId="7c6829d1-1bf6-4417-b4a9-02cb8827630e" providerId="ADAL" clId="{857BC41E-A371-448C-9B0F-48FE52EEF25B}" dt="2025-04-22T13:31:38.696" v="8171" actId="14826"/>
          <ac:picMkLst>
            <pc:docMk/>
            <pc:sldMk cId="3088050963" sldId="2134806010"/>
            <ac:picMk id="24" creationId="{498A5E59-F0D2-9EB4-F67D-1E39D60AD1E8}"/>
          </ac:picMkLst>
        </pc:picChg>
      </pc:sldChg>
      <pc:sldChg chg="modSp">
        <pc:chgData name="Jacobo de Nicolás Nuñez" userId="7c6829d1-1bf6-4417-b4a9-02cb8827630e" providerId="ADAL" clId="{857BC41E-A371-448C-9B0F-48FE52EEF25B}" dt="2025-04-22T14:30:31.420" v="8555" actId="14826"/>
        <pc:sldMkLst>
          <pc:docMk/>
          <pc:sldMk cId="2931584499" sldId="2134806011"/>
        </pc:sldMkLst>
        <pc:picChg chg="mod">
          <ac:chgData name="Jacobo de Nicolás Nuñez" userId="7c6829d1-1bf6-4417-b4a9-02cb8827630e" providerId="ADAL" clId="{857BC41E-A371-448C-9B0F-48FE52EEF25B}" dt="2025-04-22T14:30:31.420" v="8555" actId="14826"/>
          <ac:picMkLst>
            <pc:docMk/>
            <pc:sldMk cId="2931584499" sldId="2134806011"/>
            <ac:picMk id="22" creationId="{85E6D024-583C-F34A-FBB8-41F4063C3FDA}"/>
          </ac:picMkLst>
        </pc:picChg>
      </pc:sldChg>
      <pc:sldChg chg="addSp delSp modSp mod">
        <pc:chgData name="Jacobo de Nicolás Nuñez" userId="7c6829d1-1bf6-4417-b4a9-02cb8827630e" providerId="ADAL" clId="{857BC41E-A371-448C-9B0F-48FE52EEF25B}" dt="2025-04-22T14:37:35.389" v="8564" actId="14100"/>
        <pc:sldMkLst>
          <pc:docMk/>
          <pc:sldMk cId="3925124587" sldId="2134806012"/>
        </pc:sldMkLst>
        <pc:spChg chg="mod ord">
          <ac:chgData name="Jacobo de Nicolás Nuñez" userId="7c6829d1-1bf6-4417-b4a9-02cb8827630e" providerId="ADAL" clId="{857BC41E-A371-448C-9B0F-48FE52EEF25B}" dt="2025-04-11T10:41:09.083" v="2348"/>
          <ac:spMkLst>
            <pc:docMk/>
            <pc:sldMk cId="3925124587" sldId="2134806012"/>
            <ac:spMk id="2" creationId="{F095A787-AEAA-0254-B3A1-7737CBD6F006}"/>
          </ac:spMkLst>
        </pc:spChg>
        <pc:spChg chg="mod ord">
          <ac:chgData name="Jacobo de Nicolás Nuñez" userId="7c6829d1-1bf6-4417-b4a9-02cb8827630e" providerId="ADAL" clId="{857BC41E-A371-448C-9B0F-48FE52EEF25B}" dt="2025-04-11T10:41:09.083" v="2334"/>
          <ac:spMkLst>
            <pc:docMk/>
            <pc:sldMk cId="3925124587" sldId="2134806012"/>
            <ac:spMk id="4" creationId="{5DA749EC-020B-8D23-64B3-7B3F464EB12D}"/>
          </ac:spMkLst>
        </pc:spChg>
        <pc:spChg chg="mod ord">
          <ac:chgData name="Jacobo de Nicolás Nuñez" userId="7c6829d1-1bf6-4417-b4a9-02cb8827630e" providerId="ADAL" clId="{857BC41E-A371-448C-9B0F-48FE52EEF25B}" dt="2025-04-11T10:41:09.083" v="2330"/>
          <ac:spMkLst>
            <pc:docMk/>
            <pc:sldMk cId="3925124587" sldId="2134806012"/>
            <ac:spMk id="6" creationId="{12F1C4B7-6AFB-A951-AAB7-24F51782330A}"/>
          </ac:spMkLst>
        </pc:spChg>
        <pc:spChg chg="mod ord">
          <ac:chgData name="Jacobo de Nicolás Nuñez" userId="7c6829d1-1bf6-4417-b4a9-02cb8827630e" providerId="ADAL" clId="{857BC41E-A371-448C-9B0F-48FE52EEF25B}" dt="2025-04-11T10:41:09.083" v="2336"/>
          <ac:spMkLst>
            <pc:docMk/>
            <pc:sldMk cId="3925124587" sldId="2134806012"/>
            <ac:spMk id="18" creationId="{607B8182-81A1-EF3A-5D55-DD9B0564E5CD}"/>
          </ac:spMkLst>
        </pc:spChg>
        <pc:spChg chg="mod ord">
          <ac:chgData name="Jacobo de Nicolás Nuñez" userId="7c6829d1-1bf6-4417-b4a9-02cb8827630e" providerId="ADAL" clId="{857BC41E-A371-448C-9B0F-48FE52EEF25B}" dt="2025-04-11T10:41:09.083" v="2338"/>
          <ac:spMkLst>
            <pc:docMk/>
            <pc:sldMk cId="3925124587" sldId="2134806012"/>
            <ac:spMk id="19" creationId="{99F9DF17-BCFE-E19B-E811-FFD9B96BAEF7}"/>
          </ac:spMkLst>
        </pc:spChg>
        <pc:spChg chg="mod ord">
          <ac:chgData name="Jacobo de Nicolás Nuñez" userId="7c6829d1-1bf6-4417-b4a9-02cb8827630e" providerId="ADAL" clId="{857BC41E-A371-448C-9B0F-48FE52EEF25B}" dt="2025-04-11T10:41:09.083" v="2340"/>
          <ac:spMkLst>
            <pc:docMk/>
            <pc:sldMk cId="3925124587" sldId="2134806012"/>
            <ac:spMk id="20" creationId="{E5E3E659-AB17-8C58-67D3-7FAB313BA81E}"/>
          </ac:spMkLst>
        </pc:spChg>
        <pc:spChg chg="mod ord">
          <ac:chgData name="Jacobo de Nicolás Nuñez" userId="7c6829d1-1bf6-4417-b4a9-02cb8827630e" providerId="ADAL" clId="{857BC41E-A371-448C-9B0F-48FE52EEF25B}" dt="2025-04-11T10:41:09.083" v="2342"/>
          <ac:spMkLst>
            <pc:docMk/>
            <pc:sldMk cId="3925124587" sldId="2134806012"/>
            <ac:spMk id="21" creationId="{B89CF76E-97EB-0912-F5D7-DEC1A04834D0}"/>
          </ac:spMkLst>
        </pc:spChg>
        <pc:spChg chg="mod ord">
          <ac:chgData name="Jacobo de Nicolás Nuñez" userId="7c6829d1-1bf6-4417-b4a9-02cb8827630e" providerId="ADAL" clId="{857BC41E-A371-448C-9B0F-48FE52EEF25B}" dt="2025-04-11T10:41:09.083" v="2344"/>
          <ac:spMkLst>
            <pc:docMk/>
            <pc:sldMk cId="3925124587" sldId="2134806012"/>
            <ac:spMk id="22" creationId="{40DD7A15-0F3B-68FF-A8E4-E3ECC78F22FE}"/>
          </ac:spMkLst>
        </pc:spChg>
        <pc:spChg chg="mod ord">
          <ac:chgData name="Jacobo de Nicolás Nuñez" userId="7c6829d1-1bf6-4417-b4a9-02cb8827630e" providerId="ADAL" clId="{857BC41E-A371-448C-9B0F-48FE52EEF25B}" dt="2025-04-11T10:41:09.083" v="2346"/>
          <ac:spMkLst>
            <pc:docMk/>
            <pc:sldMk cId="3925124587" sldId="2134806012"/>
            <ac:spMk id="23" creationId="{9851FBC8-BE03-648B-20CF-D01330436A69}"/>
          </ac:spMkLst>
        </pc:spChg>
        <pc:graphicFrameChg chg="add mod ord modVis">
          <ac:chgData name="Jacobo de Nicolás Nuñez" userId="7c6829d1-1bf6-4417-b4a9-02cb8827630e" providerId="ADAL" clId="{857BC41E-A371-448C-9B0F-48FE52EEF25B}" dt="2025-04-11T10:41:09.097" v="2350"/>
          <ac:graphicFrameMkLst>
            <pc:docMk/>
            <pc:sldMk cId="3925124587" sldId="2134806012"/>
            <ac:graphicFrameMk id="7" creationId="{4E276040-7E99-7238-B7E2-F9D4B1D4F397}"/>
          </ac:graphicFrameMkLst>
        </pc:graphicFrameChg>
        <pc:picChg chg="mod ord">
          <ac:chgData name="Jacobo de Nicolás Nuñez" userId="7c6829d1-1bf6-4417-b4a9-02cb8827630e" providerId="ADAL" clId="{857BC41E-A371-448C-9B0F-48FE52EEF25B}" dt="2025-04-22T14:37:35.389" v="8564" actId="14100"/>
          <ac:picMkLst>
            <pc:docMk/>
            <pc:sldMk cId="3925124587" sldId="2134806012"/>
            <ac:picMk id="3" creationId="{EFC51F26-9E6C-49E8-84CD-0CC473B837E7}"/>
          </ac:picMkLst>
        </pc:picChg>
        <pc:picChg chg="add mod ord">
          <ac:chgData name="Jacobo de Nicolás Nuñez" userId="7c6829d1-1bf6-4417-b4a9-02cb8827630e" providerId="ADAL" clId="{857BC41E-A371-448C-9B0F-48FE52EEF25B}" dt="2025-04-11T10:41:47.851" v="2353" actId="14100"/>
          <ac:picMkLst>
            <pc:docMk/>
            <pc:sldMk cId="3925124587" sldId="2134806012"/>
            <ac:picMk id="8" creationId="{155C2A11-36AF-BBDE-9D7D-A966B3A1F73F}"/>
          </ac:picMkLst>
        </pc:picChg>
        <pc:picChg chg="add mod ord">
          <ac:chgData name="Jacobo de Nicolás Nuñez" userId="7c6829d1-1bf6-4417-b4a9-02cb8827630e" providerId="ADAL" clId="{857BC41E-A371-448C-9B0F-48FE52EEF25B}" dt="2025-04-11T10:41:40.526" v="2351" actId="14100"/>
          <ac:picMkLst>
            <pc:docMk/>
            <pc:sldMk cId="3925124587" sldId="2134806012"/>
            <ac:picMk id="9" creationId="{9A968D2F-DA42-B3C3-3B94-7A591231CDA9}"/>
          </ac:picMkLst>
        </pc:picChg>
        <pc:picChg chg="add mod ord">
          <ac:chgData name="Jacobo de Nicolás Nuñez" userId="7c6829d1-1bf6-4417-b4a9-02cb8827630e" providerId="ADAL" clId="{857BC41E-A371-448C-9B0F-48FE52EEF25B}" dt="2025-04-22T14:37:27.718" v="8563" actId="14100"/>
          <ac:picMkLst>
            <pc:docMk/>
            <pc:sldMk cId="3925124587" sldId="2134806012"/>
            <ac:picMk id="10" creationId="{C77301D4-8374-2625-2A62-93E9CBB769AC}"/>
          </ac:picMkLst>
        </pc:picChg>
        <pc:picChg chg="add mod ord">
          <ac:chgData name="Jacobo de Nicolás Nuñez" userId="7c6829d1-1bf6-4417-b4a9-02cb8827630e" providerId="ADAL" clId="{857BC41E-A371-448C-9B0F-48FE52EEF25B}" dt="2025-04-11T10:41:50.209" v="2354" actId="1076"/>
          <ac:picMkLst>
            <pc:docMk/>
            <pc:sldMk cId="3925124587" sldId="2134806012"/>
            <ac:picMk id="16" creationId="{839F1052-6DE9-1382-F9E0-1D56FA88177A}"/>
          </ac:picMkLst>
        </pc:picChg>
      </pc:sldChg>
      <pc:sldChg chg="addSp delSp modSp mod">
        <pc:chgData name="Jacobo de Nicolás Nuñez" userId="7c6829d1-1bf6-4417-b4a9-02cb8827630e" providerId="ADAL" clId="{857BC41E-A371-448C-9B0F-48FE52EEF25B}" dt="2025-04-22T13:47:47.701" v="8287" actId="14826"/>
        <pc:sldMkLst>
          <pc:docMk/>
          <pc:sldMk cId="2328368962" sldId="2134806013"/>
        </pc:sldMkLst>
        <pc:spChg chg="mod ord">
          <ac:chgData name="Jacobo de Nicolás Nuñez" userId="7c6829d1-1bf6-4417-b4a9-02cb8827630e" providerId="ADAL" clId="{857BC41E-A371-448C-9B0F-48FE52EEF25B}" dt="2025-04-11T08:45:53.171" v="587"/>
          <ac:spMkLst>
            <pc:docMk/>
            <pc:sldMk cId="2328368962" sldId="2134806013"/>
            <ac:spMk id="2" creationId="{52D819FE-6EA3-07EC-A2A3-F592C382B95A}"/>
          </ac:spMkLst>
        </pc:spChg>
        <pc:spChg chg="mod ord">
          <ac:chgData name="Jacobo de Nicolás Nuñez" userId="7c6829d1-1bf6-4417-b4a9-02cb8827630e" providerId="ADAL" clId="{857BC41E-A371-448C-9B0F-48FE52EEF25B}" dt="2025-04-11T08:45:53.155" v="577"/>
          <ac:spMkLst>
            <pc:docMk/>
            <pc:sldMk cId="2328368962" sldId="2134806013"/>
            <ac:spMk id="4" creationId="{3BAFC924-A612-207D-A152-A77541CBE872}"/>
          </ac:spMkLst>
        </pc:spChg>
        <pc:spChg chg="mod ord">
          <ac:chgData name="Jacobo de Nicolás Nuñez" userId="7c6829d1-1bf6-4417-b4a9-02cb8827630e" providerId="ADAL" clId="{857BC41E-A371-448C-9B0F-48FE52EEF25B}" dt="2025-04-11T08:45:53.155" v="579"/>
          <ac:spMkLst>
            <pc:docMk/>
            <pc:sldMk cId="2328368962" sldId="2134806013"/>
            <ac:spMk id="5" creationId="{944DAA35-E371-B665-EFE4-12D5EEC7D725}"/>
          </ac:spMkLst>
        </pc:spChg>
        <pc:spChg chg="mod ord">
          <ac:chgData name="Jacobo de Nicolás Nuñez" userId="7c6829d1-1bf6-4417-b4a9-02cb8827630e" providerId="ADAL" clId="{857BC41E-A371-448C-9B0F-48FE52EEF25B}" dt="2025-04-11T08:45:53.155" v="581"/>
          <ac:spMkLst>
            <pc:docMk/>
            <pc:sldMk cId="2328368962" sldId="2134806013"/>
            <ac:spMk id="6" creationId="{2B778E66-9420-FB9B-5D50-1D3F8F7988A7}"/>
          </ac:spMkLst>
        </pc:spChg>
        <pc:spChg chg="mod ord">
          <ac:chgData name="Jacobo de Nicolás Nuñez" userId="7c6829d1-1bf6-4417-b4a9-02cb8827630e" providerId="ADAL" clId="{857BC41E-A371-448C-9B0F-48FE52EEF25B}" dt="2025-04-11T08:45:53.171" v="589"/>
          <ac:spMkLst>
            <pc:docMk/>
            <pc:sldMk cId="2328368962" sldId="2134806013"/>
            <ac:spMk id="8" creationId="{3F4AE426-299B-888C-B1C3-3317E6D348F3}"/>
          </ac:spMkLst>
        </pc:spChg>
        <pc:spChg chg="mod ord">
          <ac:chgData name="Jacobo de Nicolás Nuñez" userId="7c6829d1-1bf6-4417-b4a9-02cb8827630e" providerId="ADAL" clId="{857BC41E-A371-448C-9B0F-48FE52EEF25B}" dt="2025-04-11T08:45:53.171" v="591"/>
          <ac:spMkLst>
            <pc:docMk/>
            <pc:sldMk cId="2328368962" sldId="2134806013"/>
            <ac:spMk id="9" creationId="{4BCF739D-7E3E-6E13-3974-951F847EC25A}"/>
          </ac:spMkLst>
        </pc:spChg>
        <pc:spChg chg="mod ord">
          <ac:chgData name="Jacobo de Nicolás Nuñez" userId="7c6829d1-1bf6-4417-b4a9-02cb8827630e" providerId="ADAL" clId="{857BC41E-A371-448C-9B0F-48FE52EEF25B}" dt="2025-04-11T08:45:53.171" v="585"/>
          <ac:spMkLst>
            <pc:docMk/>
            <pc:sldMk cId="2328368962" sldId="2134806013"/>
            <ac:spMk id="10" creationId="{41D25E0F-47B1-4451-0E05-DCA95FB9A69A}"/>
          </ac:spMkLst>
        </pc:spChg>
        <pc:spChg chg="mod ord">
          <ac:chgData name="Jacobo de Nicolás Nuñez" userId="7c6829d1-1bf6-4417-b4a9-02cb8827630e" providerId="ADAL" clId="{857BC41E-A371-448C-9B0F-48FE52EEF25B}" dt="2025-04-11T08:45:53.171" v="593"/>
          <ac:spMkLst>
            <pc:docMk/>
            <pc:sldMk cId="2328368962" sldId="2134806013"/>
            <ac:spMk id="11" creationId="{8E11204F-D693-A7C9-D65F-6A0B8B6537CF}"/>
          </ac:spMkLst>
        </pc:spChg>
        <pc:spChg chg="mod ord">
          <ac:chgData name="Jacobo de Nicolás Nuñez" userId="7c6829d1-1bf6-4417-b4a9-02cb8827630e" providerId="ADAL" clId="{857BC41E-A371-448C-9B0F-48FE52EEF25B}" dt="2025-04-11T08:45:53.171" v="583"/>
          <ac:spMkLst>
            <pc:docMk/>
            <pc:sldMk cId="2328368962" sldId="2134806013"/>
            <ac:spMk id="13" creationId="{9C83B014-365B-CE5F-61B1-D0323B12113D}"/>
          </ac:spMkLst>
        </pc:spChg>
        <pc:spChg chg="mod ord">
          <ac:chgData name="Jacobo de Nicolás Nuñez" userId="7c6829d1-1bf6-4417-b4a9-02cb8827630e" providerId="ADAL" clId="{857BC41E-A371-448C-9B0F-48FE52EEF25B}" dt="2025-04-11T08:45:53.171" v="595"/>
          <ac:spMkLst>
            <pc:docMk/>
            <pc:sldMk cId="2328368962" sldId="2134806013"/>
            <ac:spMk id="14" creationId="{7F32A76A-0FF6-5B8E-1BE7-A5FA01552765}"/>
          </ac:spMkLst>
        </pc:spChg>
        <pc:graphicFrameChg chg="add mod ord modVis">
          <ac:chgData name="Jacobo de Nicolás Nuñez" userId="7c6829d1-1bf6-4417-b4a9-02cb8827630e" providerId="ADAL" clId="{857BC41E-A371-448C-9B0F-48FE52EEF25B}" dt="2025-04-11T08:45:53.171" v="597"/>
          <ac:graphicFrameMkLst>
            <pc:docMk/>
            <pc:sldMk cId="2328368962" sldId="2134806013"/>
            <ac:graphicFrameMk id="15" creationId="{0A83C840-F146-4B7F-6D8D-B504CBF96389}"/>
          </ac:graphicFrameMkLst>
        </pc:graphicFrameChg>
        <pc:picChg chg="add mod ord">
          <ac:chgData name="Jacobo de Nicolás Nuñez" userId="7c6829d1-1bf6-4417-b4a9-02cb8827630e" providerId="ADAL" clId="{857BC41E-A371-448C-9B0F-48FE52EEF25B}" dt="2025-04-11T08:45:53.155" v="571"/>
          <ac:picMkLst>
            <pc:docMk/>
            <pc:sldMk cId="2328368962" sldId="2134806013"/>
            <ac:picMk id="3" creationId="{BFD77CB0-EFD6-E3D9-D3A5-38FA194D9615}"/>
          </ac:picMkLst>
        </pc:picChg>
        <pc:picChg chg="add mod ord">
          <ac:chgData name="Jacobo de Nicolás Nuñez" userId="7c6829d1-1bf6-4417-b4a9-02cb8827630e" providerId="ADAL" clId="{857BC41E-A371-448C-9B0F-48FE52EEF25B}" dt="2025-04-11T08:45:53.155" v="569"/>
          <ac:picMkLst>
            <pc:docMk/>
            <pc:sldMk cId="2328368962" sldId="2134806013"/>
            <ac:picMk id="16" creationId="{BAC93E37-EE81-AFCD-D0A4-00C3D7DAADB9}"/>
          </ac:picMkLst>
        </pc:picChg>
        <pc:picChg chg="add del mod ord">
          <ac:chgData name="Jacobo de Nicolás Nuñez" userId="7c6829d1-1bf6-4417-b4a9-02cb8827630e" providerId="ADAL" clId="{857BC41E-A371-448C-9B0F-48FE52EEF25B}" dt="2025-04-22T13:47:40.943" v="8286" actId="14826"/>
          <ac:picMkLst>
            <pc:docMk/>
            <pc:sldMk cId="2328368962" sldId="2134806013"/>
            <ac:picMk id="29" creationId="{B2DE51B2-3015-FFF6-BC08-DC4DA2005230}"/>
          </ac:picMkLst>
        </pc:picChg>
        <pc:picChg chg="mod ord">
          <ac:chgData name="Jacobo de Nicolás Nuñez" userId="7c6829d1-1bf6-4417-b4a9-02cb8827630e" providerId="ADAL" clId="{857BC41E-A371-448C-9B0F-48FE52EEF25B}" dt="2025-04-22T13:47:47.701" v="8287" actId="14826"/>
          <ac:picMkLst>
            <pc:docMk/>
            <pc:sldMk cId="2328368962" sldId="2134806013"/>
            <ac:picMk id="30" creationId="{211331C7-4C8E-EC6B-9499-336BED4FA3C0}"/>
          </ac:picMkLst>
        </pc:picChg>
      </pc:sldChg>
      <pc:sldChg chg="addSp delSp modSp mod">
        <pc:chgData name="Jacobo de Nicolás Nuñez" userId="7c6829d1-1bf6-4417-b4a9-02cb8827630e" providerId="ADAL" clId="{857BC41E-A371-448C-9B0F-48FE52EEF25B}" dt="2025-04-17T08:45:12.322" v="6712" actId="1076"/>
        <pc:sldMkLst>
          <pc:docMk/>
          <pc:sldMk cId="709755707" sldId="2134806014"/>
        </pc:sldMkLst>
        <pc:picChg chg="add mod">
          <ac:chgData name="Jacobo de Nicolás Nuñez" userId="7c6829d1-1bf6-4417-b4a9-02cb8827630e" providerId="ADAL" clId="{857BC41E-A371-448C-9B0F-48FE52EEF25B}" dt="2025-04-17T08:44:45.163" v="6705" actId="1076"/>
          <ac:picMkLst>
            <pc:docMk/>
            <pc:sldMk cId="709755707" sldId="2134806014"/>
            <ac:picMk id="5" creationId="{227DCF3C-4045-BDDE-8E1D-99F51B6CB224}"/>
          </ac:picMkLst>
        </pc:picChg>
        <pc:picChg chg="add mod">
          <ac:chgData name="Jacobo de Nicolás Nuñez" userId="7c6829d1-1bf6-4417-b4a9-02cb8827630e" providerId="ADAL" clId="{857BC41E-A371-448C-9B0F-48FE52EEF25B}" dt="2025-04-17T08:44:45.163" v="6705" actId="1076"/>
          <ac:picMkLst>
            <pc:docMk/>
            <pc:sldMk cId="709755707" sldId="2134806014"/>
            <ac:picMk id="8" creationId="{93026BDB-54DB-68E4-629D-2CE5107ACCF6}"/>
          </ac:picMkLst>
        </pc:picChg>
        <pc:picChg chg="add mod">
          <ac:chgData name="Jacobo de Nicolás Nuñez" userId="7c6829d1-1bf6-4417-b4a9-02cb8827630e" providerId="ADAL" clId="{857BC41E-A371-448C-9B0F-48FE52EEF25B}" dt="2025-04-17T08:45:12.322" v="6712" actId="1076"/>
          <ac:picMkLst>
            <pc:docMk/>
            <pc:sldMk cId="709755707" sldId="2134806014"/>
            <ac:picMk id="9" creationId="{301444B7-103E-F3A9-8C03-705DE30E6B93}"/>
          </ac:picMkLst>
        </pc:picChg>
        <pc:picChg chg="add mod">
          <ac:chgData name="Jacobo de Nicolás Nuñez" userId="7c6829d1-1bf6-4417-b4a9-02cb8827630e" providerId="ADAL" clId="{857BC41E-A371-448C-9B0F-48FE52EEF25B}" dt="2025-04-17T08:45:12.322" v="6712" actId="1076"/>
          <ac:picMkLst>
            <pc:docMk/>
            <pc:sldMk cId="709755707" sldId="2134806014"/>
            <ac:picMk id="11" creationId="{821EDBC3-8596-562A-6388-BB9EBFE112EA}"/>
          </ac:picMkLst>
        </pc:picChg>
      </pc:sldChg>
      <pc:sldChg chg="addSp delSp modSp mod">
        <pc:chgData name="Jacobo de Nicolás Nuñez" userId="7c6829d1-1bf6-4417-b4a9-02cb8827630e" providerId="ADAL" clId="{857BC41E-A371-448C-9B0F-48FE52EEF25B}" dt="2025-04-22T14:24:44.032" v="8548" actId="14100"/>
        <pc:sldMkLst>
          <pc:docMk/>
          <pc:sldMk cId="36743179" sldId="2134806016"/>
        </pc:sldMkLst>
        <pc:picChg chg="mod">
          <ac:chgData name="Jacobo de Nicolás Nuñez" userId="7c6829d1-1bf6-4417-b4a9-02cb8827630e" providerId="ADAL" clId="{857BC41E-A371-448C-9B0F-48FE52EEF25B}" dt="2025-04-22T14:24:36.195" v="8546" actId="12788"/>
          <ac:picMkLst>
            <pc:docMk/>
            <pc:sldMk cId="36743179" sldId="2134806016"/>
            <ac:picMk id="5" creationId="{3ECFB1AB-4C71-4096-8972-5D32CD2EE457}"/>
          </ac:picMkLst>
        </pc:picChg>
        <pc:picChg chg="mod">
          <ac:chgData name="Jacobo de Nicolás Nuñez" userId="7c6829d1-1bf6-4417-b4a9-02cb8827630e" providerId="ADAL" clId="{857BC41E-A371-448C-9B0F-48FE52EEF25B}" dt="2025-04-22T14:24:36.195" v="8546" actId="12788"/>
          <ac:picMkLst>
            <pc:docMk/>
            <pc:sldMk cId="36743179" sldId="2134806016"/>
            <ac:picMk id="7" creationId="{FB5A77CD-4EFC-C885-6F6F-151EA5881FCD}"/>
          </ac:picMkLst>
        </pc:picChg>
        <pc:picChg chg="mod">
          <ac:chgData name="Jacobo de Nicolás Nuñez" userId="7c6829d1-1bf6-4417-b4a9-02cb8827630e" providerId="ADAL" clId="{857BC41E-A371-448C-9B0F-48FE52EEF25B}" dt="2025-04-22T14:24:36.195" v="8546" actId="12788"/>
          <ac:picMkLst>
            <pc:docMk/>
            <pc:sldMk cId="36743179" sldId="2134806016"/>
            <ac:picMk id="11" creationId="{9C36E4CE-6149-4EB7-9872-4708F2DD26B3}"/>
          </ac:picMkLst>
        </pc:picChg>
        <pc:picChg chg="add mod">
          <ac:chgData name="Jacobo de Nicolás Nuñez" userId="7c6829d1-1bf6-4417-b4a9-02cb8827630e" providerId="ADAL" clId="{857BC41E-A371-448C-9B0F-48FE52EEF25B}" dt="2025-04-22T14:24:36.195" v="8546" actId="12788"/>
          <ac:picMkLst>
            <pc:docMk/>
            <pc:sldMk cId="36743179" sldId="2134806016"/>
            <ac:picMk id="19" creationId="{0B8FDACD-AADA-1134-B72D-229D9D7CFEB9}"/>
          </ac:picMkLst>
        </pc:picChg>
        <pc:picChg chg="mod">
          <ac:chgData name="Jacobo de Nicolás Nuñez" userId="7c6829d1-1bf6-4417-b4a9-02cb8827630e" providerId="ADAL" clId="{857BC41E-A371-448C-9B0F-48FE52EEF25B}" dt="2025-04-22T14:24:36.195" v="8546" actId="12788"/>
          <ac:picMkLst>
            <pc:docMk/>
            <pc:sldMk cId="36743179" sldId="2134806016"/>
            <ac:picMk id="20" creationId="{3C7556B9-A268-BEB0-CC3F-027716B6B6DE}"/>
          </ac:picMkLst>
        </pc:picChg>
        <pc:picChg chg="add mod">
          <ac:chgData name="Jacobo de Nicolás Nuñez" userId="7c6829d1-1bf6-4417-b4a9-02cb8827630e" providerId="ADAL" clId="{857BC41E-A371-448C-9B0F-48FE52EEF25B}" dt="2025-04-22T14:24:44.032" v="8548" actId="14100"/>
          <ac:picMkLst>
            <pc:docMk/>
            <pc:sldMk cId="36743179" sldId="2134806016"/>
            <ac:picMk id="21" creationId="{1F3F8387-7CF3-9277-2BCB-E844EE79385E}"/>
          </ac:picMkLst>
        </pc:picChg>
        <pc:picChg chg="mod">
          <ac:chgData name="Jacobo de Nicolás Nuñez" userId="7c6829d1-1bf6-4417-b4a9-02cb8827630e" providerId="ADAL" clId="{857BC41E-A371-448C-9B0F-48FE52EEF25B}" dt="2025-04-22T14:24:36.195" v="8546" actId="12788"/>
          <ac:picMkLst>
            <pc:docMk/>
            <pc:sldMk cId="36743179" sldId="2134806016"/>
            <ac:picMk id="22" creationId="{00F84FE9-4633-8C4F-E3E3-9E3B27B77CB6}"/>
          </ac:picMkLst>
        </pc:picChg>
      </pc:sldChg>
      <pc:sldChg chg="addSp delSp modSp mod">
        <pc:chgData name="Jacobo de Nicolás Nuñez" userId="7c6829d1-1bf6-4417-b4a9-02cb8827630e" providerId="ADAL" clId="{857BC41E-A371-448C-9B0F-48FE52EEF25B}" dt="2025-04-22T13:32:28.409" v="8176" actId="14100"/>
        <pc:sldMkLst>
          <pc:docMk/>
          <pc:sldMk cId="831149825" sldId="2134806018"/>
        </pc:sldMkLst>
        <pc:spChg chg="mod ord">
          <ac:chgData name="Jacobo de Nicolás Nuñez" userId="7c6829d1-1bf6-4417-b4a9-02cb8827630e" providerId="ADAL" clId="{857BC41E-A371-448C-9B0F-48FE52EEF25B}" dt="2025-04-17T13:30:03.750" v="7173"/>
          <ac:spMkLst>
            <pc:docMk/>
            <pc:sldMk cId="831149825" sldId="2134806018"/>
            <ac:spMk id="4" creationId="{49F7AEFC-1990-F011-D7DA-ED9DC825F8EF}"/>
          </ac:spMkLst>
        </pc:spChg>
        <pc:spChg chg="mod ord">
          <ac:chgData name="Jacobo de Nicolás Nuñez" userId="7c6829d1-1bf6-4417-b4a9-02cb8827630e" providerId="ADAL" clId="{857BC41E-A371-448C-9B0F-48FE52EEF25B}" dt="2025-04-17T13:30:03.750" v="7175"/>
          <ac:spMkLst>
            <pc:docMk/>
            <pc:sldMk cId="831149825" sldId="2134806018"/>
            <ac:spMk id="8" creationId="{EEBB8346-6D75-5656-B65F-58B584326B28}"/>
          </ac:spMkLst>
        </pc:spChg>
        <pc:spChg chg="mod ord">
          <ac:chgData name="Jacobo de Nicolás Nuñez" userId="7c6829d1-1bf6-4417-b4a9-02cb8827630e" providerId="ADAL" clId="{857BC41E-A371-448C-9B0F-48FE52EEF25B}" dt="2025-04-17T13:30:03.750" v="7177"/>
          <ac:spMkLst>
            <pc:docMk/>
            <pc:sldMk cId="831149825" sldId="2134806018"/>
            <ac:spMk id="9" creationId="{40B24B90-41A2-3C31-1ADE-B3A1CEE3DA95}"/>
          </ac:spMkLst>
        </pc:spChg>
        <pc:spChg chg="mod ord">
          <ac:chgData name="Jacobo de Nicolás Nuñez" userId="7c6829d1-1bf6-4417-b4a9-02cb8827630e" providerId="ADAL" clId="{857BC41E-A371-448C-9B0F-48FE52EEF25B}" dt="2025-04-17T13:30:03.766" v="7179"/>
          <ac:spMkLst>
            <pc:docMk/>
            <pc:sldMk cId="831149825" sldId="2134806018"/>
            <ac:spMk id="11" creationId="{DA792CE8-CD49-B853-7419-789D39BCEEF4}"/>
          </ac:spMkLst>
        </pc:spChg>
        <pc:spChg chg="mod ord">
          <ac:chgData name="Jacobo de Nicolás Nuñez" userId="7c6829d1-1bf6-4417-b4a9-02cb8827630e" providerId="ADAL" clId="{857BC41E-A371-448C-9B0F-48FE52EEF25B}" dt="2025-04-17T13:30:03.766" v="7181"/>
          <ac:spMkLst>
            <pc:docMk/>
            <pc:sldMk cId="831149825" sldId="2134806018"/>
            <ac:spMk id="47" creationId="{EDCB1746-69D8-711E-6340-2E84ADEC2619}"/>
          </ac:spMkLst>
        </pc:spChg>
        <pc:spChg chg="mod ord">
          <ac:chgData name="Jacobo de Nicolás Nuñez" userId="7c6829d1-1bf6-4417-b4a9-02cb8827630e" providerId="ADAL" clId="{857BC41E-A371-448C-9B0F-48FE52EEF25B}" dt="2025-04-17T13:30:03.766" v="7183"/>
          <ac:spMkLst>
            <pc:docMk/>
            <pc:sldMk cId="831149825" sldId="2134806018"/>
            <ac:spMk id="48" creationId="{37772472-6564-C150-4A79-EA1C1AC5D67D}"/>
          </ac:spMkLst>
        </pc:spChg>
        <pc:spChg chg="mod ord">
          <ac:chgData name="Jacobo de Nicolás Nuñez" userId="7c6829d1-1bf6-4417-b4a9-02cb8827630e" providerId="ADAL" clId="{857BC41E-A371-448C-9B0F-48FE52EEF25B}" dt="2025-04-17T13:30:03.766" v="7185"/>
          <ac:spMkLst>
            <pc:docMk/>
            <pc:sldMk cId="831149825" sldId="2134806018"/>
            <ac:spMk id="49" creationId="{F1201C1E-D730-FC0C-D2C9-D42DAC62B49B}"/>
          </ac:spMkLst>
        </pc:spChg>
        <pc:spChg chg="mod ord">
          <ac:chgData name="Jacobo de Nicolás Nuñez" userId="7c6829d1-1bf6-4417-b4a9-02cb8827630e" providerId="ADAL" clId="{857BC41E-A371-448C-9B0F-48FE52EEF25B}" dt="2025-04-17T13:30:03.766" v="7187"/>
          <ac:spMkLst>
            <pc:docMk/>
            <pc:sldMk cId="831149825" sldId="2134806018"/>
            <ac:spMk id="50" creationId="{A2EF0CE7-DC9B-24D1-8EBC-C46C18EF1D4B}"/>
          </ac:spMkLst>
        </pc:spChg>
        <pc:spChg chg="mod ord">
          <ac:chgData name="Jacobo de Nicolás Nuñez" userId="7c6829d1-1bf6-4417-b4a9-02cb8827630e" providerId="ADAL" clId="{857BC41E-A371-448C-9B0F-48FE52EEF25B}" dt="2025-04-17T13:30:03.766" v="7189"/>
          <ac:spMkLst>
            <pc:docMk/>
            <pc:sldMk cId="831149825" sldId="2134806018"/>
            <ac:spMk id="52" creationId="{CABF6519-7F85-E3E7-53DD-133ED294E5C6}"/>
          </ac:spMkLst>
        </pc:spChg>
        <pc:graphicFrameChg chg="add mod ord modVis">
          <ac:chgData name="Jacobo de Nicolás Nuñez" userId="7c6829d1-1bf6-4417-b4a9-02cb8827630e" providerId="ADAL" clId="{857BC41E-A371-448C-9B0F-48FE52EEF25B}" dt="2025-04-17T13:30:03.766" v="7191"/>
          <ac:graphicFrameMkLst>
            <pc:docMk/>
            <pc:sldMk cId="831149825" sldId="2134806018"/>
            <ac:graphicFrameMk id="3" creationId="{1E51BDB5-CEEE-E888-B201-47736A691113}"/>
          </ac:graphicFrameMkLst>
        </pc:graphicFrameChg>
        <pc:picChg chg="add mod ord">
          <ac:chgData name="Jacobo de Nicolás Nuñez" userId="7c6829d1-1bf6-4417-b4a9-02cb8827630e" providerId="ADAL" clId="{857BC41E-A371-448C-9B0F-48FE52EEF25B}" dt="2025-04-17T13:30:03.750" v="7171"/>
          <ac:picMkLst>
            <pc:docMk/>
            <pc:sldMk cId="831149825" sldId="2134806018"/>
            <ac:picMk id="2" creationId="{5E975C9B-5751-E588-597B-18A33D15A613}"/>
          </ac:picMkLst>
        </pc:picChg>
        <pc:picChg chg="add mod ord">
          <ac:chgData name="Jacobo de Nicolás Nuñez" userId="7c6829d1-1bf6-4417-b4a9-02cb8827630e" providerId="ADAL" clId="{857BC41E-A371-448C-9B0F-48FE52EEF25B}" dt="2025-04-17T13:30:20.530" v="7192" actId="1076"/>
          <ac:picMkLst>
            <pc:docMk/>
            <pc:sldMk cId="831149825" sldId="2134806018"/>
            <ac:picMk id="5" creationId="{EE4A305C-A4D7-F404-0185-E52A53FA4E9F}"/>
          </ac:picMkLst>
        </pc:picChg>
        <pc:picChg chg="add mod ord">
          <ac:chgData name="Jacobo de Nicolás Nuñez" userId="7c6829d1-1bf6-4417-b4a9-02cb8827630e" providerId="ADAL" clId="{857BC41E-A371-448C-9B0F-48FE52EEF25B}" dt="2025-04-22T13:32:28.409" v="8176" actId="14100"/>
          <ac:picMkLst>
            <pc:docMk/>
            <pc:sldMk cId="831149825" sldId="2134806018"/>
            <ac:picMk id="6" creationId="{02429394-8C78-1984-66E5-E77A36033631}"/>
          </ac:picMkLst>
        </pc:picChg>
        <pc:picChg chg="add mod ord">
          <ac:chgData name="Jacobo de Nicolás Nuñez" userId="7c6829d1-1bf6-4417-b4a9-02cb8827630e" providerId="ADAL" clId="{857BC41E-A371-448C-9B0F-48FE52EEF25B}" dt="2025-04-17T13:30:28.819" v="7194" actId="1076"/>
          <ac:picMkLst>
            <pc:docMk/>
            <pc:sldMk cId="831149825" sldId="2134806018"/>
            <ac:picMk id="7" creationId="{D71DCA5F-7C7B-CF35-5C99-A633C7CCE14F}"/>
          </ac:picMkLst>
        </pc:picChg>
        <pc:picChg chg="add mod ord">
          <ac:chgData name="Jacobo de Nicolás Nuñez" userId="7c6829d1-1bf6-4417-b4a9-02cb8827630e" providerId="ADAL" clId="{857BC41E-A371-448C-9B0F-48FE52EEF25B}" dt="2025-04-17T13:30:03.750" v="7165"/>
          <ac:picMkLst>
            <pc:docMk/>
            <pc:sldMk cId="831149825" sldId="2134806018"/>
            <ac:picMk id="10" creationId="{F23AC014-B45F-CE72-3B44-8543C3320974}"/>
          </ac:picMkLst>
        </pc:picChg>
      </pc:sldChg>
      <pc:sldChg chg="addSp delSp modSp mod">
        <pc:chgData name="Jacobo de Nicolás Nuñez" userId="7c6829d1-1bf6-4417-b4a9-02cb8827630e" providerId="ADAL" clId="{857BC41E-A371-448C-9B0F-48FE52EEF25B}" dt="2025-04-22T13:13:03.547" v="8123" actId="12788"/>
        <pc:sldMkLst>
          <pc:docMk/>
          <pc:sldMk cId="347654087" sldId="2134806019"/>
        </pc:sldMkLst>
        <pc:spChg chg="mod ord">
          <ac:chgData name="Jacobo de Nicolás Nuñez" userId="7c6829d1-1bf6-4417-b4a9-02cb8827630e" providerId="ADAL" clId="{857BC41E-A371-448C-9B0F-48FE52EEF25B}" dt="2025-04-22T13:12:19.732" v="8081"/>
          <ac:spMkLst>
            <pc:docMk/>
            <pc:sldMk cId="347654087" sldId="2134806019"/>
            <ac:spMk id="2" creationId="{93173A44-42A6-42A5-1823-F1F9E451E798}"/>
          </ac:spMkLst>
        </pc:spChg>
        <pc:spChg chg="mod ord">
          <ac:chgData name="Jacobo de Nicolás Nuñez" userId="7c6829d1-1bf6-4417-b4a9-02cb8827630e" providerId="ADAL" clId="{857BC41E-A371-448C-9B0F-48FE52EEF25B}" dt="2025-04-22T13:12:19.732" v="8077"/>
          <ac:spMkLst>
            <pc:docMk/>
            <pc:sldMk cId="347654087" sldId="2134806019"/>
            <ac:spMk id="6" creationId="{12F1C4B7-6AFB-A951-AAB7-24F51782330A}"/>
          </ac:spMkLst>
        </pc:spChg>
        <pc:spChg chg="mod ord">
          <ac:chgData name="Jacobo de Nicolás Nuñez" userId="7c6829d1-1bf6-4417-b4a9-02cb8827630e" providerId="ADAL" clId="{857BC41E-A371-448C-9B0F-48FE52EEF25B}" dt="2025-04-22T13:12:19.732" v="8083"/>
          <ac:spMkLst>
            <pc:docMk/>
            <pc:sldMk cId="347654087" sldId="2134806019"/>
            <ac:spMk id="8" creationId="{B9274595-084B-466D-8304-C6F92E8BBBD0}"/>
          </ac:spMkLst>
        </pc:spChg>
        <pc:spChg chg="mod ord">
          <ac:chgData name="Jacobo de Nicolás Nuñez" userId="7c6829d1-1bf6-4417-b4a9-02cb8827630e" providerId="ADAL" clId="{857BC41E-A371-448C-9B0F-48FE52EEF25B}" dt="2025-04-22T13:12:19.732" v="8085"/>
          <ac:spMkLst>
            <pc:docMk/>
            <pc:sldMk cId="347654087" sldId="2134806019"/>
            <ac:spMk id="9" creationId="{877C1405-3B99-3727-B02C-6415E4AB04AD}"/>
          </ac:spMkLst>
        </pc:spChg>
        <pc:spChg chg="mod ord">
          <ac:chgData name="Jacobo de Nicolás Nuñez" userId="7c6829d1-1bf6-4417-b4a9-02cb8827630e" providerId="ADAL" clId="{857BC41E-A371-448C-9B0F-48FE52EEF25B}" dt="2025-04-22T13:12:19.732" v="8091"/>
          <ac:spMkLst>
            <pc:docMk/>
            <pc:sldMk cId="347654087" sldId="2134806019"/>
            <ac:spMk id="10" creationId="{4AC399DE-D4E4-C4AF-59E7-215433152576}"/>
          </ac:spMkLst>
        </pc:spChg>
        <pc:spChg chg="mod ord">
          <ac:chgData name="Jacobo de Nicolás Nuñez" userId="7c6829d1-1bf6-4417-b4a9-02cb8827630e" providerId="ADAL" clId="{857BC41E-A371-448C-9B0F-48FE52EEF25B}" dt="2025-04-22T13:12:19.732" v="8093"/>
          <ac:spMkLst>
            <pc:docMk/>
            <pc:sldMk cId="347654087" sldId="2134806019"/>
            <ac:spMk id="14" creationId="{112015D1-D60A-74CA-1844-C31CDFDD56B7}"/>
          </ac:spMkLst>
        </pc:spChg>
        <pc:spChg chg="mod ord">
          <ac:chgData name="Jacobo de Nicolás Nuñez" userId="7c6829d1-1bf6-4417-b4a9-02cb8827630e" providerId="ADAL" clId="{857BC41E-A371-448C-9B0F-48FE52EEF25B}" dt="2025-04-22T13:12:19.747" v="8095"/>
          <ac:spMkLst>
            <pc:docMk/>
            <pc:sldMk cId="347654087" sldId="2134806019"/>
            <ac:spMk id="15" creationId="{8B1F82C2-39A7-A842-1257-B0848E4CF19A}"/>
          </ac:spMkLst>
        </pc:spChg>
        <pc:spChg chg="mod ord">
          <ac:chgData name="Jacobo de Nicolás Nuñez" userId="7c6829d1-1bf6-4417-b4a9-02cb8827630e" providerId="ADAL" clId="{857BC41E-A371-448C-9B0F-48FE52EEF25B}" dt="2025-04-22T13:12:19.747" v="8097"/>
          <ac:spMkLst>
            <pc:docMk/>
            <pc:sldMk cId="347654087" sldId="2134806019"/>
            <ac:spMk id="16" creationId="{EF39FEBC-8154-B1DD-F8E5-AB953EF8C0A5}"/>
          </ac:spMkLst>
        </pc:spChg>
        <pc:spChg chg="mod ord">
          <ac:chgData name="Jacobo de Nicolás Nuñez" userId="7c6829d1-1bf6-4417-b4a9-02cb8827630e" providerId="ADAL" clId="{857BC41E-A371-448C-9B0F-48FE52EEF25B}" dt="2025-04-22T13:12:19.747" v="8099"/>
          <ac:spMkLst>
            <pc:docMk/>
            <pc:sldMk cId="347654087" sldId="2134806019"/>
            <ac:spMk id="17" creationId="{A726630F-311A-0B82-64B1-50AFC5081DCF}"/>
          </ac:spMkLst>
        </pc:spChg>
        <pc:spChg chg="mod ord">
          <ac:chgData name="Jacobo de Nicolás Nuñez" userId="7c6829d1-1bf6-4417-b4a9-02cb8827630e" providerId="ADAL" clId="{857BC41E-A371-448C-9B0F-48FE52EEF25B}" dt="2025-04-22T13:12:19.747" v="8101"/>
          <ac:spMkLst>
            <pc:docMk/>
            <pc:sldMk cId="347654087" sldId="2134806019"/>
            <ac:spMk id="18" creationId="{5C1A3CC6-D3C2-A3A4-6A47-551FDA85DB42}"/>
          </ac:spMkLst>
        </pc:spChg>
        <pc:spChg chg="mod ord">
          <ac:chgData name="Jacobo de Nicolás Nuñez" userId="7c6829d1-1bf6-4417-b4a9-02cb8827630e" providerId="ADAL" clId="{857BC41E-A371-448C-9B0F-48FE52EEF25B}" dt="2025-04-22T13:12:19.747" v="8103"/>
          <ac:spMkLst>
            <pc:docMk/>
            <pc:sldMk cId="347654087" sldId="2134806019"/>
            <ac:spMk id="19" creationId="{2AC0F185-222B-3FC8-1854-09D97D7B744E}"/>
          </ac:spMkLst>
        </pc:spChg>
        <pc:spChg chg="mod ord">
          <ac:chgData name="Jacobo de Nicolás Nuñez" userId="7c6829d1-1bf6-4417-b4a9-02cb8827630e" providerId="ADAL" clId="{857BC41E-A371-448C-9B0F-48FE52EEF25B}" dt="2025-04-22T13:12:19.747" v="8105"/>
          <ac:spMkLst>
            <pc:docMk/>
            <pc:sldMk cId="347654087" sldId="2134806019"/>
            <ac:spMk id="20" creationId="{84795906-2FE1-D3EB-74D1-F066FAB7872B}"/>
          </ac:spMkLst>
        </pc:spChg>
        <pc:spChg chg="mod ord">
          <ac:chgData name="Jacobo de Nicolás Nuñez" userId="7c6829d1-1bf6-4417-b4a9-02cb8827630e" providerId="ADAL" clId="{857BC41E-A371-448C-9B0F-48FE52EEF25B}" dt="2025-04-22T13:12:19.732" v="8079"/>
          <ac:spMkLst>
            <pc:docMk/>
            <pc:sldMk cId="347654087" sldId="2134806019"/>
            <ac:spMk id="22" creationId="{F7E95C66-8494-271D-5115-56E7BDFEBDE2}"/>
          </ac:spMkLst>
        </pc:spChg>
        <pc:spChg chg="mod ord">
          <ac:chgData name="Jacobo de Nicolás Nuñez" userId="7c6829d1-1bf6-4417-b4a9-02cb8827630e" providerId="ADAL" clId="{857BC41E-A371-448C-9B0F-48FE52EEF25B}" dt="2025-04-22T13:12:19.732" v="8075"/>
          <ac:spMkLst>
            <pc:docMk/>
            <pc:sldMk cId="347654087" sldId="2134806019"/>
            <ac:spMk id="70" creationId="{806B8040-186A-DF35-242B-F6AD41CEFC9B}"/>
          </ac:spMkLst>
        </pc:spChg>
        <pc:graphicFrameChg chg="add mod ord modVis">
          <ac:chgData name="Jacobo de Nicolás Nuñez" userId="7c6829d1-1bf6-4417-b4a9-02cb8827630e" providerId="ADAL" clId="{857BC41E-A371-448C-9B0F-48FE52EEF25B}" dt="2025-04-22T13:12:19.747" v="8107"/>
          <ac:graphicFrameMkLst>
            <pc:docMk/>
            <pc:sldMk cId="347654087" sldId="2134806019"/>
            <ac:graphicFrameMk id="4" creationId="{472878B3-B65E-8EB1-48BD-8F5365D7D2F1}"/>
          </ac:graphicFrameMkLst>
        </pc:graphicFrameChg>
        <pc:picChg chg="add mod ord">
          <ac:chgData name="Jacobo de Nicolás Nuñez" userId="7c6829d1-1bf6-4417-b4a9-02cb8827630e" providerId="ADAL" clId="{857BC41E-A371-448C-9B0F-48FE52EEF25B}" dt="2025-04-22T13:13:03.547" v="8123" actId="12788"/>
          <ac:picMkLst>
            <pc:docMk/>
            <pc:sldMk cId="347654087" sldId="2134806019"/>
            <ac:picMk id="3" creationId="{627327B8-5DA2-777B-2E60-E77FE1364A89}"/>
          </ac:picMkLst>
        </pc:picChg>
        <pc:picChg chg="mod ord">
          <ac:chgData name="Jacobo de Nicolás Nuñez" userId="7c6829d1-1bf6-4417-b4a9-02cb8827630e" providerId="ADAL" clId="{857BC41E-A371-448C-9B0F-48FE52EEF25B}" dt="2025-04-22T13:12:19.732" v="8087"/>
          <ac:picMkLst>
            <pc:docMk/>
            <pc:sldMk cId="347654087" sldId="2134806019"/>
            <ac:picMk id="11" creationId="{FB3623E7-EC64-5F6F-A050-82A6FC736014}"/>
          </ac:picMkLst>
        </pc:picChg>
        <pc:picChg chg="mod ord">
          <ac:chgData name="Jacobo de Nicolás Nuñez" userId="7c6829d1-1bf6-4417-b4a9-02cb8827630e" providerId="ADAL" clId="{857BC41E-A371-448C-9B0F-48FE52EEF25B}" dt="2025-04-22T13:12:19.732" v="8089"/>
          <ac:picMkLst>
            <pc:docMk/>
            <pc:sldMk cId="347654087" sldId="2134806019"/>
            <ac:picMk id="12" creationId="{536718A4-3027-6AFE-4720-AC6F5092C466}"/>
          </ac:picMkLst>
        </pc:picChg>
        <pc:picChg chg="add mod ord">
          <ac:chgData name="Jacobo de Nicolás Nuñez" userId="7c6829d1-1bf6-4417-b4a9-02cb8827630e" providerId="ADAL" clId="{857BC41E-A371-448C-9B0F-48FE52EEF25B}" dt="2025-04-22T13:13:03.547" v="8123" actId="12788"/>
          <ac:picMkLst>
            <pc:docMk/>
            <pc:sldMk cId="347654087" sldId="2134806019"/>
            <ac:picMk id="27" creationId="{86388B7C-200C-49ED-FD62-DF24E433FC7B}"/>
          </ac:picMkLst>
        </pc:picChg>
        <pc:picChg chg="add mod ord">
          <ac:chgData name="Jacobo de Nicolás Nuñez" userId="7c6829d1-1bf6-4417-b4a9-02cb8827630e" providerId="ADAL" clId="{857BC41E-A371-448C-9B0F-48FE52EEF25B}" dt="2025-04-22T13:13:03.547" v="8123" actId="12788"/>
          <ac:picMkLst>
            <pc:docMk/>
            <pc:sldMk cId="347654087" sldId="2134806019"/>
            <ac:picMk id="28" creationId="{5A008F49-5940-2716-1CE6-AA53330A8A85}"/>
          </ac:picMkLst>
        </pc:picChg>
        <pc:picChg chg="add mod ord">
          <ac:chgData name="Jacobo de Nicolás Nuñez" userId="7c6829d1-1bf6-4417-b4a9-02cb8827630e" providerId="ADAL" clId="{857BC41E-A371-448C-9B0F-48FE52EEF25B}" dt="2025-04-22T13:12:52.611" v="8121" actId="12788"/>
          <ac:picMkLst>
            <pc:docMk/>
            <pc:sldMk cId="347654087" sldId="2134806019"/>
            <ac:picMk id="29" creationId="{D1660FE9-C367-B649-A471-EB4547BDA27B}"/>
          </ac:picMkLst>
        </pc:picChg>
        <pc:picChg chg="add mod ord">
          <ac:chgData name="Jacobo de Nicolás Nuñez" userId="7c6829d1-1bf6-4417-b4a9-02cb8827630e" providerId="ADAL" clId="{857BC41E-A371-448C-9B0F-48FE52EEF25B}" dt="2025-04-22T13:12:52.611" v="8121" actId="12788"/>
          <ac:picMkLst>
            <pc:docMk/>
            <pc:sldMk cId="347654087" sldId="2134806019"/>
            <ac:picMk id="30" creationId="{97A9A6DB-DA8B-BF4F-E85A-593BD4BAD962}"/>
          </ac:picMkLst>
        </pc:picChg>
        <pc:picChg chg="add mod ord">
          <ac:chgData name="Jacobo de Nicolás Nuñez" userId="7c6829d1-1bf6-4417-b4a9-02cb8827630e" providerId="ADAL" clId="{857BC41E-A371-448C-9B0F-48FE52EEF25B}" dt="2025-04-22T13:13:03.547" v="8123" actId="12788"/>
          <ac:picMkLst>
            <pc:docMk/>
            <pc:sldMk cId="347654087" sldId="2134806019"/>
            <ac:picMk id="31" creationId="{C542BCBD-9AD0-1BF7-3A03-2BDD2996EFA1}"/>
          </ac:picMkLst>
        </pc:picChg>
      </pc:sldChg>
      <pc:sldChg chg="addSp delSp modSp mod">
        <pc:chgData name="Jacobo de Nicolás Nuñez" userId="7c6829d1-1bf6-4417-b4a9-02cb8827630e" providerId="ADAL" clId="{857BC41E-A371-448C-9B0F-48FE52EEF25B}" dt="2025-04-17T08:52:01.459" v="6924" actId="1076"/>
        <pc:sldMkLst>
          <pc:docMk/>
          <pc:sldMk cId="2747048787" sldId="2134806021"/>
        </pc:sldMkLst>
        <pc:picChg chg="add mod">
          <ac:chgData name="Jacobo de Nicolás Nuñez" userId="7c6829d1-1bf6-4417-b4a9-02cb8827630e" providerId="ADAL" clId="{857BC41E-A371-448C-9B0F-48FE52EEF25B}" dt="2025-04-17T08:52:01.459" v="6924" actId="1076"/>
          <ac:picMkLst>
            <pc:docMk/>
            <pc:sldMk cId="2747048787" sldId="2134806021"/>
            <ac:picMk id="5" creationId="{8FD69C6C-3DF3-F0FB-0F6C-8B3DF866D0DD}"/>
          </ac:picMkLst>
        </pc:picChg>
        <pc:picChg chg="add mod">
          <ac:chgData name="Jacobo de Nicolás Nuñez" userId="7c6829d1-1bf6-4417-b4a9-02cb8827630e" providerId="ADAL" clId="{857BC41E-A371-448C-9B0F-48FE52EEF25B}" dt="2025-04-17T08:52:01.459" v="6924" actId="1076"/>
          <ac:picMkLst>
            <pc:docMk/>
            <pc:sldMk cId="2747048787" sldId="2134806021"/>
            <ac:picMk id="7" creationId="{274B183A-03D5-4B58-638E-F9B1C7013B5E}"/>
          </ac:picMkLst>
        </pc:picChg>
        <pc:picChg chg="add mod">
          <ac:chgData name="Jacobo de Nicolás Nuñez" userId="7c6829d1-1bf6-4417-b4a9-02cb8827630e" providerId="ADAL" clId="{857BC41E-A371-448C-9B0F-48FE52EEF25B}" dt="2025-04-17T08:52:01.459" v="6924" actId="1076"/>
          <ac:picMkLst>
            <pc:docMk/>
            <pc:sldMk cId="2747048787" sldId="2134806021"/>
            <ac:picMk id="14" creationId="{D7D60C0F-CB12-475C-C3D5-5712AF46A7B0}"/>
          </ac:picMkLst>
        </pc:picChg>
      </pc:sldChg>
      <pc:sldChg chg="addSp delSp modSp mod">
        <pc:chgData name="Jacobo de Nicolás Nuñez" userId="7c6829d1-1bf6-4417-b4a9-02cb8827630e" providerId="ADAL" clId="{857BC41E-A371-448C-9B0F-48FE52EEF25B}" dt="2025-04-22T14:52:56.198" v="8579" actId="14100"/>
        <pc:sldMkLst>
          <pc:docMk/>
          <pc:sldMk cId="2545566061" sldId="2134806022"/>
        </pc:sldMkLst>
        <pc:spChg chg="mod ord">
          <ac:chgData name="Jacobo de Nicolás Nuñez" userId="7c6829d1-1bf6-4417-b4a9-02cb8827630e" providerId="ADAL" clId="{857BC41E-A371-448C-9B0F-48FE52EEF25B}" dt="2025-04-15T13:35:03.996" v="4442"/>
          <ac:spMkLst>
            <pc:docMk/>
            <pc:sldMk cId="2545566061" sldId="2134806022"/>
            <ac:spMk id="2" creationId="{CC4545DA-5D9F-B3DF-D9A0-ACCBB74B9DC6}"/>
          </ac:spMkLst>
        </pc:spChg>
        <pc:spChg chg="mod ord">
          <ac:chgData name="Jacobo de Nicolás Nuñez" userId="7c6829d1-1bf6-4417-b4a9-02cb8827630e" providerId="ADAL" clId="{857BC41E-A371-448C-9B0F-48FE52EEF25B}" dt="2025-04-15T13:35:03.996" v="4436"/>
          <ac:spMkLst>
            <pc:docMk/>
            <pc:sldMk cId="2545566061" sldId="2134806022"/>
            <ac:spMk id="4" creationId="{2F238DCE-7962-59AE-625F-AE1415707A1B}"/>
          </ac:spMkLst>
        </pc:spChg>
        <pc:spChg chg="mod ord">
          <ac:chgData name="Jacobo de Nicolás Nuñez" userId="7c6829d1-1bf6-4417-b4a9-02cb8827630e" providerId="ADAL" clId="{857BC41E-A371-448C-9B0F-48FE52EEF25B}" dt="2025-04-15T13:35:03.996" v="4444"/>
          <ac:spMkLst>
            <pc:docMk/>
            <pc:sldMk cId="2545566061" sldId="2134806022"/>
            <ac:spMk id="6" creationId="{D836308D-A8CC-F0F6-B825-93A38191AFD3}"/>
          </ac:spMkLst>
        </pc:spChg>
        <pc:spChg chg="mod ord">
          <ac:chgData name="Jacobo de Nicolás Nuñez" userId="7c6829d1-1bf6-4417-b4a9-02cb8827630e" providerId="ADAL" clId="{857BC41E-A371-448C-9B0F-48FE52EEF25B}" dt="2025-04-15T13:35:03.996" v="4464"/>
          <ac:spMkLst>
            <pc:docMk/>
            <pc:sldMk cId="2545566061" sldId="2134806022"/>
            <ac:spMk id="7" creationId="{AD3E5E5F-BA7E-3C83-AF24-2F435AD772D6}"/>
          </ac:spMkLst>
        </pc:spChg>
        <pc:spChg chg="mod ord">
          <ac:chgData name="Jacobo de Nicolás Nuñez" userId="7c6829d1-1bf6-4417-b4a9-02cb8827630e" providerId="ADAL" clId="{857BC41E-A371-448C-9B0F-48FE52EEF25B}" dt="2025-04-15T13:35:03.996" v="4446"/>
          <ac:spMkLst>
            <pc:docMk/>
            <pc:sldMk cId="2545566061" sldId="2134806022"/>
            <ac:spMk id="8" creationId="{06ADBD8E-40C8-94CF-28E9-3825DC324D79}"/>
          </ac:spMkLst>
        </pc:spChg>
        <pc:spChg chg="mod ord">
          <ac:chgData name="Jacobo de Nicolás Nuñez" userId="7c6829d1-1bf6-4417-b4a9-02cb8827630e" providerId="ADAL" clId="{857BC41E-A371-448C-9B0F-48FE52EEF25B}" dt="2025-04-15T13:35:03.996" v="4448"/>
          <ac:spMkLst>
            <pc:docMk/>
            <pc:sldMk cId="2545566061" sldId="2134806022"/>
            <ac:spMk id="9" creationId="{A4D7BF8D-3A2F-86EB-C405-054082023F6C}"/>
          </ac:spMkLst>
        </pc:spChg>
        <pc:spChg chg="mod ord">
          <ac:chgData name="Jacobo de Nicolás Nuñez" userId="7c6829d1-1bf6-4417-b4a9-02cb8827630e" providerId="ADAL" clId="{857BC41E-A371-448C-9B0F-48FE52EEF25B}" dt="2025-04-15T13:35:03.996" v="4434"/>
          <ac:spMkLst>
            <pc:docMk/>
            <pc:sldMk cId="2545566061" sldId="2134806022"/>
            <ac:spMk id="10" creationId="{6BD86430-E89E-5E55-881E-8E6FB12B6D76}"/>
          </ac:spMkLst>
        </pc:spChg>
        <pc:spChg chg="mod ord">
          <ac:chgData name="Jacobo de Nicolás Nuñez" userId="7c6829d1-1bf6-4417-b4a9-02cb8827630e" providerId="ADAL" clId="{857BC41E-A371-448C-9B0F-48FE52EEF25B}" dt="2025-04-15T13:35:03.996" v="4450"/>
          <ac:spMkLst>
            <pc:docMk/>
            <pc:sldMk cId="2545566061" sldId="2134806022"/>
            <ac:spMk id="11" creationId="{C50DEA45-ED0C-3863-6DF5-8828053A193B}"/>
          </ac:spMkLst>
        </pc:spChg>
        <pc:spChg chg="mod ord">
          <ac:chgData name="Jacobo de Nicolás Nuñez" userId="7c6829d1-1bf6-4417-b4a9-02cb8827630e" providerId="ADAL" clId="{857BC41E-A371-448C-9B0F-48FE52EEF25B}" dt="2025-04-15T13:35:03.996" v="4452"/>
          <ac:spMkLst>
            <pc:docMk/>
            <pc:sldMk cId="2545566061" sldId="2134806022"/>
            <ac:spMk id="14" creationId="{FA346628-A11B-63F7-BBFA-5C6F4FA3556B}"/>
          </ac:spMkLst>
        </pc:spChg>
        <pc:spChg chg="mod ord">
          <ac:chgData name="Jacobo de Nicolás Nuñez" userId="7c6829d1-1bf6-4417-b4a9-02cb8827630e" providerId="ADAL" clId="{857BC41E-A371-448C-9B0F-48FE52EEF25B}" dt="2025-04-15T13:35:03.996" v="4454"/>
          <ac:spMkLst>
            <pc:docMk/>
            <pc:sldMk cId="2545566061" sldId="2134806022"/>
            <ac:spMk id="15" creationId="{2BA93D80-8F9D-94AB-ED72-C21328770667}"/>
          </ac:spMkLst>
        </pc:spChg>
        <pc:spChg chg="mod ord">
          <ac:chgData name="Jacobo de Nicolás Nuñez" userId="7c6829d1-1bf6-4417-b4a9-02cb8827630e" providerId="ADAL" clId="{857BC41E-A371-448C-9B0F-48FE52EEF25B}" dt="2025-04-15T13:35:03.996" v="4456"/>
          <ac:spMkLst>
            <pc:docMk/>
            <pc:sldMk cId="2545566061" sldId="2134806022"/>
            <ac:spMk id="16" creationId="{21F3C7C0-ABF0-B68C-A7F9-B0E0BA3AF141}"/>
          </ac:spMkLst>
        </pc:spChg>
        <pc:spChg chg="mod ord">
          <ac:chgData name="Jacobo de Nicolás Nuñez" userId="7c6829d1-1bf6-4417-b4a9-02cb8827630e" providerId="ADAL" clId="{857BC41E-A371-448C-9B0F-48FE52EEF25B}" dt="2025-04-15T13:35:03.996" v="4458"/>
          <ac:spMkLst>
            <pc:docMk/>
            <pc:sldMk cId="2545566061" sldId="2134806022"/>
            <ac:spMk id="17" creationId="{0C35584A-3B67-D1A4-239C-7D74D634B77A}"/>
          </ac:spMkLst>
        </pc:spChg>
        <pc:spChg chg="mod ord">
          <ac:chgData name="Jacobo de Nicolás Nuñez" userId="7c6829d1-1bf6-4417-b4a9-02cb8827630e" providerId="ADAL" clId="{857BC41E-A371-448C-9B0F-48FE52EEF25B}" dt="2025-04-15T13:35:03.996" v="4470"/>
          <ac:spMkLst>
            <pc:docMk/>
            <pc:sldMk cId="2545566061" sldId="2134806022"/>
            <ac:spMk id="19" creationId="{B2D745DD-10D3-B7CD-7638-83AA38EE6D58}"/>
          </ac:spMkLst>
        </pc:spChg>
        <pc:spChg chg="mod ord">
          <ac:chgData name="Jacobo de Nicolás Nuñez" userId="7c6829d1-1bf6-4417-b4a9-02cb8827630e" providerId="ADAL" clId="{857BC41E-A371-448C-9B0F-48FE52EEF25B}" dt="2025-04-15T13:35:03.996" v="4466"/>
          <ac:spMkLst>
            <pc:docMk/>
            <pc:sldMk cId="2545566061" sldId="2134806022"/>
            <ac:spMk id="20" creationId="{A2769614-50CB-9E79-077C-BCF5230FA545}"/>
          </ac:spMkLst>
        </pc:spChg>
        <pc:spChg chg="mod ord">
          <ac:chgData name="Jacobo de Nicolás Nuñez" userId="7c6829d1-1bf6-4417-b4a9-02cb8827630e" providerId="ADAL" clId="{857BC41E-A371-448C-9B0F-48FE52EEF25B}" dt="2025-04-15T13:35:03.994" v="4432"/>
          <ac:spMkLst>
            <pc:docMk/>
            <pc:sldMk cId="2545566061" sldId="2134806022"/>
            <ac:spMk id="70" creationId="{012F8679-9849-592E-D97B-8720B351CEEC}"/>
          </ac:spMkLst>
        </pc:spChg>
        <pc:graphicFrameChg chg="add mod ord modVis">
          <ac:chgData name="Jacobo de Nicolás Nuñez" userId="7c6829d1-1bf6-4417-b4a9-02cb8827630e" providerId="ADAL" clId="{857BC41E-A371-448C-9B0F-48FE52EEF25B}" dt="2025-04-15T13:35:03.996" v="4472"/>
          <ac:graphicFrameMkLst>
            <pc:docMk/>
            <pc:sldMk cId="2545566061" sldId="2134806022"/>
            <ac:graphicFrameMk id="13" creationId="{84C5C0AB-7C9B-98FE-646B-6AFA5269CBD1}"/>
          </ac:graphicFrameMkLst>
        </pc:graphicFrameChg>
        <pc:picChg chg="add mod ord">
          <ac:chgData name="Jacobo de Nicolás Nuñez" userId="7c6829d1-1bf6-4417-b4a9-02cb8827630e" providerId="ADAL" clId="{857BC41E-A371-448C-9B0F-48FE52EEF25B}" dt="2025-04-22T12:57:32.316" v="7721" actId="1076"/>
          <ac:picMkLst>
            <pc:docMk/>
            <pc:sldMk cId="2545566061" sldId="2134806022"/>
            <ac:picMk id="12" creationId="{94699D15-6EAF-E3CC-A84B-26784C2E434C}"/>
          </ac:picMkLst>
        </pc:picChg>
        <pc:picChg chg="mod ord">
          <ac:chgData name="Jacobo de Nicolás Nuñez" userId="7c6829d1-1bf6-4417-b4a9-02cb8827630e" providerId="ADAL" clId="{857BC41E-A371-448C-9B0F-48FE52EEF25B}" dt="2025-04-22T14:52:56.198" v="8579" actId="14100"/>
          <ac:picMkLst>
            <pc:docMk/>
            <pc:sldMk cId="2545566061" sldId="2134806022"/>
            <ac:picMk id="18" creationId="{F2AAE8E9-42B3-0624-DB35-74CFDBC90C7E}"/>
          </ac:picMkLst>
        </pc:picChg>
        <pc:picChg chg="add mod ord">
          <ac:chgData name="Jacobo de Nicolás Nuñez" userId="7c6829d1-1bf6-4417-b4a9-02cb8827630e" providerId="ADAL" clId="{857BC41E-A371-448C-9B0F-48FE52EEF25B}" dt="2025-04-22T12:57:32.316" v="7721" actId="1076"/>
          <ac:picMkLst>
            <pc:docMk/>
            <pc:sldMk cId="2545566061" sldId="2134806022"/>
            <ac:picMk id="21" creationId="{9426ACE4-AD6D-0783-927A-53B1C03D53BB}"/>
          </ac:picMkLst>
        </pc:picChg>
        <pc:picChg chg="add mod ord">
          <ac:chgData name="Jacobo de Nicolás Nuñez" userId="7c6829d1-1bf6-4417-b4a9-02cb8827630e" providerId="ADAL" clId="{857BC41E-A371-448C-9B0F-48FE52EEF25B}" dt="2025-04-22T12:57:14.689" v="7719" actId="14100"/>
          <ac:picMkLst>
            <pc:docMk/>
            <pc:sldMk cId="2545566061" sldId="2134806022"/>
            <ac:picMk id="22" creationId="{5E722928-45D0-EDC5-B44A-224FBA9E4A1F}"/>
          </ac:picMkLst>
        </pc:picChg>
        <pc:picChg chg="add mod ord">
          <ac:chgData name="Jacobo de Nicolás Nuñez" userId="7c6829d1-1bf6-4417-b4a9-02cb8827630e" providerId="ADAL" clId="{857BC41E-A371-448C-9B0F-48FE52EEF25B}" dt="2025-04-22T12:57:14.689" v="7719" actId="14100"/>
          <ac:picMkLst>
            <pc:docMk/>
            <pc:sldMk cId="2545566061" sldId="2134806022"/>
            <ac:picMk id="23" creationId="{B55B41B4-3C1C-BFE8-9DFA-16AED5CB3E26}"/>
          </ac:picMkLst>
        </pc:picChg>
        <pc:picChg chg="add mod">
          <ac:chgData name="Jacobo de Nicolás Nuñez" userId="7c6829d1-1bf6-4417-b4a9-02cb8827630e" providerId="ADAL" clId="{857BC41E-A371-448C-9B0F-48FE52EEF25B}" dt="2025-04-22T12:57:32.316" v="7721" actId="1076"/>
          <ac:picMkLst>
            <pc:docMk/>
            <pc:sldMk cId="2545566061" sldId="2134806022"/>
            <ac:picMk id="24" creationId="{FC6D7E7C-FE01-8398-4A23-CF0615490D0B}"/>
          </ac:picMkLst>
        </pc:picChg>
        <pc:picChg chg="add mod">
          <ac:chgData name="Jacobo de Nicolás Nuñez" userId="7c6829d1-1bf6-4417-b4a9-02cb8827630e" providerId="ADAL" clId="{857BC41E-A371-448C-9B0F-48FE52EEF25B}" dt="2025-04-22T12:57:32.316" v="7721" actId="1076"/>
          <ac:picMkLst>
            <pc:docMk/>
            <pc:sldMk cId="2545566061" sldId="2134806022"/>
            <ac:picMk id="25" creationId="{62D73F92-84D9-B57B-D088-41E4EAC1F6C6}"/>
          </ac:picMkLst>
        </pc:picChg>
        <pc:picChg chg="mod ord">
          <ac:chgData name="Jacobo de Nicolás Nuñez" userId="7c6829d1-1bf6-4417-b4a9-02cb8827630e" providerId="ADAL" clId="{857BC41E-A371-448C-9B0F-48FE52EEF25B}" dt="2025-04-22T12:57:14.689" v="7719" actId="14100"/>
          <ac:picMkLst>
            <pc:docMk/>
            <pc:sldMk cId="2545566061" sldId="2134806022"/>
            <ac:picMk id="74" creationId="{777B359F-0DDC-EDD7-E87E-293C47DAAC77}"/>
          </ac:picMkLst>
        </pc:picChg>
        <pc:picChg chg="mod ord">
          <ac:chgData name="Jacobo de Nicolás Nuñez" userId="7c6829d1-1bf6-4417-b4a9-02cb8827630e" providerId="ADAL" clId="{857BC41E-A371-448C-9B0F-48FE52EEF25B}" dt="2025-04-22T12:57:14.689" v="7719" actId="14100"/>
          <ac:picMkLst>
            <pc:docMk/>
            <pc:sldMk cId="2545566061" sldId="2134806022"/>
            <ac:picMk id="75" creationId="{C61580F3-343E-65B5-33C6-CBEDF04EEEF8}"/>
          </ac:picMkLst>
        </pc:picChg>
        <pc:picChg chg="mod ord">
          <ac:chgData name="Jacobo de Nicolás Nuñez" userId="7c6829d1-1bf6-4417-b4a9-02cb8827630e" providerId="ADAL" clId="{857BC41E-A371-448C-9B0F-48FE52EEF25B}" dt="2025-04-22T12:57:32.316" v="7721" actId="1076"/>
          <ac:picMkLst>
            <pc:docMk/>
            <pc:sldMk cId="2545566061" sldId="2134806022"/>
            <ac:picMk id="79" creationId="{7CB3BE07-5D76-EF79-7DC6-F39AAD6AF4CF}"/>
          </ac:picMkLst>
        </pc:picChg>
        <pc:picChg chg="mod ord">
          <ac:chgData name="Jacobo de Nicolás Nuñez" userId="7c6829d1-1bf6-4417-b4a9-02cb8827630e" providerId="ADAL" clId="{857BC41E-A371-448C-9B0F-48FE52EEF25B}" dt="2025-04-22T12:57:32.316" v="7721" actId="1076"/>
          <ac:picMkLst>
            <pc:docMk/>
            <pc:sldMk cId="2545566061" sldId="2134806022"/>
            <ac:picMk id="81" creationId="{B5A789CF-6EFE-9F0C-8880-261CB1199ECD}"/>
          </ac:picMkLst>
        </pc:picChg>
      </pc:sldChg>
      <pc:sldChg chg="addSp delSp modSp mod">
        <pc:chgData name="Jacobo de Nicolás Nuñez" userId="7c6829d1-1bf6-4417-b4a9-02cb8827630e" providerId="ADAL" clId="{857BC41E-A371-448C-9B0F-48FE52EEF25B}" dt="2025-04-22T14:57:10.992" v="8590" actId="14100"/>
        <pc:sldMkLst>
          <pc:docMk/>
          <pc:sldMk cId="3546132926" sldId="2134806024"/>
        </pc:sldMkLst>
        <pc:picChg chg="add mod">
          <ac:chgData name="Jacobo de Nicolás Nuñez" userId="7c6829d1-1bf6-4417-b4a9-02cb8827630e" providerId="ADAL" clId="{857BC41E-A371-448C-9B0F-48FE52EEF25B}" dt="2025-04-22T14:57:10.992" v="8590" actId="14100"/>
          <ac:picMkLst>
            <pc:docMk/>
            <pc:sldMk cId="3546132926" sldId="2134806024"/>
            <ac:picMk id="2" creationId="{2BC31084-E9B2-60F9-3DE8-6E328DD748AD}"/>
          </ac:picMkLst>
        </pc:picChg>
        <pc:picChg chg="mod">
          <ac:chgData name="Jacobo de Nicolás Nuñez" userId="7c6829d1-1bf6-4417-b4a9-02cb8827630e" providerId="ADAL" clId="{857BC41E-A371-448C-9B0F-48FE52EEF25B}" dt="2025-04-22T14:56:57.604" v="8588" actId="14826"/>
          <ac:picMkLst>
            <pc:docMk/>
            <pc:sldMk cId="3546132926" sldId="2134806024"/>
            <ac:picMk id="30" creationId="{7342F964-4631-4902-886B-2D08271B1013}"/>
          </ac:picMkLst>
        </pc:picChg>
      </pc:sldChg>
      <pc:sldChg chg="addSp delSp modSp mod">
        <pc:chgData name="Jacobo de Nicolás Nuñez" userId="7c6829d1-1bf6-4417-b4a9-02cb8827630e" providerId="ADAL" clId="{857BC41E-A371-448C-9B0F-48FE52EEF25B}" dt="2025-04-22T12:52:46.790" v="7542" actId="1076"/>
        <pc:sldMkLst>
          <pc:docMk/>
          <pc:sldMk cId="673512031" sldId="2134806025"/>
        </pc:sldMkLst>
        <pc:spChg chg="mod ord">
          <ac:chgData name="Jacobo de Nicolás Nuñez" userId="7c6829d1-1bf6-4417-b4a9-02cb8827630e" providerId="ADAL" clId="{857BC41E-A371-448C-9B0F-48FE52EEF25B}" dt="2025-04-15T13:17:19.893" v="3596"/>
          <ac:spMkLst>
            <pc:docMk/>
            <pc:sldMk cId="673512031" sldId="2134806025"/>
            <ac:spMk id="3" creationId="{39547CE7-B49C-E17A-F12B-02B91B759A82}"/>
          </ac:spMkLst>
        </pc:spChg>
        <pc:spChg chg="mod ord">
          <ac:chgData name="Jacobo de Nicolás Nuñez" userId="7c6829d1-1bf6-4417-b4a9-02cb8827630e" providerId="ADAL" clId="{857BC41E-A371-448C-9B0F-48FE52EEF25B}" dt="2025-04-15T13:17:19.893" v="3608"/>
          <ac:spMkLst>
            <pc:docMk/>
            <pc:sldMk cId="673512031" sldId="2134806025"/>
            <ac:spMk id="4" creationId="{0C6AEC1A-20A0-4FBD-ADFB-3AEE8E4ED04B}"/>
          </ac:spMkLst>
        </pc:spChg>
        <pc:spChg chg="mod ord">
          <ac:chgData name="Jacobo de Nicolás Nuñez" userId="7c6829d1-1bf6-4417-b4a9-02cb8827630e" providerId="ADAL" clId="{857BC41E-A371-448C-9B0F-48FE52EEF25B}" dt="2025-04-15T13:17:19.893" v="3600"/>
          <ac:spMkLst>
            <pc:docMk/>
            <pc:sldMk cId="673512031" sldId="2134806025"/>
            <ac:spMk id="5" creationId="{CD77C823-4212-562D-9818-BB3A5BF9E5E5}"/>
          </ac:spMkLst>
        </pc:spChg>
        <pc:spChg chg="mod ord">
          <ac:chgData name="Jacobo de Nicolás Nuñez" userId="7c6829d1-1bf6-4417-b4a9-02cb8827630e" providerId="ADAL" clId="{857BC41E-A371-448C-9B0F-48FE52EEF25B}" dt="2025-04-15T13:17:19.893" v="3614"/>
          <ac:spMkLst>
            <pc:docMk/>
            <pc:sldMk cId="673512031" sldId="2134806025"/>
            <ac:spMk id="8" creationId="{E9828DA0-DCAD-AF5E-762F-947E17553293}"/>
          </ac:spMkLst>
        </pc:spChg>
        <pc:spChg chg="mod ord">
          <ac:chgData name="Jacobo de Nicolás Nuñez" userId="7c6829d1-1bf6-4417-b4a9-02cb8827630e" providerId="ADAL" clId="{857BC41E-A371-448C-9B0F-48FE52EEF25B}" dt="2025-04-15T13:17:19.893" v="3602"/>
          <ac:spMkLst>
            <pc:docMk/>
            <pc:sldMk cId="673512031" sldId="2134806025"/>
            <ac:spMk id="9" creationId="{B826CF32-3A49-408F-5D73-70669A38D47F}"/>
          </ac:spMkLst>
        </pc:spChg>
        <pc:spChg chg="mod ord">
          <ac:chgData name="Jacobo de Nicolás Nuñez" userId="7c6829d1-1bf6-4417-b4a9-02cb8827630e" providerId="ADAL" clId="{857BC41E-A371-448C-9B0F-48FE52EEF25B}" dt="2025-04-15T13:17:19.893" v="3616"/>
          <ac:spMkLst>
            <pc:docMk/>
            <pc:sldMk cId="673512031" sldId="2134806025"/>
            <ac:spMk id="10" creationId="{3CA3DB86-34BD-F40E-D32D-4D7C32441505}"/>
          </ac:spMkLst>
        </pc:spChg>
        <pc:spChg chg="mod ord">
          <ac:chgData name="Jacobo de Nicolás Nuñez" userId="7c6829d1-1bf6-4417-b4a9-02cb8827630e" providerId="ADAL" clId="{857BC41E-A371-448C-9B0F-48FE52EEF25B}" dt="2025-04-15T13:17:19.893" v="3618"/>
          <ac:spMkLst>
            <pc:docMk/>
            <pc:sldMk cId="673512031" sldId="2134806025"/>
            <ac:spMk id="12" creationId="{4C2F91C7-6418-A591-EE53-ED8E05EB0906}"/>
          </ac:spMkLst>
        </pc:spChg>
        <pc:spChg chg="mod ord">
          <ac:chgData name="Jacobo de Nicolás Nuñez" userId="7c6829d1-1bf6-4417-b4a9-02cb8827630e" providerId="ADAL" clId="{857BC41E-A371-448C-9B0F-48FE52EEF25B}" dt="2025-04-15T13:17:19.893" v="3604"/>
          <ac:spMkLst>
            <pc:docMk/>
            <pc:sldMk cId="673512031" sldId="2134806025"/>
            <ac:spMk id="22" creationId="{25F21FDD-3247-8089-E0DB-B1402F132593}"/>
          </ac:spMkLst>
        </pc:spChg>
        <pc:spChg chg="mod ord">
          <ac:chgData name="Jacobo de Nicolás Nuñez" userId="7c6829d1-1bf6-4417-b4a9-02cb8827630e" providerId="ADAL" clId="{857BC41E-A371-448C-9B0F-48FE52EEF25B}" dt="2025-04-15T13:17:19.893" v="3606"/>
          <ac:spMkLst>
            <pc:docMk/>
            <pc:sldMk cId="673512031" sldId="2134806025"/>
            <ac:spMk id="23" creationId="{DBA341B8-2A77-4EBC-5626-320A70CF76A4}"/>
          </ac:spMkLst>
        </pc:spChg>
        <pc:spChg chg="mod ord">
          <ac:chgData name="Jacobo de Nicolás Nuñez" userId="7c6829d1-1bf6-4417-b4a9-02cb8827630e" providerId="ADAL" clId="{857BC41E-A371-448C-9B0F-48FE52EEF25B}" dt="2025-04-15T13:17:19.893" v="3598"/>
          <ac:spMkLst>
            <pc:docMk/>
            <pc:sldMk cId="673512031" sldId="2134806025"/>
            <ac:spMk id="71" creationId="{2AD15FC7-13C1-7EAF-160A-6AFB645E257B}"/>
          </ac:spMkLst>
        </pc:spChg>
        <pc:graphicFrameChg chg="add mod ord modVis">
          <ac:chgData name="Jacobo de Nicolás Nuñez" userId="7c6829d1-1bf6-4417-b4a9-02cb8827630e" providerId="ADAL" clId="{857BC41E-A371-448C-9B0F-48FE52EEF25B}" dt="2025-04-15T13:17:19.893" v="3620"/>
          <ac:graphicFrameMkLst>
            <pc:docMk/>
            <pc:sldMk cId="673512031" sldId="2134806025"/>
            <ac:graphicFrameMk id="13" creationId="{BF09C2EB-5563-7E3E-A123-1052E10D51EF}"/>
          </ac:graphicFrameMkLst>
        </pc:graphicFrameChg>
        <pc:picChg chg="add mod ord">
          <ac:chgData name="Jacobo de Nicolás Nuñez" userId="7c6829d1-1bf6-4417-b4a9-02cb8827630e" providerId="ADAL" clId="{857BC41E-A371-448C-9B0F-48FE52EEF25B}" dt="2025-04-22T12:52:46.790" v="7542" actId="1076"/>
          <ac:picMkLst>
            <pc:docMk/>
            <pc:sldMk cId="673512031" sldId="2134806025"/>
            <ac:picMk id="2" creationId="{37DBC10A-1379-5FEB-63F2-40D8AC650769}"/>
          </ac:picMkLst>
        </pc:picChg>
        <pc:picChg chg="mod ord">
          <ac:chgData name="Jacobo de Nicolás Nuñez" userId="7c6829d1-1bf6-4417-b4a9-02cb8827630e" providerId="ADAL" clId="{857BC41E-A371-448C-9B0F-48FE52EEF25B}" dt="2025-04-22T12:52:42.857" v="7541" actId="14100"/>
          <ac:picMkLst>
            <pc:docMk/>
            <pc:sldMk cId="673512031" sldId="2134806025"/>
            <ac:picMk id="6" creationId="{7C300A7A-D773-50EC-5EA0-8ACFFB5AAB4B}"/>
          </ac:picMkLst>
        </pc:picChg>
        <pc:picChg chg="mod ord">
          <ac:chgData name="Jacobo de Nicolás Nuñez" userId="7c6829d1-1bf6-4417-b4a9-02cb8827630e" providerId="ADAL" clId="{857BC41E-A371-448C-9B0F-48FE52EEF25B}" dt="2025-04-22T12:52:42.857" v="7541" actId="14100"/>
          <ac:picMkLst>
            <pc:docMk/>
            <pc:sldMk cId="673512031" sldId="2134806025"/>
            <ac:picMk id="7" creationId="{1246A809-9EEC-3568-386B-C3F9287BA22C}"/>
          </ac:picMkLst>
        </pc:picChg>
        <pc:picChg chg="add mod ord">
          <ac:chgData name="Jacobo de Nicolás Nuñez" userId="7c6829d1-1bf6-4417-b4a9-02cb8827630e" providerId="ADAL" clId="{857BC41E-A371-448C-9B0F-48FE52EEF25B}" dt="2025-04-22T12:52:35.560" v="7533" actId="14100"/>
          <ac:picMkLst>
            <pc:docMk/>
            <pc:sldMk cId="673512031" sldId="2134806025"/>
            <ac:picMk id="11" creationId="{EDDEAD9A-1239-EC5C-F72D-7460F2A34C72}"/>
          </ac:picMkLst>
        </pc:picChg>
      </pc:sldChg>
      <pc:sldChg chg="modSp mod">
        <pc:chgData name="Jacobo de Nicolás Nuñez" userId="7c6829d1-1bf6-4417-b4a9-02cb8827630e" providerId="ADAL" clId="{857BC41E-A371-448C-9B0F-48FE52EEF25B}" dt="2025-04-22T14:51:29.738" v="8573" actId="14100"/>
        <pc:sldMkLst>
          <pc:docMk/>
          <pc:sldMk cId="2011994305" sldId="2134806027"/>
        </pc:sldMkLst>
        <pc:picChg chg="mod">
          <ac:chgData name="Jacobo de Nicolás Nuñez" userId="7c6829d1-1bf6-4417-b4a9-02cb8827630e" providerId="ADAL" clId="{857BC41E-A371-448C-9B0F-48FE52EEF25B}" dt="2025-04-22T14:51:29.738" v="8573" actId="14100"/>
          <ac:picMkLst>
            <pc:docMk/>
            <pc:sldMk cId="2011994305" sldId="2134806027"/>
            <ac:picMk id="26" creationId="{145E3BAD-0ECA-739A-B67B-B7DF222071D6}"/>
          </ac:picMkLst>
        </pc:picChg>
        <pc:picChg chg="mod">
          <ac:chgData name="Jacobo de Nicolás Nuñez" userId="7c6829d1-1bf6-4417-b4a9-02cb8827630e" providerId="ADAL" clId="{857BC41E-A371-448C-9B0F-48FE52EEF25B}" dt="2025-04-22T14:51:12.524" v="8568" actId="14100"/>
          <ac:picMkLst>
            <pc:docMk/>
            <pc:sldMk cId="2011994305" sldId="2134806027"/>
            <ac:picMk id="27" creationId="{CB968686-DA3D-C547-73BD-FD1F0D9DD975}"/>
          </ac:picMkLst>
        </pc:picChg>
      </pc:sldChg>
      <pc:sldChg chg="modSp mod">
        <pc:chgData name="Jacobo de Nicolás Nuñez" userId="7c6829d1-1bf6-4417-b4a9-02cb8827630e" providerId="ADAL" clId="{857BC41E-A371-448C-9B0F-48FE52EEF25B}" dt="2025-04-22T13:37:54.806" v="8201" actId="1076"/>
        <pc:sldMkLst>
          <pc:docMk/>
          <pc:sldMk cId="1588683651" sldId="2134806028"/>
        </pc:sldMkLst>
        <pc:picChg chg="mod">
          <ac:chgData name="Jacobo de Nicolás Nuñez" userId="7c6829d1-1bf6-4417-b4a9-02cb8827630e" providerId="ADAL" clId="{857BC41E-A371-448C-9B0F-48FE52EEF25B}" dt="2025-04-22T13:37:54.806" v="8201" actId="1076"/>
          <ac:picMkLst>
            <pc:docMk/>
            <pc:sldMk cId="1588683651" sldId="2134806028"/>
            <ac:picMk id="25" creationId="{BDCE5046-C191-E3AF-2DC2-95FEBC920275}"/>
          </ac:picMkLst>
        </pc:picChg>
        <pc:picChg chg="mod">
          <ac:chgData name="Jacobo de Nicolás Nuñez" userId="7c6829d1-1bf6-4417-b4a9-02cb8827630e" providerId="ADAL" clId="{857BC41E-A371-448C-9B0F-48FE52EEF25B}" dt="2025-04-22T13:37:42.716" v="8199" actId="14826"/>
          <ac:picMkLst>
            <pc:docMk/>
            <pc:sldMk cId="1588683651" sldId="2134806028"/>
            <ac:picMk id="30" creationId="{211331C7-4C8E-EC6B-9499-336BED4FA3C0}"/>
          </ac:picMkLst>
        </pc:picChg>
      </pc:sldChg>
      <pc:sldChg chg="addSp delSp modSp mod">
        <pc:chgData name="Jacobo de Nicolás Nuñez" userId="7c6829d1-1bf6-4417-b4a9-02cb8827630e" providerId="ADAL" clId="{857BC41E-A371-448C-9B0F-48FE52EEF25B}" dt="2025-04-17T08:55:20.787" v="6946" actId="1076"/>
        <pc:sldMkLst>
          <pc:docMk/>
          <pc:sldMk cId="491730171" sldId="2134806029"/>
        </pc:sldMkLst>
        <pc:picChg chg="add mod">
          <ac:chgData name="Jacobo de Nicolás Nuñez" userId="7c6829d1-1bf6-4417-b4a9-02cb8827630e" providerId="ADAL" clId="{857BC41E-A371-448C-9B0F-48FE52EEF25B}" dt="2025-04-17T08:55:02.915" v="6942" actId="1076"/>
          <ac:picMkLst>
            <pc:docMk/>
            <pc:sldMk cId="491730171" sldId="2134806029"/>
            <ac:picMk id="9" creationId="{D627CD53-8C0F-061A-BA6B-76E90674C977}"/>
          </ac:picMkLst>
        </pc:picChg>
        <pc:picChg chg="add mod">
          <ac:chgData name="Jacobo de Nicolás Nuñez" userId="7c6829d1-1bf6-4417-b4a9-02cb8827630e" providerId="ADAL" clId="{857BC41E-A371-448C-9B0F-48FE52EEF25B}" dt="2025-04-17T08:55:07.612" v="6943" actId="1076"/>
          <ac:picMkLst>
            <pc:docMk/>
            <pc:sldMk cId="491730171" sldId="2134806029"/>
            <ac:picMk id="10" creationId="{D46C8782-2FEC-E688-15B6-7EE89B625A07}"/>
          </ac:picMkLst>
        </pc:picChg>
        <pc:picChg chg="add mod">
          <ac:chgData name="Jacobo de Nicolás Nuñez" userId="7c6829d1-1bf6-4417-b4a9-02cb8827630e" providerId="ADAL" clId="{857BC41E-A371-448C-9B0F-48FE52EEF25B}" dt="2025-04-17T08:55:20.787" v="6946" actId="1076"/>
          <ac:picMkLst>
            <pc:docMk/>
            <pc:sldMk cId="491730171" sldId="2134806029"/>
            <ac:picMk id="11" creationId="{7CA5867E-0934-AF47-8FC1-69C836FBDA8A}"/>
          </ac:picMkLst>
        </pc:picChg>
      </pc:sldChg>
      <pc:sldChg chg="addSp delSp modSp mod">
        <pc:chgData name="Jacobo de Nicolás Nuñez" userId="7c6829d1-1bf6-4417-b4a9-02cb8827630e" providerId="ADAL" clId="{857BC41E-A371-448C-9B0F-48FE52EEF25B}" dt="2025-04-22T14:25:50.351" v="8551" actId="14826"/>
        <pc:sldMkLst>
          <pc:docMk/>
          <pc:sldMk cId="3334234693" sldId="2134806030"/>
        </pc:sldMkLst>
        <pc:spChg chg="mod">
          <ac:chgData name="Jacobo de Nicolás Nuñez" userId="7c6829d1-1bf6-4417-b4a9-02cb8827630e" providerId="ADAL" clId="{857BC41E-A371-448C-9B0F-48FE52EEF25B}" dt="2025-04-22T14:25:02.239" v="8549" actId="20577"/>
          <ac:spMkLst>
            <pc:docMk/>
            <pc:sldMk cId="3334234693" sldId="2134806030"/>
            <ac:spMk id="27" creationId="{0134DD75-C594-E7B4-E8F8-C2E5ED70CC91}"/>
          </ac:spMkLst>
        </pc:spChg>
        <pc:picChg chg="add mod">
          <ac:chgData name="Jacobo de Nicolás Nuñez" userId="7c6829d1-1bf6-4417-b4a9-02cb8827630e" providerId="ADAL" clId="{857BC41E-A371-448C-9B0F-48FE52EEF25B}" dt="2025-04-22T13:50:16.654" v="8516" actId="12788"/>
          <ac:picMkLst>
            <pc:docMk/>
            <pc:sldMk cId="3334234693" sldId="2134806030"/>
            <ac:picMk id="7" creationId="{DD16E121-BA0C-66D4-FE3B-EC37CA5FF1C2}"/>
          </ac:picMkLst>
        </pc:picChg>
        <pc:picChg chg="add mod">
          <ac:chgData name="Jacobo de Nicolás Nuñez" userId="7c6829d1-1bf6-4417-b4a9-02cb8827630e" providerId="ADAL" clId="{857BC41E-A371-448C-9B0F-48FE52EEF25B}" dt="2025-04-22T14:25:50.351" v="8551" actId="14826"/>
          <ac:picMkLst>
            <pc:docMk/>
            <pc:sldMk cId="3334234693" sldId="2134806030"/>
            <ac:picMk id="8" creationId="{2ADF1810-958C-405D-A593-88D6702661E0}"/>
          </ac:picMkLst>
        </pc:picChg>
        <pc:picChg chg="add mod">
          <ac:chgData name="Jacobo de Nicolás Nuñez" userId="7c6829d1-1bf6-4417-b4a9-02cb8827630e" providerId="ADAL" clId="{857BC41E-A371-448C-9B0F-48FE52EEF25B}" dt="2025-04-22T13:50:16.654" v="8516" actId="12788"/>
          <ac:picMkLst>
            <pc:docMk/>
            <pc:sldMk cId="3334234693" sldId="2134806030"/>
            <ac:picMk id="9" creationId="{7713986F-8BDA-3659-E2EF-D954B6DB7F02}"/>
          </ac:picMkLst>
        </pc:picChg>
        <pc:picChg chg="add mod">
          <ac:chgData name="Jacobo de Nicolás Nuñez" userId="7c6829d1-1bf6-4417-b4a9-02cb8827630e" providerId="ADAL" clId="{857BC41E-A371-448C-9B0F-48FE52EEF25B}" dt="2025-04-22T13:50:16.654" v="8516" actId="12788"/>
          <ac:picMkLst>
            <pc:docMk/>
            <pc:sldMk cId="3334234693" sldId="2134806030"/>
            <ac:picMk id="10" creationId="{35FE6B04-18F5-ECFC-5F3D-BA050AD4E42C}"/>
          </ac:picMkLst>
        </pc:picChg>
        <pc:picChg chg="mod">
          <ac:chgData name="Jacobo de Nicolás Nuñez" userId="7c6829d1-1bf6-4417-b4a9-02cb8827630e" providerId="ADAL" clId="{857BC41E-A371-448C-9B0F-48FE52EEF25B}" dt="2025-04-22T14:25:44.342" v="8550" actId="14826"/>
          <ac:picMkLst>
            <pc:docMk/>
            <pc:sldMk cId="3334234693" sldId="2134806030"/>
            <ac:picMk id="28" creationId="{CDF3912F-A991-FC08-4D56-A2CB602E14F1}"/>
          </ac:picMkLst>
        </pc:picChg>
      </pc:sldChg>
    </pc:docChg>
  </pc:docChgLst>
  <pc:docChgLst>
    <pc:chgData name="Jos Houtkamp" userId="466e504a-063a-4798-9e05-4d3702e4cf9c" providerId="ADAL" clId="{17014D79-21D3-4BB8-98CD-1AC36EC6C9F8}"/>
    <pc:docChg chg="undo modSld">
      <pc:chgData name="Jos Houtkamp" userId="466e504a-063a-4798-9e05-4d3702e4cf9c" providerId="ADAL" clId="{17014D79-21D3-4BB8-98CD-1AC36EC6C9F8}" dt="2025-03-18T15:25:01.173" v="7" actId="14100"/>
      <pc:docMkLst>
        <pc:docMk/>
      </pc:docMkLst>
      <pc:sldChg chg="modSp mod">
        <pc:chgData name="Jos Houtkamp" userId="466e504a-063a-4798-9e05-4d3702e4cf9c" providerId="ADAL" clId="{17014D79-21D3-4BB8-98CD-1AC36EC6C9F8}" dt="2025-03-18T15:25:01.173" v="7" actId="14100"/>
        <pc:sldMkLst>
          <pc:docMk/>
          <pc:sldMk cId="3334234693" sldId="2134806030"/>
        </pc:sldMkLst>
        <pc:picChg chg="mod">
          <ac:chgData name="Jos Houtkamp" userId="466e504a-063a-4798-9e05-4d3702e4cf9c" providerId="ADAL" clId="{17014D79-21D3-4BB8-98CD-1AC36EC6C9F8}" dt="2025-03-18T15:24:38.695" v="1" actId="14100"/>
          <ac:picMkLst>
            <pc:docMk/>
            <pc:sldMk cId="3334234693" sldId="2134806030"/>
            <ac:picMk id="2" creationId="{6A69CF5B-37E5-2B6C-D133-7EF040D9627A}"/>
          </ac:picMkLst>
        </pc:picChg>
        <pc:picChg chg="mod">
          <ac:chgData name="Jos Houtkamp" userId="466e504a-063a-4798-9e05-4d3702e4cf9c" providerId="ADAL" clId="{17014D79-21D3-4BB8-98CD-1AC36EC6C9F8}" dt="2025-03-18T15:25:01.173" v="7" actId="14100"/>
          <ac:picMkLst>
            <pc:docMk/>
            <pc:sldMk cId="3334234693" sldId="2134806030"/>
            <ac:picMk id="14" creationId="{73F2B7BC-30F7-BAB7-7614-3B16D1F3C27B}"/>
          </ac:picMkLst>
        </pc:picChg>
        <pc:picChg chg="mod">
          <ac:chgData name="Jos Houtkamp" userId="466e504a-063a-4798-9e05-4d3702e4cf9c" providerId="ADAL" clId="{17014D79-21D3-4BB8-98CD-1AC36EC6C9F8}" dt="2025-03-18T15:24:43.465" v="3" actId="14100"/>
          <ac:picMkLst>
            <pc:docMk/>
            <pc:sldMk cId="3334234693" sldId="2134806030"/>
            <ac:picMk id="28" creationId="{CDF3912F-A991-FC08-4D56-A2CB602E14F1}"/>
          </ac:picMkLst>
        </pc:picChg>
      </pc:sldChg>
    </pc:docChg>
  </pc:docChgLst>
  <pc:docChgLst>
    <pc:chgData name="Jos Houtkamp" userId="466e504a-063a-4798-9e05-4d3702e4cf9c" providerId="ADAL" clId="{39F34596-FE25-4D8A-95AB-FC72548A4F9B}"/>
    <pc:docChg chg="undo modSld">
      <pc:chgData name="Jos Houtkamp" userId="466e504a-063a-4798-9e05-4d3702e4cf9c" providerId="ADAL" clId="{39F34596-FE25-4D8A-95AB-FC72548A4F9B}" dt="2025-02-11T09:38:42.760" v="5" actId="14100"/>
      <pc:docMkLst>
        <pc:docMk/>
      </pc:docMkLst>
      <pc:sldChg chg="modSp mod">
        <pc:chgData name="Jos Houtkamp" userId="466e504a-063a-4798-9e05-4d3702e4cf9c" providerId="ADAL" clId="{39F34596-FE25-4D8A-95AB-FC72548A4F9B}" dt="2025-02-11T09:38:28.222" v="3" actId="14100"/>
        <pc:sldMkLst>
          <pc:docMk/>
          <pc:sldMk cId="1879302680" sldId="2134805986"/>
        </pc:sldMkLst>
        <pc:picChg chg="mod">
          <ac:chgData name="Jos Houtkamp" userId="466e504a-063a-4798-9e05-4d3702e4cf9c" providerId="ADAL" clId="{39F34596-FE25-4D8A-95AB-FC72548A4F9B}" dt="2025-02-11T09:38:12.470" v="1" actId="14100"/>
          <ac:picMkLst>
            <pc:docMk/>
            <pc:sldMk cId="1879302680" sldId="2134805986"/>
            <ac:picMk id="19" creationId="{96C4E6D5-887F-3709-DBB7-D13A16DC38CC}"/>
          </ac:picMkLst>
        </pc:picChg>
      </pc:sldChg>
      <pc:sldChg chg="modSp mod">
        <pc:chgData name="Jos Houtkamp" userId="466e504a-063a-4798-9e05-4d3702e4cf9c" providerId="ADAL" clId="{39F34596-FE25-4D8A-95AB-FC72548A4F9B}" dt="2025-02-11T09:38:42.760" v="5" actId="14100"/>
        <pc:sldMkLst>
          <pc:docMk/>
          <pc:sldMk cId="2747048787" sldId="2134806021"/>
        </pc:sldMkLst>
        <pc:picChg chg="mod">
          <ac:chgData name="Jos Houtkamp" userId="466e504a-063a-4798-9e05-4d3702e4cf9c" providerId="ADAL" clId="{39F34596-FE25-4D8A-95AB-FC72548A4F9B}" dt="2025-02-11T09:38:42.760" v="5" actId="14100"/>
          <ac:picMkLst>
            <pc:docMk/>
            <pc:sldMk cId="2747048787" sldId="2134806021"/>
            <ac:picMk id="11" creationId="{A9D32641-1298-9F48-15B3-15885885B739}"/>
          </ac:picMkLst>
        </pc:picChg>
      </pc:sldChg>
    </pc:docChg>
  </pc:docChgLst>
  <pc:docChgLst>
    <pc:chgData name="Felix Schönemann" userId="a5905760-ea4e-45a2-8c79-742f56578953" providerId="ADAL" clId="{D5C31DAD-7C80-467D-985F-4A48FB30E232}"/>
    <pc:docChg chg="undo custSel modSld sldOrd">
      <pc:chgData name="Felix Schönemann" userId="a5905760-ea4e-45a2-8c79-742f56578953" providerId="ADAL" clId="{D5C31DAD-7C80-467D-985F-4A48FB30E232}" dt="2025-02-24T09:21:33.766" v="3" actId="14100"/>
      <pc:docMkLst>
        <pc:docMk/>
      </pc:docMkLst>
      <pc:sldChg chg="ord">
        <pc:chgData name="Felix Schönemann" userId="a5905760-ea4e-45a2-8c79-742f56578953" providerId="ADAL" clId="{D5C31DAD-7C80-467D-985F-4A48FB30E232}" dt="2025-02-24T09:18:55.089" v="1"/>
        <pc:sldMkLst>
          <pc:docMk/>
          <pc:sldMk cId="1029932044" sldId="2134805987"/>
        </pc:sldMkLst>
      </pc:sldChg>
      <pc:sldChg chg="modSp mod">
        <pc:chgData name="Felix Schönemann" userId="a5905760-ea4e-45a2-8c79-742f56578953" providerId="ADAL" clId="{D5C31DAD-7C80-467D-985F-4A48FB30E232}" dt="2025-02-24T09:21:33.766" v="3" actId="14100"/>
        <pc:sldMkLst>
          <pc:docMk/>
          <pc:sldMk cId="831149825" sldId="2134806018"/>
        </pc:sldMkLst>
      </pc:sldChg>
    </pc:docChg>
  </pc:docChgLst>
  <pc:docChgLst>
    <pc:chgData name="Martijn van Eijk" userId="da16bcdb-5576-4416-9e5c-7c3ecd294fd8" providerId="ADAL" clId="{AEFD1044-7BD5-4900-9BF4-F617F25BCEFC}"/>
    <pc:docChg chg="modSld sldOrd">
      <pc:chgData name="Martijn van Eijk" userId="da16bcdb-5576-4416-9e5c-7c3ecd294fd8" providerId="ADAL" clId="{AEFD1044-7BD5-4900-9BF4-F617F25BCEFC}" dt="2025-02-14T13:46:43.107" v="1"/>
      <pc:docMkLst>
        <pc:docMk/>
      </pc:docMkLst>
      <pc:sldChg chg="ord">
        <pc:chgData name="Martijn van Eijk" userId="da16bcdb-5576-4416-9e5c-7c3ecd294fd8" providerId="ADAL" clId="{AEFD1044-7BD5-4900-9BF4-F617F25BCEFC}" dt="2025-02-14T13:46:43.107" v="1"/>
        <pc:sldMkLst>
          <pc:docMk/>
          <pc:sldMk cId="437238162" sldId="2134805990"/>
        </pc:sldMkLst>
      </pc:sldChg>
    </pc:docChg>
  </pc:docChgLst>
  <pc:docChgLst>
    <pc:chgData name="Laura Casadio" userId="66d3dc7e-795b-4a92-887c-7e990ee4a717" providerId="ADAL" clId="{8506C6FB-53BD-4A9E-A7AA-D1DE728465A8}"/>
    <pc:docChg chg="undo custSel modSld">
      <pc:chgData name="Laura Casadio" userId="66d3dc7e-795b-4a92-887c-7e990ee4a717" providerId="ADAL" clId="{8506C6FB-53BD-4A9E-A7AA-D1DE728465A8}" dt="2025-04-01T08:49:41.889" v="12" actId="478"/>
      <pc:docMkLst>
        <pc:docMk/>
      </pc:docMkLst>
      <pc:sldChg chg="delSp mod">
        <pc:chgData name="Laura Casadio" userId="66d3dc7e-795b-4a92-887c-7e990ee4a717" providerId="ADAL" clId="{8506C6FB-53BD-4A9E-A7AA-D1DE728465A8}" dt="2025-04-01T08:49:41.889" v="12" actId="478"/>
        <pc:sldMkLst>
          <pc:docMk/>
          <pc:sldMk cId="2483803822" sldId="2134805989"/>
        </pc:sldMkLst>
      </pc:sldChg>
      <pc:sldChg chg="addSp delSp modSp mod">
        <pc:chgData name="Laura Casadio" userId="66d3dc7e-795b-4a92-887c-7e990ee4a717" providerId="ADAL" clId="{8506C6FB-53BD-4A9E-A7AA-D1DE728465A8}" dt="2025-03-20T15:26:25.621" v="11" actId="14826"/>
        <pc:sldMkLst>
          <pc:docMk/>
          <pc:sldMk cId="1104744956" sldId="2134805998"/>
        </pc:sldMkLst>
        <pc:picChg chg="mod">
          <ac:chgData name="Laura Casadio" userId="66d3dc7e-795b-4a92-887c-7e990ee4a717" providerId="ADAL" clId="{8506C6FB-53BD-4A9E-A7AA-D1DE728465A8}" dt="2025-03-20T15:25:30.088" v="0" actId="14826"/>
          <ac:picMkLst>
            <pc:docMk/>
            <pc:sldMk cId="1104744956" sldId="2134805998"/>
            <ac:picMk id="30" creationId="{211331C7-4C8E-EC6B-9499-336BED4FA3C0}"/>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22CA0E-601F-4853-9045-A821C4009CA5}" type="datetimeFigureOut">
              <a:t>27.0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76BE7A-D436-425B-8228-5C84BAB8F5ED}" type="slidenum">
              <a:t>‹#›</a:t>
            </a:fld>
            <a:endParaRPr lang="en-US"/>
          </a:p>
        </p:txBody>
      </p:sp>
    </p:spTree>
    <p:extLst>
      <p:ext uri="{BB962C8B-B14F-4D97-AF65-F5344CB8AC3E}">
        <p14:creationId xmlns:p14="http://schemas.microsoft.com/office/powerpoint/2010/main" val="297996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E9D980-2227-46ED-83D2-863D2BC9C89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36571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24"/>
        <p:cNvGrpSpPr/>
        <p:nvPr/>
      </p:nvGrpSpPr>
      <p:grpSpPr>
        <a:xfrm>
          <a:off x="0" y="0"/>
          <a:ext cx="0" cy="0"/>
          <a:chOff x="0" y="0"/>
          <a:chExt cx="0" cy="0"/>
        </a:xfrm>
      </p:grpSpPr>
      <p:sp>
        <p:nvSpPr>
          <p:cNvPr id="3325" name="Google Shape;3325;gc890068605_0_3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326" name="Google Shape;3326;gc890068605_0_31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171450" lvl="0" indent="-171450" algn="l" rtl="0">
              <a:spcBef>
                <a:spcPts val="0"/>
              </a:spcBef>
              <a:spcAft>
                <a:spcPts val="0"/>
              </a:spcAft>
              <a:buClr>
                <a:schemeClr val="dk1"/>
              </a:buClr>
              <a:buSzPts val="1100"/>
              <a:buFontTx/>
              <a:buChar char="-"/>
            </a:pPr>
            <a:endParaRPr lang="en-GB"/>
          </a:p>
        </p:txBody>
      </p:sp>
    </p:spTree>
    <p:extLst>
      <p:ext uri="{BB962C8B-B14F-4D97-AF65-F5344CB8AC3E}">
        <p14:creationId xmlns:p14="http://schemas.microsoft.com/office/powerpoint/2010/main" val="6938561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D76BE7A-D436-425B-8228-5C84BAB8F5ED}" type="slidenum">
              <a:rPr lang="en-US" altLang="ja-JP" smtClean="0"/>
              <a:t>32</a:t>
            </a:fld>
            <a:endParaRPr lang="ja-JP" altLang="en-US"/>
          </a:p>
        </p:txBody>
      </p:sp>
    </p:spTree>
    <p:extLst>
      <p:ext uri="{BB962C8B-B14F-4D97-AF65-F5344CB8AC3E}">
        <p14:creationId xmlns:p14="http://schemas.microsoft.com/office/powerpoint/2010/main" val="30977416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24"/>
        <p:cNvGrpSpPr/>
        <p:nvPr/>
      </p:nvGrpSpPr>
      <p:grpSpPr>
        <a:xfrm>
          <a:off x="0" y="0"/>
          <a:ext cx="0" cy="0"/>
          <a:chOff x="0" y="0"/>
          <a:chExt cx="0" cy="0"/>
        </a:xfrm>
      </p:grpSpPr>
      <p:sp>
        <p:nvSpPr>
          <p:cNvPr id="3325" name="Google Shape;3325;gc890068605_0_3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326" name="Google Shape;3326;gc890068605_0_31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171450" lvl="0" indent="-171450" algn="l" rtl="0">
              <a:spcBef>
                <a:spcPts val="0"/>
              </a:spcBef>
              <a:spcAft>
                <a:spcPts val="0"/>
              </a:spcAft>
              <a:buClr>
                <a:schemeClr val="dk1"/>
              </a:buClr>
              <a:buSzPts val="1100"/>
              <a:buFontTx/>
              <a:buChar char="-"/>
            </a:pPr>
            <a:endParaRPr lang="en-GB"/>
          </a:p>
        </p:txBody>
      </p:sp>
    </p:spTree>
    <p:extLst>
      <p:ext uri="{BB962C8B-B14F-4D97-AF65-F5344CB8AC3E}">
        <p14:creationId xmlns:p14="http://schemas.microsoft.com/office/powerpoint/2010/main" val="13891540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24"/>
        <p:cNvGrpSpPr/>
        <p:nvPr/>
      </p:nvGrpSpPr>
      <p:grpSpPr>
        <a:xfrm>
          <a:off x="0" y="0"/>
          <a:ext cx="0" cy="0"/>
          <a:chOff x="0" y="0"/>
          <a:chExt cx="0" cy="0"/>
        </a:xfrm>
      </p:grpSpPr>
      <p:sp>
        <p:nvSpPr>
          <p:cNvPr id="3325" name="Google Shape;3325;gc890068605_0_3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326" name="Google Shape;3326;gc890068605_0_31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171450" lvl="0" indent="-171450" algn="l" rtl="0">
              <a:spcBef>
                <a:spcPts val="0"/>
              </a:spcBef>
              <a:spcAft>
                <a:spcPts val="0"/>
              </a:spcAft>
              <a:buClr>
                <a:schemeClr val="dk1"/>
              </a:buClr>
              <a:buSzPts val="1100"/>
              <a:buFontTx/>
              <a:buChar char="-"/>
            </a:pPr>
            <a:endParaRPr lang="en-GB"/>
          </a:p>
        </p:txBody>
      </p:sp>
    </p:spTree>
    <p:extLst>
      <p:ext uri="{BB962C8B-B14F-4D97-AF65-F5344CB8AC3E}">
        <p14:creationId xmlns:p14="http://schemas.microsoft.com/office/powerpoint/2010/main" val="9349656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24"/>
        <p:cNvGrpSpPr/>
        <p:nvPr/>
      </p:nvGrpSpPr>
      <p:grpSpPr>
        <a:xfrm>
          <a:off x="0" y="0"/>
          <a:ext cx="0" cy="0"/>
          <a:chOff x="0" y="0"/>
          <a:chExt cx="0" cy="0"/>
        </a:xfrm>
      </p:grpSpPr>
      <p:sp>
        <p:nvSpPr>
          <p:cNvPr id="3325" name="Google Shape;3325;gc890068605_0_3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326" name="Google Shape;3326;gc890068605_0_31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171450" lvl="0" indent="-171450" algn="l" rtl="0">
              <a:spcBef>
                <a:spcPts val="0"/>
              </a:spcBef>
              <a:spcAft>
                <a:spcPts val="0"/>
              </a:spcAft>
              <a:buClr>
                <a:schemeClr val="dk1"/>
              </a:buClr>
              <a:buSzPts val="1100"/>
              <a:buFontTx/>
              <a:buChar char="-"/>
            </a:pPr>
            <a:endParaRPr lang="en-GB"/>
          </a:p>
        </p:txBody>
      </p:sp>
    </p:spTree>
    <p:extLst>
      <p:ext uri="{BB962C8B-B14F-4D97-AF65-F5344CB8AC3E}">
        <p14:creationId xmlns:p14="http://schemas.microsoft.com/office/powerpoint/2010/main" val="28196514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269F5C-F5F3-B09F-E1B2-A8A850760A6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A7C2310-BD4B-750A-3C0A-46CEFC74655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25C74A3-7AA8-2770-7F9B-B2BB229514C4}"/>
              </a:ext>
            </a:extLst>
          </p:cNvPr>
          <p:cNvSpPr>
            <a:spLocks noGrp="1"/>
          </p:cNvSpPr>
          <p:nvPr>
            <p:ph type="body" idx="1"/>
          </p:nvPr>
        </p:nvSpPr>
        <p:spPr/>
        <p:txBody>
          <a:bodyPr/>
          <a:lstStyle/>
          <a:p>
            <a:endParaRPr lang="en-US">
              <a:ea typeface="Calibri"/>
              <a:cs typeface="Calibri"/>
            </a:endParaRPr>
          </a:p>
        </p:txBody>
      </p:sp>
      <p:sp>
        <p:nvSpPr>
          <p:cNvPr id="4" name="スライド番号プレースホルダー 3">
            <a:extLst>
              <a:ext uri="{FF2B5EF4-FFF2-40B4-BE49-F238E27FC236}">
                <a16:creationId xmlns:a16="http://schemas.microsoft.com/office/drawing/2014/main" id="{C1854189-8E59-D2EC-CD59-D76230DDE07C}"/>
              </a:ext>
            </a:extLst>
          </p:cNvPr>
          <p:cNvSpPr>
            <a:spLocks noGrp="1"/>
          </p:cNvSpPr>
          <p:nvPr>
            <p:ph type="sldNum" sz="quarter" idx="5"/>
          </p:nvPr>
        </p:nvSpPr>
        <p:spPr/>
        <p:txBody>
          <a:bodyPr/>
          <a:lstStyle/>
          <a:p>
            <a:fld id="{8D76BE7A-D436-425B-8228-5C84BAB8F5ED}" type="slidenum">
              <a:rPr lang="en-US" altLang="ja-JP"/>
              <a:t>3</a:t>
            </a:fld>
            <a:endParaRPr lang="ja-JP" altLang="en-US"/>
          </a:p>
        </p:txBody>
      </p:sp>
    </p:spTree>
    <p:extLst>
      <p:ext uri="{BB962C8B-B14F-4D97-AF65-F5344CB8AC3E}">
        <p14:creationId xmlns:p14="http://schemas.microsoft.com/office/powerpoint/2010/main" val="22227972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24"/>
        <p:cNvGrpSpPr/>
        <p:nvPr/>
      </p:nvGrpSpPr>
      <p:grpSpPr>
        <a:xfrm>
          <a:off x="0" y="0"/>
          <a:ext cx="0" cy="0"/>
          <a:chOff x="0" y="0"/>
          <a:chExt cx="0" cy="0"/>
        </a:xfrm>
      </p:grpSpPr>
      <p:sp>
        <p:nvSpPr>
          <p:cNvPr id="3325" name="Google Shape;3325;gc890068605_0_3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326" name="Google Shape;3326;gc890068605_0_31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171450" lvl="0" indent="-171450" algn="l" rtl="0">
              <a:spcBef>
                <a:spcPts val="0"/>
              </a:spcBef>
              <a:spcAft>
                <a:spcPts val="0"/>
              </a:spcAft>
              <a:buClr>
                <a:schemeClr val="dk1"/>
              </a:buClr>
              <a:buSzPts val="1100"/>
              <a:buFontTx/>
              <a:buChar char="-"/>
            </a:pPr>
            <a:endParaRPr lang="en-GB"/>
          </a:p>
        </p:txBody>
      </p:sp>
    </p:spTree>
    <p:extLst>
      <p:ext uri="{BB962C8B-B14F-4D97-AF65-F5344CB8AC3E}">
        <p14:creationId xmlns:p14="http://schemas.microsoft.com/office/powerpoint/2010/main" val="5104734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D76BE7A-D436-425B-8228-5C84BAB8F5ED}" type="slidenum">
              <a:rPr lang="en-US" smtClean="0"/>
              <a:t>17</a:t>
            </a:fld>
            <a:endParaRPr lang="en-US"/>
          </a:p>
        </p:txBody>
      </p:sp>
    </p:spTree>
    <p:extLst>
      <p:ext uri="{BB962C8B-B14F-4D97-AF65-F5344CB8AC3E}">
        <p14:creationId xmlns:p14="http://schemas.microsoft.com/office/powerpoint/2010/main" val="37352000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D76BE7A-D436-425B-8228-5C84BAB8F5ED}" type="slidenum">
              <a:rPr lang="en-US" smtClean="0"/>
              <a:t>18</a:t>
            </a:fld>
            <a:endParaRPr lang="en-US"/>
          </a:p>
        </p:txBody>
      </p:sp>
    </p:spTree>
    <p:extLst>
      <p:ext uri="{BB962C8B-B14F-4D97-AF65-F5344CB8AC3E}">
        <p14:creationId xmlns:p14="http://schemas.microsoft.com/office/powerpoint/2010/main" val="31895009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04DC7A-1484-A5A0-7443-E1DB3D4738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59EAF9-24F3-6BA3-7E96-1F32DDB88E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E5A08D-4DDB-0D11-57CD-DAB05E317BB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AB41484-9D76-F607-FB16-4A5F8A144E33}"/>
              </a:ext>
            </a:extLst>
          </p:cNvPr>
          <p:cNvSpPr>
            <a:spLocks noGrp="1"/>
          </p:cNvSpPr>
          <p:nvPr>
            <p:ph type="sldNum" sz="quarter" idx="5"/>
          </p:nvPr>
        </p:nvSpPr>
        <p:spPr/>
        <p:txBody>
          <a:bodyPr/>
          <a:lstStyle/>
          <a:p>
            <a:fld id="{8D76BE7A-D436-425B-8228-5C84BAB8F5ED}" type="slidenum">
              <a:rPr lang="en-US" smtClean="0"/>
              <a:t>19</a:t>
            </a:fld>
            <a:endParaRPr lang="en-US"/>
          </a:p>
        </p:txBody>
      </p:sp>
    </p:spTree>
    <p:extLst>
      <p:ext uri="{BB962C8B-B14F-4D97-AF65-F5344CB8AC3E}">
        <p14:creationId xmlns:p14="http://schemas.microsoft.com/office/powerpoint/2010/main" val="13308019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24"/>
        <p:cNvGrpSpPr/>
        <p:nvPr/>
      </p:nvGrpSpPr>
      <p:grpSpPr>
        <a:xfrm>
          <a:off x="0" y="0"/>
          <a:ext cx="0" cy="0"/>
          <a:chOff x="0" y="0"/>
          <a:chExt cx="0" cy="0"/>
        </a:xfrm>
      </p:grpSpPr>
      <p:sp>
        <p:nvSpPr>
          <p:cNvPr id="3325" name="Google Shape;3325;gc890068605_0_3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326" name="Google Shape;3326;gc890068605_0_31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171450" lvl="0" indent="-171450" algn="l" rtl="0">
              <a:spcBef>
                <a:spcPts val="0"/>
              </a:spcBef>
              <a:spcAft>
                <a:spcPts val="0"/>
              </a:spcAft>
              <a:buClr>
                <a:schemeClr val="dk1"/>
              </a:buClr>
              <a:buSzPts val="1100"/>
              <a:buFontTx/>
              <a:buChar char="-"/>
            </a:pPr>
            <a:endParaRPr lang="en-GB"/>
          </a:p>
        </p:txBody>
      </p:sp>
    </p:spTree>
    <p:extLst>
      <p:ext uri="{BB962C8B-B14F-4D97-AF65-F5344CB8AC3E}">
        <p14:creationId xmlns:p14="http://schemas.microsoft.com/office/powerpoint/2010/main" val="18030877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24"/>
        <p:cNvGrpSpPr/>
        <p:nvPr/>
      </p:nvGrpSpPr>
      <p:grpSpPr>
        <a:xfrm>
          <a:off x="0" y="0"/>
          <a:ext cx="0" cy="0"/>
          <a:chOff x="0" y="0"/>
          <a:chExt cx="0" cy="0"/>
        </a:xfrm>
      </p:grpSpPr>
      <p:sp>
        <p:nvSpPr>
          <p:cNvPr id="3325" name="Google Shape;3325;gc890068605_0_3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326" name="Google Shape;3326;gc890068605_0_31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171450" lvl="0" indent="-171450" algn="l" rtl="0">
              <a:spcBef>
                <a:spcPts val="0"/>
              </a:spcBef>
              <a:spcAft>
                <a:spcPts val="0"/>
              </a:spcAft>
              <a:buClr>
                <a:schemeClr val="dk1"/>
              </a:buClr>
              <a:buSzPts val="1100"/>
              <a:buFontTx/>
              <a:buChar char="-"/>
            </a:pPr>
            <a:endParaRPr lang="en-GB"/>
          </a:p>
        </p:txBody>
      </p:sp>
    </p:spTree>
    <p:extLst>
      <p:ext uri="{BB962C8B-B14F-4D97-AF65-F5344CB8AC3E}">
        <p14:creationId xmlns:p14="http://schemas.microsoft.com/office/powerpoint/2010/main" val="39451886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pic>
        <p:nvPicPr>
          <p:cNvPr id="6" name="Picture 5" descr="A person running on the street&#10;&#10;Description automatically generated">
            <a:extLst>
              <a:ext uri="{FF2B5EF4-FFF2-40B4-BE49-F238E27FC236}">
                <a16:creationId xmlns:a16="http://schemas.microsoft.com/office/drawing/2014/main" id="{CC395EA9-3A9C-9855-01A9-5C8C8E79A38F}"/>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8899" b="6683"/>
          <a:stretch/>
        </p:blipFill>
        <p:spPr>
          <a:xfrm>
            <a:off x="1" y="0"/>
            <a:ext cx="12192000" cy="6858000"/>
          </a:xfrm>
          <a:prstGeom prst="rect">
            <a:avLst/>
          </a:prstGeom>
        </p:spPr>
      </p:pic>
      <p:sp>
        <p:nvSpPr>
          <p:cNvPr id="7" name="Rectangle 6">
            <a:extLst>
              <a:ext uri="{FF2B5EF4-FFF2-40B4-BE49-F238E27FC236}">
                <a16:creationId xmlns:a16="http://schemas.microsoft.com/office/drawing/2014/main" id="{DC076164-F021-973F-21E9-3FF004521E41}"/>
              </a:ext>
            </a:extLst>
          </p:cNvPr>
          <p:cNvSpPr/>
          <p:nvPr/>
        </p:nvSpPr>
        <p:spPr>
          <a:xfrm>
            <a:off x="0" y="0"/>
            <a:ext cx="12192000" cy="6858000"/>
          </a:xfrm>
          <a:prstGeom prst="rect">
            <a:avLst/>
          </a:prstGeom>
          <a:gradFill flip="none" rotWithShape="1">
            <a:gsLst>
              <a:gs pos="47000">
                <a:schemeClr val="tx1">
                  <a:alpha val="0"/>
                </a:schemeClr>
              </a:gs>
              <a:gs pos="80000">
                <a:schemeClr val="tx1">
                  <a:alpha val="30000"/>
                </a:schemeClr>
              </a:gs>
              <a:gs pos="100000">
                <a:schemeClr val="tx1">
                  <a:alpha val="48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a:t>
            </a:r>
            <a:endParaRPr lang="en-NL"/>
          </a:p>
        </p:txBody>
      </p:sp>
      <p:pic>
        <p:nvPicPr>
          <p:cNvPr id="8" name="Graphic 7">
            <a:extLst>
              <a:ext uri="{FF2B5EF4-FFF2-40B4-BE49-F238E27FC236}">
                <a16:creationId xmlns:a16="http://schemas.microsoft.com/office/drawing/2014/main" id="{945FCE27-F8E4-D64A-729D-A050317E6D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58912" y="5831654"/>
            <a:ext cx="1478735" cy="698400"/>
          </a:xfrm>
          <a:prstGeom prst="rect">
            <a:avLst/>
          </a:prstGeom>
        </p:spPr>
      </p:pic>
      <p:sp>
        <p:nvSpPr>
          <p:cNvPr id="9" name="Title 1">
            <a:extLst>
              <a:ext uri="{FF2B5EF4-FFF2-40B4-BE49-F238E27FC236}">
                <a16:creationId xmlns:a16="http://schemas.microsoft.com/office/drawing/2014/main" id="{BDCB67DE-5A5A-5755-49C6-A8B4EB9FCA17}"/>
              </a:ext>
            </a:extLst>
          </p:cNvPr>
          <p:cNvSpPr txBox="1">
            <a:spLocks/>
          </p:cNvSpPr>
          <p:nvPr/>
        </p:nvSpPr>
        <p:spPr>
          <a:xfrm>
            <a:off x="1834272" y="1094828"/>
            <a:ext cx="3771132" cy="1736604"/>
          </a:xfrm>
          <a:prstGeom prst="rect">
            <a:avLst/>
          </a:prstGeom>
        </p:spPr>
        <p:txBody>
          <a:bodyPr vert="horz" lIns="91440" tIns="45720" rIns="0" bIns="45720" numCol="1" rtlCol="0" anchor="t">
            <a:noAutofit/>
          </a:bodyPr>
          <a:lstStyle>
            <a:lvl1pPr algn="l" defTabSz="914400" rtl="0" eaLnBrk="1" latinLnBrk="0" hangingPunct="1">
              <a:lnSpc>
                <a:spcPct val="100000"/>
              </a:lnSpc>
              <a:spcBef>
                <a:spcPct val="0"/>
              </a:spcBef>
              <a:buNone/>
              <a:defRPr lang="en-GB" altLang="en-GB" sz="3600" b="0" i="0" kern="1200" spc="300" dirty="0">
                <a:solidFill>
                  <a:schemeClr val="bg1"/>
                </a:solidFill>
                <a:latin typeface="ASICS Font 3.0" panose="00000500000000000000" pitchFamily="50" charset="0"/>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altLang="en-GB" sz="2800" b="0" i="0" u="none" strike="noStrike" kern="1200" cap="none" spc="300" normalizeH="0" baseline="0" noProof="0">
                <a:ln>
                  <a:noFill/>
                </a:ln>
                <a:effectLst/>
                <a:uLnTx/>
                <a:uFillTx/>
                <a:latin typeface="ASICS Font 3.0"/>
              </a:rPr>
              <a:t>SPORTSTYLE</a:t>
            </a:r>
            <a:endParaRPr kumimoji="0" lang="en-GB" altLang="en-GB" sz="1000" b="1" i="0" u="none" strike="noStrike" kern="1200" cap="none" spc="300" normalizeH="0" baseline="0" noProof="0">
              <a:ln>
                <a:noFill/>
              </a:ln>
              <a:effectLst/>
              <a:uLnTx/>
              <a:uFillTx/>
              <a:latin typeface="ASICS Font 3.0" panose="00000500000000000000" pitchFamily="50" charset="0"/>
              <a:ea typeface="+mj-ea"/>
              <a:cs typeface="+mj-cs"/>
            </a:endParaRPr>
          </a:p>
          <a:p>
            <a:pPr>
              <a:defRPr/>
            </a:pPr>
            <a:r>
              <a:rPr kumimoji="0" lang="en-GB" altLang="en-GB" sz="2800" b="1" i="0" u="none" strike="noStrike" kern="1200" cap="none" spc="300" normalizeH="0" baseline="0" noProof="0">
                <a:ln>
                  <a:noFill/>
                </a:ln>
                <a:effectLst/>
                <a:uLnTx/>
                <a:uFillTx/>
                <a:latin typeface="ASICS Font 3.0"/>
              </a:rPr>
              <a:t>TOPIC</a:t>
            </a:r>
            <a:endParaRPr lang="en-GB" altLang="en-GB" sz="2800" b="1">
              <a:latin typeface="ASICS Font 3.0"/>
            </a:endParaRPr>
          </a:p>
          <a:p>
            <a:pPr>
              <a:defRPr/>
            </a:pPr>
            <a:r>
              <a:rPr lang="en-GB" altLang="en-GB" sz="2000" spc="0">
                <a:latin typeface="ASICS Font 3.0"/>
              </a:rPr>
              <a:t>Date</a:t>
            </a:r>
            <a:endParaRPr lang="en-GB" spc="0"/>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altLang="en-GB" sz="2000" i="0" u="none" strike="noStrike" kern="1200" cap="none" spc="300" normalizeH="0" baseline="0" noProof="0">
              <a:ln>
                <a:noFill/>
              </a:ln>
              <a:solidFill>
                <a:prstClr val="black"/>
              </a:solidFill>
              <a:effectLst/>
              <a:uLnTx/>
              <a:uFillTx/>
              <a:latin typeface="ASICS Font 3.0" panose="00000500000000000000" pitchFamily="50" charset="0"/>
              <a:ea typeface="+mj-ea"/>
              <a:cs typeface="+mj-cs"/>
            </a:endParaRPr>
          </a:p>
        </p:txBody>
      </p:sp>
      <p:grpSp>
        <p:nvGrpSpPr>
          <p:cNvPr id="10" name="Group 9">
            <a:extLst>
              <a:ext uri="{FF2B5EF4-FFF2-40B4-BE49-F238E27FC236}">
                <a16:creationId xmlns:a16="http://schemas.microsoft.com/office/drawing/2014/main" id="{52C60BE5-68FC-9FB8-EF65-50838EBB22B6}"/>
              </a:ext>
            </a:extLst>
          </p:cNvPr>
          <p:cNvGrpSpPr/>
          <p:nvPr/>
        </p:nvGrpSpPr>
        <p:grpSpPr>
          <a:xfrm>
            <a:off x="212312" y="210405"/>
            <a:ext cx="11775504" cy="6443171"/>
            <a:chOff x="269088" y="248111"/>
            <a:chExt cx="11652985" cy="6323867"/>
          </a:xfrm>
        </p:grpSpPr>
        <p:sp>
          <p:nvSpPr>
            <p:cNvPr id="11" name="Rectangle 10">
              <a:extLst>
                <a:ext uri="{FF2B5EF4-FFF2-40B4-BE49-F238E27FC236}">
                  <a16:creationId xmlns:a16="http://schemas.microsoft.com/office/drawing/2014/main" id="{37933C09-424C-0602-B6F5-BE02FA74C40F}"/>
                </a:ext>
              </a:extLst>
            </p:cNvPr>
            <p:cNvSpPr/>
            <p:nvPr/>
          </p:nvSpPr>
          <p:spPr>
            <a:xfrm>
              <a:off x="269088" y="6155019"/>
              <a:ext cx="416959" cy="416959"/>
            </a:xfrm>
            <a:custGeom>
              <a:avLst/>
              <a:gdLst>
                <a:gd name="connsiteX0" fmla="*/ 0 w 416959"/>
                <a:gd name="connsiteY0" fmla="*/ 0 h 416959"/>
                <a:gd name="connsiteX1" fmla="*/ 416959 w 416959"/>
                <a:gd name="connsiteY1" fmla="*/ 0 h 416959"/>
                <a:gd name="connsiteX2" fmla="*/ 416959 w 416959"/>
                <a:gd name="connsiteY2" fmla="*/ 416959 h 416959"/>
                <a:gd name="connsiteX3" fmla="*/ 0 w 416959"/>
                <a:gd name="connsiteY3" fmla="*/ 416959 h 416959"/>
                <a:gd name="connsiteX4" fmla="*/ 0 w 416959"/>
                <a:gd name="connsiteY4" fmla="*/ 0 h 416959"/>
                <a:gd name="connsiteX0" fmla="*/ 416959 w 508399"/>
                <a:gd name="connsiteY0" fmla="*/ 0 h 416959"/>
                <a:gd name="connsiteX1" fmla="*/ 416959 w 508399"/>
                <a:gd name="connsiteY1" fmla="*/ 416959 h 416959"/>
                <a:gd name="connsiteX2" fmla="*/ 0 w 508399"/>
                <a:gd name="connsiteY2" fmla="*/ 416959 h 416959"/>
                <a:gd name="connsiteX3" fmla="*/ 0 w 508399"/>
                <a:gd name="connsiteY3" fmla="*/ 0 h 416959"/>
                <a:gd name="connsiteX4" fmla="*/ 508399 w 508399"/>
                <a:gd name="connsiteY4" fmla="*/ 91440 h 416959"/>
                <a:gd name="connsiteX0" fmla="*/ 416959 w 416959"/>
                <a:gd name="connsiteY0" fmla="*/ 0 h 416959"/>
                <a:gd name="connsiteX1" fmla="*/ 416959 w 416959"/>
                <a:gd name="connsiteY1" fmla="*/ 416959 h 416959"/>
                <a:gd name="connsiteX2" fmla="*/ 0 w 416959"/>
                <a:gd name="connsiteY2" fmla="*/ 416959 h 416959"/>
                <a:gd name="connsiteX3" fmla="*/ 0 w 416959"/>
                <a:gd name="connsiteY3" fmla="*/ 0 h 416959"/>
                <a:gd name="connsiteX0" fmla="*/ 416959 w 416959"/>
                <a:gd name="connsiteY0" fmla="*/ 416959 h 416959"/>
                <a:gd name="connsiteX1" fmla="*/ 0 w 416959"/>
                <a:gd name="connsiteY1" fmla="*/ 416959 h 416959"/>
                <a:gd name="connsiteX2" fmla="*/ 0 w 416959"/>
                <a:gd name="connsiteY2" fmla="*/ 0 h 416959"/>
              </a:gdLst>
              <a:ahLst/>
              <a:cxnLst>
                <a:cxn ang="0">
                  <a:pos x="connsiteX0" y="connsiteY0"/>
                </a:cxn>
                <a:cxn ang="0">
                  <a:pos x="connsiteX1" y="connsiteY1"/>
                </a:cxn>
                <a:cxn ang="0">
                  <a:pos x="connsiteX2" y="connsiteY2"/>
                </a:cxn>
              </a:cxnLst>
              <a:rect l="l" t="t" r="r" b="b"/>
              <a:pathLst>
                <a:path w="416959" h="416959">
                  <a:moveTo>
                    <a:pt x="416959" y="416959"/>
                  </a:moveTo>
                  <a:lnTo>
                    <a:pt x="0" y="416959"/>
                  </a:lnTo>
                  <a:lnTo>
                    <a:pt x="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0">
              <a:extLst>
                <a:ext uri="{FF2B5EF4-FFF2-40B4-BE49-F238E27FC236}">
                  <a16:creationId xmlns:a16="http://schemas.microsoft.com/office/drawing/2014/main" id="{5C529CFD-BAFB-AA50-BE22-083AAEE0B4CA}"/>
                </a:ext>
              </a:extLst>
            </p:cNvPr>
            <p:cNvSpPr/>
            <p:nvPr/>
          </p:nvSpPr>
          <p:spPr>
            <a:xfrm rot="5400000">
              <a:off x="269088" y="248111"/>
              <a:ext cx="416959" cy="416959"/>
            </a:xfrm>
            <a:custGeom>
              <a:avLst/>
              <a:gdLst>
                <a:gd name="connsiteX0" fmla="*/ 0 w 416959"/>
                <a:gd name="connsiteY0" fmla="*/ 0 h 416959"/>
                <a:gd name="connsiteX1" fmla="*/ 416959 w 416959"/>
                <a:gd name="connsiteY1" fmla="*/ 0 h 416959"/>
                <a:gd name="connsiteX2" fmla="*/ 416959 w 416959"/>
                <a:gd name="connsiteY2" fmla="*/ 416959 h 416959"/>
                <a:gd name="connsiteX3" fmla="*/ 0 w 416959"/>
                <a:gd name="connsiteY3" fmla="*/ 416959 h 416959"/>
                <a:gd name="connsiteX4" fmla="*/ 0 w 416959"/>
                <a:gd name="connsiteY4" fmla="*/ 0 h 416959"/>
                <a:gd name="connsiteX0" fmla="*/ 416959 w 508399"/>
                <a:gd name="connsiteY0" fmla="*/ 0 h 416959"/>
                <a:gd name="connsiteX1" fmla="*/ 416959 w 508399"/>
                <a:gd name="connsiteY1" fmla="*/ 416959 h 416959"/>
                <a:gd name="connsiteX2" fmla="*/ 0 w 508399"/>
                <a:gd name="connsiteY2" fmla="*/ 416959 h 416959"/>
                <a:gd name="connsiteX3" fmla="*/ 0 w 508399"/>
                <a:gd name="connsiteY3" fmla="*/ 0 h 416959"/>
                <a:gd name="connsiteX4" fmla="*/ 508399 w 508399"/>
                <a:gd name="connsiteY4" fmla="*/ 91440 h 416959"/>
                <a:gd name="connsiteX0" fmla="*/ 416959 w 416959"/>
                <a:gd name="connsiteY0" fmla="*/ 0 h 416959"/>
                <a:gd name="connsiteX1" fmla="*/ 416959 w 416959"/>
                <a:gd name="connsiteY1" fmla="*/ 416959 h 416959"/>
                <a:gd name="connsiteX2" fmla="*/ 0 w 416959"/>
                <a:gd name="connsiteY2" fmla="*/ 416959 h 416959"/>
                <a:gd name="connsiteX3" fmla="*/ 0 w 416959"/>
                <a:gd name="connsiteY3" fmla="*/ 0 h 416959"/>
                <a:gd name="connsiteX0" fmla="*/ 416959 w 416959"/>
                <a:gd name="connsiteY0" fmla="*/ 416959 h 416959"/>
                <a:gd name="connsiteX1" fmla="*/ 0 w 416959"/>
                <a:gd name="connsiteY1" fmla="*/ 416959 h 416959"/>
                <a:gd name="connsiteX2" fmla="*/ 0 w 416959"/>
                <a:gd name="connsiteY2" fmla="*/ 0 h 416959"/>
              </a:gdLst>
              <a:ahLst/>
              <a:cxnLst>
                <a:cxn ang="0">
                  <a:pos x="connsiteX0" y="connsiteY0"/>
                </a:cxn>
                <a:cxn ang="0">
                  <a:pos x="connsiteX1" y="connsiteY1"/>
                </a:cxn>
                <a:cxn ang="0">
                  <a:pos x="connsiteX2" y="connsiteY2"/>
                </a:cxn>
              </a:cxnLst>
              <a:rect l="l" t="t" r="r" b="b"/>
              <a:pathLst>
                <a:path w="416959" h="416959">
                  <a:moveTo>
                    <a:pt x="416959" y="416959"/>
                  </a:moveTo>
                  <a:lnTo>
                    <a:pt x="0" y="416959"/>
                  </a:lnTo>
                  <a:lnTo>
                    <a:pt x="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0">
              <a:extLst>
                <a:ext uri="{FF2B5EF4-FFF2-40B4-BE49-F238E27FC236}">
                  <a16:creationId xmlns:a16="http://schemas.microsoft.com/office/drawing/2014/main" id="{FEB6EFFA-946F-BE55-2D70-316BD11A38EA}"/>
                </a:ext>
              </a:extLst>
            </p:cNvPr>
            <p:cNvSpPr/>
            <p:nvPr/>
          </p:nvSpPr>
          <p:spPr>
            <a:xfrm flipH="1">
              <a:off x="11505114" y="6155019"/>
              <a:ext cx="416959" cy="416959"/>
            </a:xfrm>
            <a:custGeom>
              <a:avLst/>
              <a:gdLst>
                <a:gd name="connsiteX0" fmla="*/ 0 w 416959"/>
                <a:gd name="connsiteY0" fmla="*/ 0 h 416959"/>
                <a:gd name="connsiteX1" fmla="*/ 416959 w 416959"/>
                <a:gd name="connsiteY1" fmla="*/ 0 h 416959"/>
                <a:gd name="connsiteX2" fmla="*/ 416959 w 416959"/>
                <a:gd name="connsiteY2" fmla="*/ 416959 h 416959"/>
                <a:gd name="connsiteX3" fmla="*/ 0 w 416959"/>
                <a:gd name="connsiteY3" fmla="*/ 416959 h 416959"/>
                <a:gd name="connsiteX4" fmla="*/ 0 w 416959"/>
                <a:gd name="connsiteY4" fmla="*/ 0 h 416959"/>
                <a:gd name="connsiteX0" fmla="*/ 416959 w 508399"/>
                <a:gd name="connsiteY0" fmla="*/ 0 h 416959"/>
                <a:gd name="connsiteX1" fmla="*/ 416959 w 508399"/>
                <a:gd name="connsiteY1" fmla="*/ 416959 h 416959"/>
                <a:gd name="connsiteX2" fmla="*/ 0 w 508399"/>
                <a:gd name="connsiteY2" fmla="*/ 416959 h 416959"/>
                <a:gd name="connsiteX3" fmla="*/ 0 w 508399"/>
                <a:gd name="connsiteY3" fmla="*/ 0 h 416959"/>
                <a:gd name="connsiteX4" fmla="*/ 508399 w 508399"/>
                <a:gd name="connsiteY4" fmla="*/ 91440 h 416959"/>
                <a:gd name="connsiteX0" fmla="*/ 416959 w 416959"/>
                <a:gd name="connsiteY0" fmla="*/ 0 h 416959"/>
                <a:gd name="connsiteX1" fmla="*/ 416959 w 416959"/>
                <a:gd name="connsiteY1" fmla="*/ 416959 h 416959"/>
                <a:gd name="connsiteX2" fmla="*/ 0 w 416959"/>
                <a:gd name="connsiteY2" fmla="*/ 416959 h 416959"/>
                <a:gd name="connsiteX3" fmla="*/ 0 w 416959"/>
                <a:gd name="connsiteY3" fmla="*/ 0 h 416959"/>
                <a:gd name="connsiteX0" fmla="*/ 416959 w 416959"/>
                <a:gd name="connsiteY0" fmla="*/ 416959 h 416959"/>
                <a:gd name="connsiteX1" fmla="*/ 0 w 416959"/>
                <a:gd name="connsiteY1" fmla="*/ 416959 h 416959"/>
                <a:gd name="connsiteX2" fmla="*/ 0 w 416959"/>
                <a:gd name="connsiteY2" fmla="*/ 0 h 416959"/>
              </a:gdLst>
              <a:ahLst/>
              <a:cxnLst>
                <a:cxn ang="0">
                  <a:pos x="connsiteX0" y="connsiteY0"/>
                </a:cxn>
                <a:cxn ang="0">
                  <a:pos x="connsiteX1" y="connsiteY1"/>
                </a:cxn>
                <a:cxn ang="0">
                  <a:pos x="connsiteX2" y="connsiteY2"/>
                </a:cxn>
              </a:cxnLst>
              <a:rect l="l" t="t" r="r" b="b"/>
              <a:pathLst>
                <a:path w="416959" h="416959">
                  <a:moveTo>
                    <a:pt x="416959" y="416959"/>
                  </a:moveTo>
                  <a:lnTo>
                    <a:pt x="0" y="416959"/>
                  </a:lnTo>
                  <a:lnTo>
                    <a:pt x="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0">
              <a:extLst>
                <a:ext uri="{FF2B5EF4-FFF2-40B4-BE49-F238E27FC236}">
                  <a16:creationId xmlns:a16="http://schemas.microsoft.com/office/drawing/2014/main" id="{903C45FC-5F83-CB5F-B991-AB4698D7A752}"/>
                </a:ext>
              </a:extLst>
            </p:cNvPr>
            <p:cNvSpPr/>
            <p:nvPr/>
          </p:nvSpPr>
          <p:spPr>
            <a:xfrm rot="16200000" flipH="1">
              <a:off x="11505114" y="248111"/>
              <a:ext cx="416959" cy="416959"/>
            </a:xfrm>
            <a:custGeom>
              <a:avLst/>
              <a:gdLst>
                <a:gd name="connsiteX0" fmla="*/ 0 w 416959"/>
                <a:gd name="connsiteY0" fmla="*/ 0 h 416959"/>
                <a:gd name="connsiteX1" fmla="*/ 416959 w 416959"/>
                <a:gd name="connsiteY1" fmla="*/ 0 h 416959"/>
                <a:gd name="connsiteX2" fmla="*/ 416959 w 416959"/>
                <a:gd name="connsiteY2" fmla="*/ 416959 h 416959"/>
                <a:gd name="connsiteX3" fmla="*/ 0 w 416959"/>
                <a:gd name="connsiteY3" fmla="*/ 416959 h 416959"/>
                <a:gd name="connsiteX4" fmla="*/ 0 w 416959"/>
                <a:gd name="connsiteY4" fmla="*/ 0 h 416959"/>
                <a:gd name="connsiteX0" fmla="*/ 416959 w 508399"/>
                <a:gd name="connsiteY0" fmla="*/ 0 h 416959"/>
                <a:gd name="connsiteX1" fmla="*/ 416959 w 508399"/>
                <a:gd name="connsiteY1" fmla="*/ 416959 h 416959"/>
                <a:gd name="connsiteX2" fmla="*/ 0 w 508399"/>
                <a:gd name="connsiteY2" fmla="*/ 416959 h 416959"/>
                <a:gd name="connsiteX3" fmla="*/ 0 w 508399"/>
                <a:gd name="connsiteY3" fmla="*/ 0 h 416959"/>
                <a:gd name="connsiteX4" fmla="*/ 508399 w 508399"/>
                <a:gd name="connsiteY4" fmla="*/ 91440 h 416959"/>
                <a:gd name="connsiteX0" fmla="*/ 416959 w 416959"/>
                <a:gd name="connsiteY0" fmla="*/ 0 h 416959"/>
                <a:gd name="connsiteX1" fmla="*/ 416959 w 416959"/>
                <a:gd name="connsiteY1" fmla="*/ 416959 h 416959"/>
                <a:gd name="connsiteX2" fmla="*/ 0 w 416959"/>
                <a:gd name="connsiteY2" fmla="*/ 416959 h 416959"/>
                <a:gd name="connsiteX3" fmla="*/ 0 w 416959"/>
                <a:gd name="connsiteY3" fmla="*/ 0 h 416959"/>
                <a:gd name="connsiteX0" fmla="*/ 416959 w 416959"/>
                <a:gd name="connsiteY0" fmla="*/ 416959 h 416959"/>
                <a:gd name="connsiteX1" fmla="*/ 0 w 416959"/>
                <a:gd name="connsiteY1" fmla="*/ 416959 h 416959"/>
                <a:gd name="connsiteX2" fmla="*/ 0 w 416959"/>
                <a:gd name="connsiteY2" fmla="*/ 0 h 416959"/>
              </a:gdLst>
              <a:ahLst/>
              <a:cxnLst>
                <a:cxn ang="0">
                  <a:pos x="connsiteX0" y="connsiteY0"/>
                </a:cxn>
                <a:cxn ang="0">
                  <a:pos x="connsiteX1" y="connsiteY1"/>
                </a:cxn>
                <a:cxn ang="0">
                  <a:pos x="connsiteX2" y="connsiteY2"/>
                </a:cxn>
              </a:cxnLst>
              <a:rect l="l" t="t" r="r" b="b"/>
              <a:pathLst>
                <a:path w="416959" h="416959">
                  <a:moveTo>
                    <a:pt x="416959" y="416959"/>
                  </a:moveTo>
                  <a:lnTo>
                    <a:pt x="0" y="416959"/>
                  </a:lnTo>
                  <a:lnTo>
                    <a:pt x="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5" name="Group 14">
            <a:extLst>
              <a:ext uri="{FF2B5EF4-FFF2-40B4-BE49-F238E27FC236}">
                <a16:creationId xmlns:a16="http://schemas.microsoft.com/office/drawing/2014/main" id="{99C595FC-81FB-6F9B-3137-537CA113275A}"/>
              </a:ext>
            </a:extLst>
          </p:cNvPr>
          <p:cNvGrpSpPr/>
          <p:nvPr/>
        </p:nvGrpSpPr>
        <p:grpSpPr>
          <a:xfrm>
            <a:off x="796467" y="722232"/>
            <a:ext cx="687447" cy="2190652"/>
            <a:chOff x="947707" y="2333674"/>
            <a:chExt cx="687447" cy="2190652"/>
          </a:xfrm>
        </p:grpSpPr>
        <p:pic>
          <p:nvPicPr>
            <p:cNvPr id="16" name="Graphic 15">
              <a:extLst>
                <a:ext uri="{FF2B5EF4-FFF2-40B4-BE49-F238E27FC236}">
                  <a16:creationId xmlns:a16="http://schemas.microsoft.com/office/drawing/2014/main" id="{148C15D5-4219-DE55-1898-00984DFB62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7707" y="2799000"/>
              <a:ext cx="134263" cy="1260000"/>
            </a:xfrm>
            <a:prstGeom prst="rect">
              <a:avLst/>
            </a:prstGeom>
          </p:spPr>
        </p:pic>
        <p:sp>
          <p:nvSpPr>
            <p:cNvPr id="17" name="TextBox 16">
              <a:extLst>
                <a:ext uri="{FF2B5EF4-FFF2-40B4-BE49-F238E27FC236}">
                  <a16:creationId xmlns:a16="http://schemas.microsoft.com/office/drawing/2014/main" id="{AD886F69-F364-E0E9-8251-5B2ED0786736}"/>
                </a:ext>
              </a:extLst>
            </p:cNvPr>
            <p:cNvSpPr txBox="1"/>
            <p:nvPr/>
          </p:nvSpPr>
          <p:spPr>
            <a:xfrm>
              <a:off x="1081970" y="2542604"/>
              <a:ext cx="485151" cy="1772793"/>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nl-NL" sz="1500" b="1" i="0" u="none" strike="noStrike" kern="1200" cap="none" spc="0" normalizeH="0" baseline="0" noProof="0">
                  <a:ln>
                    <a:noFill/>
                  </a:ln>
                  <a:solidFill>
                    <a:schemeClr val="bg1"/>
                  </a:solidFill>
                  <a:effectLst/>
                  <a:uLnTx/>
                  <a:uFillTx/>
                  <a:latin typeface="ASICS Font 3.0" panose="00000500000000000000" pitchFamily="50" charset="0"/>
                  <a:ea typeface="+mn-ea"/>
                  <a:cs typeface="+mn-cs"/>
                </a:rPr>
                <a:t>A</a:t>
              </a:r>
              <a:br>
                <a:rPr kumimoji="0" lang="nl-NL" sz="1500" b="1" i="0" u="none" strike="noStrike" kern="1200" cap="none" spc="0" normalizeH="0" baseline="0" noProof="0">
                  <a:ln>
                    <a:noFill/>
                  </a:ln>
                  <a:solidFill>
                    <a:schemeClr val="bg1"/>
                  </a:solidFill>
                  <a:effectLst/>
                  <a:uLnTx/>
                  <a:uFillTx/>
                  <a:latin typeface="ASICS Font 3.0" panose="00000500000000000000" pitchFamily="50" charset="0"/>
                  <a:ea typeface="+mn-ea"/>
                  <a:cs typeface="+mn-cs"/>
                </a:rPr>
              </a:br>
              <a:r>
                <a:rPr kumimoji="0" lang="nl-NL" sz="1500" b="1" i="0" u="none" strike="noStrike" kern="1200" cap="none" spc="0" normalizeH="0" baseline="0" noProof="0">
                  <a:ln>
                    <a:noFill/>
                  </a:ln>
                  <a:solidFill>
                    <a:schemeClr val="bg1"/>
                  </a:solidFill>
                  <a:effectLst/>
                  <a:uLnTx/>
                  <a:uFillTx/>
                  <a:latin typeface="ASICS Font 3.0" panose="00000500000000000000" pitchFamily="50" charset="0"/>
                  <a:ea typeface="+mn-ea"/>
                  <a:cs typeface="+mn-cs"/>
                </a:rPr>
                <a:t>S</a:t>
              </a:r>
              <a:br>
                <a:rPr kumimoji="0" lang="nl-NL" sz="1500" b="1" i="0" u="none" strike="noStrike" kern="1200" cap="none" spc="0" normalizeH="0" baseline="0" noProof="0">
                  <a:ln>
                    <a:noFill/>
                  </a:ln>
                  <a:solidFill>
                    <a:schemeClr val="bg1"/>
                  </a:solidFill>
                  <a:effectLst/>
                  <a:uLnTx/>
                  <a:uFillTx/>
                  <a:latin typeface="ASICS Font 3.0" panose="00000500000000000000" pitchFamily="50" charset="0"/>
                  <a:ea typeface="+mn-ea"/>
                  <a:cs typeface="+mn-cs"/>
                </a:rPr>
              </a:br>
              <a:r>
                <a:rPr kumimoji="0" lang="nl-NL" sz="1500" b="1" i="0" u="none" strike="noStrike" kern="1200" cap="none" spc="0" normalizeH="0" baseline="0" noProof="0">
                  <a:ln>
                    <a:noFill/>
                  </a:ln>
                  <a:solidFill>
                    <a:schemeClr val="bg1"/>
                  </a:solidFill>
                  <a:effectLst/>
                  <a:uLnTx/>
                  <a:uFillTx/>
                  <a:latin typeface="ASICS Font 3.0" panose="00000500000000000000" pitchFamily="50" charset="0"/>
                  <a:ea typeface="+mn-ea"/>
                  <a:cs typeface="+mn-cs"/>
                </a:rPr>
                <a:t>I</a:t>
              </a:r>
              <a:br>
                <a:rPr kumimoji="0" lang="nl-NL" sz="1500" b="1" i="0" u="none" strike="noStrike" kern="1200" cap="none" spc="0" normalizeH="0" baseline="0" noProof="0">
                  <a:ln>
                    <a:noFill/>
                  </a:ln>
                  <a:solidFill>
                    <a:schemeClr val="bg1"/>
                  </a:solidFill>
                  <a:effectLst/>
                  <a:uLnTx/>
                  <a:uFillTx/>
                  <a:latin typeface="ASICS Font 3.0" panose="00000500000000000000" pitchFamily="50" charset="0"/>
                  <a:ea typeface="+mn-ea"/>
                  <a:cs typeface="+mn-cs"/>
                </a:rPr>
              </a:br>
              <a:r>
                <a:rPr kumimoji="0" lang="nl-NL" sz="1500" b="1" i="0" u="none" strike="noStrike" kern="1200" cap="none" spc="0" normalizeH="0" baseline="0" noProof="0">
                  <a:ln>
                    <a:noFill/>
                  </a:ln>
                  <a:solidFill>
                    <a:schemeClr val="bg1"/>
                  </a:solidFill>
                  <a:effectLst/>
                  <a:uLnTx/>
                  <a:uFillTx/>
                  <a:latin typeface="ASICS Font 3.0" panose="00000500000000000000" pitchFamily="50" charset="0"/>
                  <a:ea typeface="+mn-ea"/>
                  <a:cs typeface="+mn-cs"/>
                </a:rPr>
                <a:t>C</a:t>
              </a:r>
              <a:br>
                <a:rPr kumimoji="0" lang="nl-NL" sz="1500" b="1" i="0" u="none" strike="noStrike" kern="1200" cap="none" spc="0" normalizeH="0" baseline="0" noProof="0">
                  <a:ln>
                    <a:noFill/>
                  </a:ln>
                  <a:solidFill>
                    <a:schemeClr val="bg1"/>
                  </a:solidFill>
                  <a:effectLst/>
                  <a:uLnTx/>
                  <a:uFillTx/>
                  <a:latin typeface="ASICS Font 3.0" panose="00000500000000000000" pitchFamily="50" charset="0"/>
                  <a:ea typeface="+mn-ea"/>
                  <a:cs typeface="+mn-cs"/>
                </a:rPr>
              </a:br>
              <a:r>
                <a:rPr kumimoji="0" lang="nl-NL" sz="1500" b="1" i="0" u="none" strike="noStrike" kern="1200" cap="none" spc="0" normalizeH="0" baseline="0" noProof="0">
                  <a:ln>
                    <a:noFill/>
                  </a:ln>
                  <a:solidFill>
                    <a:schemeClr val="bg1"/>
                  </a:solidFill>
                  <a:effectLst/>
                  <a:uLnTx/>
                  <a:uFillTx/>
                  <a:latin typeface="ASICS Font 3.0" panose="00000500000000000000" pitchFamily="50" charset="0"/>
                  <a:ea typeface="+mn-ea"/>
                  <a:cs typeface="+mn-cs"/>
                </a:rPr>
                <a:t>S</a:t>
              </a:r>
            </a:p>
          </p:txBody>
        </p:sp>
        <p:cxnSp>
          <p:nvCxnSpPr>
            <p:cNvPr id="18" name="Straight Connector 17">
              <a:extLst>
                <a:ext uri="{FF2B5EF4-FFF2-40B4-BE49-F238E27FC236}">
                  <a16:creationId xmlns:a16="http://schemas.microsoft.com/office/drawing/2014/main" id="{54765682-7202-3C8F-90FA-A5D4286281A5}"/>
                </a:ext>
              </a:extLst>
            </p:cNvPr>
            <p:cNvCxnSpPr>
              <a:cxnSpLocks/>
            </p:cNvCxnSpPr>
            <p:nvPr/>
          </p:nvCxnSpPr>
          <p:spPr>
            <a:xfrm>
              <a:off x="1635154" y="2333674"/>
              <a:ext cx="0" cy="2190652"/>
            </a:xfrm>
            <a:prstGeom prst="line">
              <a:avLst/>
            </a:prstGeom>
            <a:noFill/>
            <a:ln w="12700" cap="flat" cmpd="sng" algn="ctr">
              <a:solidFill>
                <a:schemeClr val="bg1"/>
              </a:solidFill>
              <a:prstDash val="solid"/>
              <a:miter lim="800000"/>
            </a:ln>
            <a:effectLst/>
          </p:spPr>
        </p:cxnSp>
      </p:grpSp>
    </p:spTree>
    <p:extLst>
      <p:ext uri="{BB962C8B-B14F-4D97-AF65-F5344CB8AC3E}">
        <p14:creationId xmlns:p14="http://schemas.microsoft.com/office/powerpoint/2010/main" val="19101755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graphicFrame>
        <p:nvGraphicFramePr>
          <p:cNvPr id="5" name="Table 15">
            <a:extLst>
              <a:ext uri="{FF2B5EF4-FFF2-40B4-BE49-F238E27FC236}">
                <a16:creationId xmlns:a16="http://schemas.microsoft.com/office/drawing/2014/main" id="{F0853473-07CF-502A-E856-83F3EC2DB4A7}"/>
              </a:ext>
            </a:extLst>
          </p:cNvPr>
          <p:cNvGraphicFramePr>
            <a:graphicFrameLocks noGrp="1"/>
          </p:cNvGraphicFramePr>
          <p:nvPr userDrawn="1">
            <p:extLst>
              <p:ext uri="{D42A27DB-BD31-4B8C-83A1-F6EECF244321}">
                <p14:modId xmlns:p14="http://schemas.microsoft.com/office/powerpoint/2010/main" val="1501419260"/>
              </p:ext>
            </p:extLst>
          </p:nvPr>
        </p:nvGraphicFramePr>
        <p:xfrm>
          <a:off x="76509" y="70200"/>
          <a:ext cx="12038982" cy="6686723"/>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194541673"/>
                    </a:ext>
                  </a:extLst>
                </a:gridCol>
                <a:gridCol w="1099312">
                  <a:extLst>
                    <a:ext uri="{9D8B030D-6E8A-4147-A177-3AD203B41FA5}">
                      <a16:colId xmlns:a16="http://schemas.microsoft.com/office/drawing/2014/main" val="1599786426"/>
                    </a:ext>
                  </a:extLst>
                </a:gridCol>
                <a:gridCol w="1788565">
                  <a:extLst>
                    <a:ext uri="{9D8B030D-6E8A-4147-A177-3AD203B41FA5}">
                      <a16:colId xmlns:a16="http://schemas.microsoft.com/office/drawing/2014/main" val="2958355450"/>
                    </a:ext>
                  </a:extLst>
                </a:gridCol>
                <a:gridCol w="1788565">
                  <a:extLst>
                    <a:ext uri="{9D8B030D-6E8A-4147-A177-3AD203B41FA5}">
                      <a16:colId xmlns:a16="http://schemas.microsoft.com/office/drawing/2014/main" val="3108265392"/>
                    </a:ext>
                  </a:extLst>
                </a:gridCol>
                <a:gridCol w="1788565">
                  <a:extLst>
                    <a:ext uri="{9D8B030D-6E8A-4147-A177-3AD203B41FA5}">
                      <a16:colId xmlns:a16="http://schemas.microsoft.com/office/drawing/2014/main" val="1214581081"/>
                    </a:ext>
                  </a:extLst>
                </a:gridCol>
                <a:gridCol w="1788565">
                  <a:extLst>
                    <a:ext uri="{9D8B030D-6E8A-4147-A177-3AD203B41FA5}">
                      <a16:colId xmlns:a16="http://schemas.microsoft.com/office/drawing/2014/main" val="476101854"/>
                    </a:ext>
                  </a:extLst>
                </a:gridCol>
                <a:gridCol w="1788565">
                  <a:extLst>
                    <a:ext uri="{9D8B030D-6E8A-4147-A177-3AD203B41FA5}">
                      <a16:colId xmlns:a16="http://schemas.microsoft.com/office/drawing/2014/main" val="556185818"/>
                    </a:ext>
                  </a:extLst>
                </a:gridCol>
                <a:gridCol w="1788565">
                  <a:extLst>
                    <a:ext uri="{9D8B030D-6E8A-4147-A177-3AD203B41FA5}">
                      <a16:colId xmlns:a16="http://schemas.microsoft.com/office/drawing/2014/main" val="1931572245"/>
                    </a:ext>
                  </a:extLst>
                </a:gridCol>
              </a:tblGrid>
              <a:tr h="255137">
                <a:tc rowSpan="3" gridSpan="2">
                  <a:txBody>
                    <a:bodyPr/>
                    <a:lstStyle/>
                    <a:p>
                      <a:pPr marL="0" marR="0" lvl="0" indent="0" algn="l">
                        <a:lnSpc>
                          <a:spcPct val="100000"/>
                        </a:lnSpc>
                        <a:spcBef>
                          <a:spcPts val="0"/>
                        </a:spcBef>
                        <a:spcAft>
                          <a:spcPts val="0"/>
                        </a:spcAft>
                        <a:buNone/>
                      </a:pPr>
                      <a:endParaRPr lang="en-US" sz="800" b="0" i="0" u="none" strike="noStrike" noProof="0">
                        <a:solidFill>
                          <a:schemeClr val="tx1"/>
                        </a:solidFill>
                        <a:latin typeface="Aptos Narrow"/>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noFill/>
                  </a:tcPr>
                </a:tc>
                <a:tc rowSpan="3" hMerge="1">
                  <a:txBody>
                    <a:bodyPr/>
                    <a:lstStyle/>
                    <a:p>
                      <a:pPr marL="0" marR="0" lvl="0" indent="0" algn="l">
                        <a:lnSpc>
                          <a:spcPct val="100000"/>
                        </a:lnSpc>
                        <a:spcBef>
                          <a:spcPts val="0"/>
                        </a:spcBef>
                        <a:spcAft>
                          <a:spcPts val="0"/>
                        </a:spcAft>
                        <a:buNone/>
                      </a:pPr>
                      <a:endParaRPr lang="en-US"/>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6">
                  <a:txBody>
                    <a:bodyPr/>
                    <a:lstStyle/>
                    <a:p>
                      <a:endParaRPr lang="en-US" sz="1050">
                        <a:latin typeface="Aptos"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noFill/>
                  </a:tcPr>
                </a:tc>
                <a:tc hMerge="1">
                  <a:txBody>
                    <a:bodyPr/>
                    <a:lstStyle/>
                    <a:p>
                      <a:endParaRPr lang="en-US">
                        <a:latin typeface="Aptos" panose="020B0004020202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endParaRPr lang="en-US">
                        <a:latin typeface="Aptos" panose="020B0004020202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endParaRPr lang="en-US">
                        <a:latin typeface="Aptos" panose="020B0004020202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endParaRPr lang="en-US">
                        <a:latin typeface="Aptos" panose="020B0004020202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endParaRPr lang="en-US">
                        <a:latin typeface="Aptos" panose="020B0004020202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08422529"/>
                  </a:ext>
                </a:extLst>
              </a:tr>
              <a:tr h="118549">
                <a:tc gridSpan="2" vMerge="1">
                  <a:txBody>
                    <a:bodyPr/>
                    <a:lstStyle/>
                    <a:p>
                      <a:pPr marL="0" marR="0" lvl="0" indent="0" algn="l">
                        <a:lnSpc>
                          <a:spcPct val="100000"/>
                        </a:lnSpc>
                        <a:spcBef>
                          <a:spcPts val="0"/>
                        </a:spcBef>
                        <a:spcAft>
                          <a:spcPts val="0"/>
                        </a:spcAft>
                        <a:buNone/>
                      </a:pPr>
                      <a:endParaRPr lang="en-US" sz="800" b="0" i="0" u="none" strike="noStrike" noProof="0">
                        <a:solidFill>
                          <a:schemeClr val="tx1"/>
                        </a:solidFill>
                        <a:latin typeface="Aptos Narrow"/>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hMerge="1" vMerge="1">
                  <a:txBody>
                    <a:bodyPr/>
                    <a:lstStyle/>
                    <a:p>
                      <a:endParaRPr kumimoji="1" lang="ja-JP" altLang="en-US"/>
                    </a:p>
                  </a:txBody>
                  <a:tcPr/>
                </a:tc>
                <a:tc gridSpan="3">
                  <a:txBody>
                    <a:bodyPr/>
                    <a:lstStyle/>
                    <a:p>
                      <a:endParaRPr lang="en-US" sz="1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solidFill>
                      <a:schemeClr val="bg1">
                        <a:lumMod val="50000"/>
                      </a:schemeClr>
                    </a:solidFill>
                  </a:tcPr>
                </a:tc>
                <a:tc hMerge="1">
                  <a:txBody>
                    <a:bodyPr/>
                    <a:lstStyle/>
                    <a:p>
                      <a:endParaRPr lang="en-US" sz="100">
                        <a:latin typeface="Aptos Narrow" panose="020B0004020202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endParaRPr lang="en-US" sz="100">
                        <a:latin typeface="Aptos Narrow" panose="020B0004020202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endParaRPr lang="en-US" sz="1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solidFill>
                      <a:schemeClr val="bg1">
                        <a:lumMod val="50000"/>
                      </a:schemeClr>
                    </a:solidFill>
                  </a:tcPr>
                </a:tc>
                <a:tc hMerge="1">
                  <a:txBody>
                    <a:bodyPr/>
                    <a:lstStyle/>
                    <a:p>
                      <a:endParaRPr lang="en-US" sz="100">
                        <a:latin typeface="Aptos Narrow" panose="020B0004020202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endParaRPr lang="en-US" sz="100">
                        <a:latin typeface="Aptos Narrow" panose="020B0004020202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24735631"/>
                  </a:ext>
                </a:extLst>
              </a:tr>
              <a:tr h="118549">
                <a:tc gridSpan="2" vMerge="1">
                  <a:txBody>
                    <a:bodyPr/>
                    <a:lstStyle/>
                    <a:p>
                      <a:endParaRPr kumimoji="1" lang="ja-JP" altLang="en-US"/>
                    </a:p>
                  </a:txBody>
                  <a:tcPr/>
                </a:tc>
                <a:tc hMerge="1" vMerge="1">
                  <a:txBody>
                    <a:bodyPr/>
                    <a:lstStyle/>
                    <a:p>
                      <a:endParaRPr kumimoji="1" lang="ja-JP" altLang="en-US"/>
                    </a:p>
                  </a:txBody>
                  <a:tcPr/>
                </a:tc>
                <a:tc>
                  <a:txBody>
                    <a:bodyPr/>
                    <a:lstStyle/>
                    <a:p>
                      <a:pPr algn="ctr"/>
                      <a:endParaRPr lang="en-US" sz="1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solidFill>
                      <a:schemeClr val="bg1">
                        <a:lumMod val="90000"/>
                      </a:schemeClr>
                    </a:solidFill>
                  </a:tcPr>
                </a:tc>
                <a:tc>
                  <a:txBody>
                    <a:bodyPr/>
                    <a:lstStyle/>
                    <a:p>
                      <a:endParaRPr lang="en-US" sz="1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solidFill>
                      <a:schemeClr val="bg1">
                        <a:lumMod val="90000"/>
                      </a:schemeClr>
                    </a:solidFill>
                  </a:tcPr>
                </a:tc>
                <a:tc>
                  <a:txBody>
                    <a:bodyPr/>
                    <a:lstStyle/>
                    <a:p>
                      <a:endParaRPr lang="en-US" sz="1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solidFill>
                      <a:schemeClr val="bg1">
                        <a:lumMod val="90000"/>
                      </a:schemeClr>
                    </a:solidFill>
                  </a:tcPr>
                </a:tc>
                <a:tc>
                  <a:txBody>
                    <a:bodyPr/>
                    <a:lstStyle/>
                    <a:p>
                      <a:endParaRPr lang="en-US" sz="1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solidFill>
                      <a:schemeClr val="bg1">
                        <a:lumMod val="90000"/>
                      </a:schemeClr>
                    </a:solidFill>
                  </a:tcPr>
                </a:tc>
                <a:tc>
                  <a:txBody>
                    <a:bodyPr/>
                    <a:lstStyle/>
                    <a:p>
                      <a:endParaRPr lang="en-US" sz="1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solidFill>
                      <a:schemeClr val="bg1">
                        <a:lumMod val="90000"/>
                      </a:schemeClr>
                    </a:solidFill>
                  </a:tcPr>
                </a:tc>
                <a:tc>
                  <a:txBody>
                    <a:bodyPr/>
                    <a:lstStyle/>
                    <a:p>
                      <a:endParaRPr lang="en-US" sz="1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solidFill>
                      <a:schemeClr val="bg1">
                        <a:lumMod val="90000"/>
                      </a:schemeClr>
                    </a:solidFill>
                  </a:tcPr>
                </a:tc>
                <a:extLst>
                  <a:ext uri="{0D108BD9-81ED-4DB2-BD59-A6C34878D82A}">
                    <a16:rowId xmlns:a16="http://schemas.microsoft.com/office/drawing/2014/main" val="646624232"/>
                  </a:ext>
                </a:extLst>
              </a:tr>
              <a:tr h="774311">
                <a:tc>
                  <a:txBody>
                    <a:bodyPr/>
                    <a:lstStyle/>
                    <a:p>
                      <a:pPr marL="0" marR="0" lvl="0" indent="0" algn="l">
                        <a:lnSpc>
                          <a:spcPct val="100000"/>
                        </a:lnSpc>
                        <a:spcBef>
                          <a:spcPts val="0"/>
                        </a:spcBef>
                        <a:spcAft>
                          <a:spcPts val="0"/>
                        </a:spcAft>
                        <a:buNone/>
                      </a:pPr>
                      <a:endParaRPr lang="en-US" sz="400" b="0" i="0" u="none" strike="noStrike" noProof="0">
                        <a:solidFill>
                          <a:schemeClr val="tx1"/>
                        </a:solidFill>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4086261336"/>
                  </a:ext>
                </a:extLst>
              </a:tr>
              <a:tr h="774311">
                <a:tc>
                  <a:txBody>
                    <a:bodyPr/>
                    <a:lstStyle/>
                    <a:p>
                      <a:endParaRPr lang="en-US" sz="4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lvl="0">
                        <a:buNone/>
                      </a:pPr>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1831517425"/>
                  </a:ext>
                </a:extLst>
              </a:tr>
              <a:tr h="774311">
                <a:tc>
                  <a:txBody>
                    <a:bodyPr/>
                    <a:lstStyle/>
                    <a:p>
                      <a:endParaRPr lang="en-US" sz="4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lvl="0">
                        <a:buNone/>
                      </a:pPr>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1766039612"/>
                  </a:ext>
                </a:extLst>
              </a:tr>
              <a:tr h="774311">
                <a:tc>
                  <a:txBody>
                    <a:bodyPr/>
                    <a:lstStyle/>
                    <a:p>
                      <a:endParaRPr lang="en-US" sz="4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lvl="0">
                        <a:buNone/>
                      </a:pPr>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4056353632"/>
                  </a:ext>
                </a:extLst>
              </a:tr>
              <a:tr h="774311">
                <a:tc>
                  <a:txBody>
                    <a:bodyPr/>
                    <a:lstStyle/>
                    <a:p>
                      <a:endParaRPr lang="en-US" sz="4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lvl="0">
                        <a:buNone/>
                      </a:pPr>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2570046427"/>
                  </a:ext>
                </a:extLst>
              </a:tr>
              <a:tr h="774311">
                <a:tc>
                  <a:txBody>
                    <a:bodyPr/>
                    <a:lstStyle/>
                    <a:p>
                      <a:endParaRPr lang="en-US" sz="4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215087133"/>
                  </a:ext>
                </a:extLst>
              </a:tr>
              <a:tr h="774311">
                <a:tc>
                  <a:txBody>
                    <a:bodyPr/>
                    <a:lstStyle/>
                    <a:p>
                      <a:endParaRPr lang="en-US" sz="4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lvl="0">
                        <a:buNone/>
                      </a:pPr>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3308486038"/>
                  </a:ext>
                </a:extLst>
              </a:tr>
              <a:tr h="774311">
                <a:tc>
                  <a:txBody>
                    <a:bodyPr/>
                    <a:lstStyle/>
                    <a:p>
                      <a:endParaRPr lang="en-US" sz="4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noFill/>
                  </a:tcPr>
                </a:tc>
                <a:extLst>
                  <a:ext uri="{0D108BD9-81ED-4DB2-BD59-A6C34878D82A}">
                    <a16:rowId xmlns:a16="http://schemas.microsoft.com/office/drawing/2014/main" val="2451695256"/>
                  </a:ext>
                </a:extLst>
              </a:tr>
            </a:tbl>
          </a:graphicData>
        </a:graphic>
      </p:graphicFrame>
      <p:pic>
        <p:nvPicPr>
          <p:cNvPr id="8" name="Google Shape;373;p62">
            <a:extLst>
              <a:ext uri="{FF2B5EF4-FFF2-40B4-BE49-F238E27FC236}">
                <a16:creationId xmlns:a16="http://schemas.microsoft.com/office/drawing/2014/main" id="{6BEC044E-2C15-47FB-BA5E-06089E7DB7CC}"/>
              </a:ext>
            </a:extLst>
          </p:cNvPr>
          <p:cNvPicPr preferRelativeResize="0"/>
          <p:nvPr userDrawn="1"/>
        </p:nvPicPr>
        <p:blipFill rotWithShape="1">
          <a:blip r:embed="rId2" cstate="screen">
            <a:alphaModFix/>
            <a:extLst>
              <a:ext uri="{28A0092B-C50C-407E-A947-70E740481C1C}">
                <a14:useLocalDpi xmlns:a14="http://schemas.microsoft.com/office/drawing/2010/main"/>
              </a:ext>
            </a:extLst>
          </a:blip>
          <a:srcRect/>
          <a:stretch/>
        </p:blipFill>
        <p:spPr>
          <a:xfrm>
            <a:off x="257571" y="127148"/>
            <a:ext cx="936671" cy="358100"/>
          </a:xfrm>
          <a:prstGeom prst="rect">
            <a:avLst/>
          </a:prstGeom>
          <a:noFill/>
          <a:ln>
            <a:noFill/>
          </a:ln>
        </p:spPr>
      </p:pic>
      <p:sp>
        <p:nvSpPr>
          <p:cNvPr id="3" name="正方形/長方形 2">
            <a:extLst>
              <a:ext uri="{FF2B5EF4-FFF2-40B4-BE49-F238E27FC236}">
                <a16:creationId xmlns:a16="http://schemas.microsoft.com/office/drawing/2014/main" id="{45264F4E-A355-379A-647F-347A6B8CAD94}"/>
              </a:ext>
            </a:extLst>
          </p:cNvPr>
          <p:cNvSpPr/>
          <p:nvPr userDrawn="1"/>
        </p:nvSpPr>
        <p:spPr>
          <a:xfrm>
            <a:off x="1386950" y="447945"/>
            <a:ext cx="1790033" cy="107950"/>
          </a:xfrm>
          <a:prstGeom prst="rect">
            <a:avLst/>
          </a:prstGeom>
          <a:no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b="0">
                <a:solidFill>
                  <a:schemeClr val="tx1"/>
                </a:solidFill>
                <a:latin typeface="Calibri" panose="020F0502020204030204" pitchFamily="34" charset="0"/>
                <a:cs typeface="Calibri" panose="020F0502020204030204" pitchFamily="34" charset="0"/>
              </a:rPr>
              <a:t>DEC</a:t>
            </a:r>
            <a:endParaRPr kumimoji="1" lang="ja-JP" altLang="en-US" sz="800" b="0">
              <a:solidFill>
                <a:schemeClr val="tx1"/>
              </a:solidFill>
              <a:latin typeface="Calibri" panose="020F0502020204030204" pitchFamily="34" charset="0"/>
              <a:cs typeface="Calibri" panose="020F0502020204030204" pitchFamily="34" charset="0"/>
            </a:endParaRPr>
          </a:p>
        </p:txBody>
      </p:sp>
      <p:sp>
        <p:nvSpPr>
          <p:cNvPr id="19" name="正方形/長方形 18">
            <a:extLst>
              <a:ext uri="{FF2B5EF4-FFF2-40B4-BE49-F238E27FC236}">
                <a16:creationId xmlns:a16="http://schemas.microsoft.com/office/drawing/2014/main" id="{6F9F7720-B19C-4B83-4819-4AEC7AC2CCFA}"/>
              </a:ext>
            </a:extLst>
          </p:cNvPr>
          <p:cNvSpPr/>
          <p:nvPr userDrawn="1"/>
        </p:nvSpPr>
        <p:spPr>
          <a:xfrm>
            <a:off x="3171158" y="447947"/>
            <a:ext cx="1790033" cy="107950"/>
          </a:xfrm>
          <a:prstGeom prst="rect">
            <a:avLst/>
          </a:prstGeom>
          <a:no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b="0">
                <a:solidFill>
                  <a:schemeClr val="tx1"/>
                </a:solidFill>
                <a:latin typeface="Calibri" panose="020F0502020204030204" pitchFamily="34" charset="0"/>
                <a:cs typeface="Calibri" panose="020F0502020204030204" pitchFamily="34" charset="0"/>
              </a:rPr>
              <a:t>JAN</a:t>
            </a:r>
            <a:endParaRPr kumimoji="1" lang="ja-JP" altLang="en-US" sz="800" b="0">
              <a:solidFill>
                <a:schemeClr val="tx1"/>
              </a:solidFill>
              <a:latin typeface="Calibri" panose="020F0502020204030204" pitchFamily="34" charset="0"/>
              <a:cs typeface="Calibri" panose="020F0502020204030204" pitchFamily="34" charset="0"/>
            </a:endParaRPr>
          </a:p>
        </p:txBody>
      </p:sp>
      <p:sp>
        <p:nvSpPr>
          <p:cNvPr id="20" name="正方形/長方形 19">
            <a:extLst>
              <a:ext uri="{FF2B5EF4-FFF2-40B4-BE49-F238E27FC236}">
                <a16:creationId xmlns:a16="http://schemas.microsoft.com/office/drawing/2014/main" id="{D150571D-8B17-C6E8-093F-CFBF961F300D}"/>
              </a:ext>
            </a:extLst>
          </p:cNvPr>
          <p:cNvSpPr/>
          <p:nvPr userDrawn="1"/>
        </p:nvSpPr>
        <p:spPr>
          <a:xfrm>
            <a:off x="4961188" y="447946"/>
            <a:ext cx="1790033" cy="107950"/>
          </a:xfrm>
          <a:prstGeom prst="rect">
            <a:avLst/>
          </a:prstGeom>
          <a:no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b="0">
                <a:solidFill>
                  <a:schemeClr val="tx1"/>
                </a:solidFill>
                <a:latin typeface="Calibri" panose="020F0502020204030204" pitchFamily="34" charset="0"/>
                <a:cs typeface="Calibri" panose="020F0502020204030204" pitchFamily="34" charset="0"/>
              </a:rPr>
              <a:t>FEB</a:t>
            </a:r>
            <a:endParaRPr kumimoji="1" lang="ja-JP" altLang="en-US" sz="800" b="0">
              <a:solidFill>
                <a:schemeClr val="tx1"/>
              </a:solidFill>
              <a:latin typeface="Calibri" panose="020F0502020204030204" pitchFamily="34" charset="0"/>
              <a:cs typeface="Calibri" panose="020F0502020204030204" pitchFamily="34" charset="0"/>
            </a:endParaRPr>
          </a:p>
        </p:txBody>
      </p:sp>
      <p:sp>
        <p:nvSpPr>
          <p:cNvPr id="21" name="正方形/長方形 20">
            <a:extLst>
              <a:ext uri="{FF2B5EF4-FFF2-40B4-BE49-F238E27FC236}">
                <a16:creationId xmlns:a16="http://schemas.microsoft.com/office/drawing/2014/main" id="{8CE35FD1-C0D1-A6E5-A69E-66A86EAB084F}"/>
              </a:ext>
            </a:extLst>
          </p:cNvPr>
          <p:cNvSpPr/>
          <p:nvPr userDrawn="1"/>
        </p:nvSpPr>
        <p:spPr>
          <a:xfrm>
            <a:off x="6751222" y="447946"/>
            <a:ext cx="1790033" cy="107950"/>
          </a:xfrm>
          <a:prstGeom prst="rect">
            <a:avLst/>
          </a:prstGeom>
          <a:no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b="0">
                <a:solidFill>
                  <a:schemeClr val="tx1"/>
                </a:solidFill>
                <a:latin typeface="Calibri" panose="020F0502020204030204" pitchFamily="34" charset="0"/>
                <a:cs typeface="Calibri" panose="020F0502020204030204" pitchFamily="34" charset="0"/>
              </a:rPr>
              <a:t>MAR</a:t>
            </a:r>
            <a:endParaRPr kumimoji="1" lang="ja-JP" altLang="en-US" sz="800" b="0">
              <a:solidFill>
                <a:schemeClr val="tx1"/>
              </a:solidFill>
              <a:latin typeface="Calibri" panose="020F0502020204030204" pitchFamily="34" charset="0"/>
              <a:cs typeface="Calibri" panose="020F0502020204030204" pitchFamily="34" charset="0"/>
            </a:endParaRPr>
          </a:p>
        </p:txBody>
      </p:sp>
      <p:sp>
        <p:nvSpPr>
          <p:cNvPr id="22" name="正方形/長方形 21">
            <a:extLst>
              <a:ext uri="{FF2B5EF4-FFF2-40B4-BE49-F238E27FC236}">
                <a16:creationId xmlns:a16="http://schemas.microsoft.com/office/drawing/2014/main" id="{CB8E22B0-DD2A-B10F-1C5B-CAE876B3FDB9}"/>
              </a:ext>
            </a:extLst>
          </p:cNvPr>
          <p:cNvSpPr/>
          <p:nvPr userDrawn="1"/>
        </p:nvSpPr>
        <p:spPr>
          <a:xfrm>
            <a:off x="8541253" y="447945"/>
            <a:ext cx="1790033" cy="107950"/>
          </a:xfrm>
          <a:prstGeom prst="rect">
            <a:avLst/>
          </a:prstGeom>
          <a:no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b="0">
                <a:solidFill>
                  <a:schemeClr val="tx1"/>
                </a:solidFill>
                <a:latin typeface="Calibri" panose="020F0502020204030204" pitchFamily="34" charset="0"/>
                <a:cs typeface="Calibri" panose="020F0502020204030204" pitchFamily="34" charset="0"/>
              </a:rPr>
              <a:t>APR</a:t>
            </a:r>
            <a:endParaRPr kumimoji="1" lang="ja-JP" altLang="en-US" sz="800" b="0">
              <a:solidFill>
                <a:schemeClr val="tx1"/>
              </a:solidFill>
              <a:latin typeface="Calibri" panose="020F0502020204030204" pitchFamily="34" charset="0"/>
              <a:cs typeface="Calibri" panose="020F0502020204030204" pitchFamily="34" charset="0"/>
            </a:endParaRPr>
          </a:p>
        </p:txBody>
      </p:sp>
      <p:sp>
        <p:nvSpPr>
          <p:cNvPr id="23" name="正方形/長方形 22">
            <a:extLst>
              <a:ext uri="{FF2B5EF4-FFF2-40B4-BE49-F238E27FC236}">
                <a16:creationId xmlns:a16="http://schemas.microsoft.com/office/drawing/2014/main" id="{D395FACF-A7ED-1B95-2BC3-5AE3F606AA4C}"/>
              </a:ext>
            </a:extLst>
          </p:cNvPr>
          <p:cNvSpPr/>
          <p:nvPr userDrawn="1"/>
        </p:nvSpPr>
        <p:spPr>
          <a:xfrm>
            <a:off x="10331284" y="447945"/>
            <a:ext cx="1790033" cy="107950"/>
          </a:xfrm>
          <a:prstGeom prst="rect">
            <a:avLst/>
          </a:prstGeom>
          <a:no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b="0">
                <a:solidFill>
                  <a:schemeClr val="tx1"/>
                </a:solidFill>
                <a:latin typeface="Calibri" panose="020F0502020204030204" pitchFamily="34" charset="0"/>
                <a:cs typeface="Calibri" panose="020F0502020204030204" pitchFamily="34" charset="0"/>
              </a:rPr>
              <a:t>MAY</a:t>
            </a:r>
            <a:endParaRPr kumimoji="1" lang="ja-JP" altLang="en-US" sz="800" b="0">
              <a:solidFill>
                <a:schemeClr val="tx1"/>
              </a:solidFill>
              <a:latin typeface="Calibri" panose="020F0502020204030204" pitchFamily="34" charset="0"/>
              <a:cs typeface="Calibri" panose="020F0502020204030204" pitchFamily="34" charset="0"/>
            </a:endParaRPr>
          </a:p>
        </p:txBody>
      </p:sp>
      <p:sp>
        <p:nvSpPr>
          <p:cNvPr id="25" name="正方形/長方形 24">
            <a:extLst>
              <a:ext uri="{FF2B5EF4-FFF2-40B4-BE49-F238E27FC236}">
                <a16:creationId xmlns:a16="http://schemas.microsoft.com/office/drawing/2014/main" id="{6ADDC43A-CBD3-DA9D-8657-23022BD354F5}"/>
              </a:ext>
            </a:extLst>
          </p:cNvPr>
          <p:cNvSpPr/>
          <p:nvPr userDrawn="1"/>
        </p:nvSpPr>
        <p:spPr>
          <a:xfrm>
            <a:off x="1371266" y="-1247777"/>
            <a:ext cx="5370094" cy="107950"/>
          </a:xfrm>
          <a:prstGeom prst="rect">
            <a:avLst/>
          </a:prstGeom>
          <a:solidFill>
            <a:schemeClr val="tx1">
              <a:lumMod val="75000"/>
              <a:lumOff val="25000"/>
            </a:schemeClr>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latin typeface="Calibri" panose="020F0502020204030204" pitchFamily="34" charset="0"/>
                <a:cs typeface="Calibri" panose="020F0502020204030204" pitchFamily="34" charset="0"/>
              </a:rPr>
              <a:t>Q1</a:t>
            </a:r>
            <a:endParaRPr kumimoji="1" lang="ja-JP" altLang="en-US" sz="800">
              <a:latin typeface="Calibri" panose="020F0502020204030204" pitchFamily="34" charset="0"/>
              <a:cs typeface="Calibri" panose="020F0502020204030204" pitchFamily="34" charset="0"/>
            </a:endParaRPr>
          </a:p>
        </p:txBody>
      </p:sp>
      <p:sp>
        <p:nvSpPr>
          <p:cNvPr id="26" name="正方形/長方形 25">
            <a:extLst>
              <a:ext uri="{FF2B5EF4-FFF2-40B4-BE49-F238E27FC236}">
                <a16:creationId xmlns:a16="http://schemas.microsoft.com/office/drawing/2014/main" id="{1C7F5035-418B-57C4-119F-D46A93164113}"/>
              </a:ext>
            </a:extLst>
          </p:cNvPr>
          <p:cNvSpPr/>
          <p:nvPr userDrawn="1"/>
        </p:nvSpPr>
        <p:spPr>
          <a:xfrm>
            <a:off x="6751221" y="329348"/>
            <a:ext cx="5370094" cy="107950"/>
          </a:xfrm>
          <a:prstGeom prst="rect">
            <a:avLst/>
          </a:prstGeom>
          <a:no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latin typeface="Calibri" panose="020F0502020204030204" pitchFamily="34" charset="0"/>
                <a:cs typeface="Calibri" panose="020F0502020204030204" pitchFamily="34" charset="0"/>
              </a:rPr>
              <a:t>Q2</a:t>
            </a:r>
            <a:endParaRPr kumimoji="1" lang="ja-JP" altLang="en-US" sz="800">
              <a:latin typeface="Calibri" panose="020F0502020204030204" pitchFamily="34" charset="0"/>
              <a:cs typeface="Calibri" panose="020F0502020204030204" pitchFamily="34" charset="0"/>
            </a:endParaRPr>
          </a:p>
        </p:txBody>
      </p:sp>
      <p:sp>
        <p:nvSpPr>
          <p:cNvPr id="2" name="Slide Number Placeholder 5">
            <a:extLst>
              <a:ext uri="{FF2B5EF4-FFF2-40B4-BE49-F238E27FC236}">
                <a16:creationId xmlns:a16="http://schemas.microsoft.com/office/drawing/2014/main" id="{3CE71D64-C1FF-8C5F-DE4F-60F8D1A12BE7}"/>
              </a:ext>
            </a:extLst>
          </p:cNvPr>
          <p:cNvSpPr>
            <a:spLocks noGrp="1"/>
          </p:cNvSpPr>
          <p:nvPr>
            <p:ph type="sldNum" sz="quarter" idx="4"/>
          </p:nvPr>
        </p:nvSpPr>
        <p:spPr>
          <a:xfrm>
            <a:off x="9351764" y="101080"/>
            <a:ext cx="2743200" cy="228268"/>
          </a:xfrm>
          <a:prstGeom prst="rect">
            <a:avLst/>
          </a:prstGeom>
        </p:spPr>
        <p:txBody>
          <a:bodyPr vert="horz" lIns="0" tIns="0" rIns="0" bIns="0" rtlCol="0" anchor="b" anchorCtr="0"/>
          <a:lstStyle>
            <a:lvl1pPr algn="r">
              <a:defRPr sz="800">
                <a:solidFill>
                  <a:schemeClr val="tx1"/>
                </a:solidFill>
                <a:latin typeface="Aptos" panose="020B0004020202020204" pitchFamily="34" charset="0"/>
                <a:cs typeface="Calibri" panose="020F0502020204030204" pitchFamily="34" charset="0"/>
              </a:defRPr>
            </a:lvl1pPr>
          </a:lstStyle>
          <a:p>
            <a:fld id="{51AF2DE1-86B9-1246-84AA-50442F04AF74}" type="slidenum">
              <a:rPr kumimoji="1" lang="ja-JP" altLang="en-US" smtClean="0"/>
              <a:pPr/>
              <a:t>‹#›</a:t>
            </a:fld>
            <a:endParaRPr kumimoji="1" lang="ja-JP" altLang="en-US"/>
          </a:p>
        </p:txBody>
      </p:sp>
      <p:sp>
        <p:nvSpPr>
          <p:cNvPr id="4" name="Title 1">
            <a:extLst>
              <a:ext uri="{FF2B5EF4-FFF2-40B4-BE49-F238E27FC236}">
                <a16:creationId xmlns:a16="http://schemas.microsoft.com/office/drawing/2014/main" id="{7B357C7E-3E9B-1425-E28D-27BD98E95811}"/>
              </a:ext>
            </a:extLst>
          </p:cNvPr>
          <p:cNvSpPr>
            <a:spLocks noGrp="1"/>
          </p:cNvSpPr>
          <p:nvPr>
            <p:ph type="title" hasCustomPrompt="1"/>
          </p:nvPr>
        </p:nvSpPr>
        <p:spPr>
          <a:xfrm>
            <a:off x="1444724" y="112825"/>
            <a:ext cx="7106957" cy="218643"/>
          </a:xfrm>
          <a:prstGeom prst="rect">
            <a:avLst/>
          </a:prstGeom>
        </p:spPr>
        <p:txBody>
          <a:bodyPr anchor="ctr"/>
          <a:lstStyle>
            <a:lvl1pPr algn="l">
              <a:lnSpc>
                <a:spcPct val="85000"/>
              </a:lnSpc>
              <a:defRPr sz="1400" cap="all" spc="0" baseline="0">
                <a:solidFill>
                  <a:schemeClr val="tx1"/>
                </a:solidFill>
              </a:defRPr>
            </a:lvl1pPr>
          </a:lstStyle>
          <a:p>
            <a:r>
              <a:rPr lang="en-US"/>
              <a:t>ITEM NAME</a:t>
            </a:r>
          </a:p>
        </p:txBody>
      </p:sp>
      <p:sp>
        <p:nvSpPr>
          <p:cNvPr id="6" name="正方形/長方形 5">
            <a:extLst>
              <a:ext uri="{FF2B5EF4-FFF2-40B4-BE49-F238E27FC236}">
                <a16:creationId xmlns:a16="http://schemas.microsoft.com/office/drawing/2014/main" id="{C9325418-1C45-6A5C-5ECA-F14B9DBB9892}"/>
              </a:ext>
            </a:extLst>
          </p:cNvPr>
          <p:cNvSpPr/>
          <p:nvPr userDrawn="1"/>
        </p:nvSpPr>
        <p:spPr>
          <a:xfrm>
            <a:off x="1381127" y="329348"/>
            <a:ext cx="5370094" cy="107950"/>
          </a:xfrm>
          <a:prstGeom prst="rect">
            <a:avLst/>
          </a:prstGeom>
          <a:no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latin typeface="Calibri" panose="020F0502020204030204" pitchFamily="34" charset="0"/>
                <a:cs typeface="Calibri" panose="020F0502020204030204" pitchFamily="34" charset="0"/>
              </a:rPr>
              <a:t>Q1</a:t>
            </a:r>
            <a:endParaRPr kumimoji="1" lang="ja-JP" altLang="en-US" sz="80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789551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5_Section Header w/ picture – yell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913A7-1BD1-134A-BB0E-3D76124E4C6C}"/>
              </a:ext>
            </a:extLst>
          </p:cNvPr>
          <p:cNvSpPr>
            <a:spLocks noGrp="1"/>
          </p:cNvSpPr>
          <p:nvPr>
            <p:ph type="title"/>
          </p:nvPr>
        </p:nvSpPr>
        <p:spPr>
          <a:xfrm>
            <a:off x="1991596" y="3923983"/>
            <a:ext cx="5921675" cy="2852737"/>
          </a:xfrm>
        </p:spPr>
        <p:txBody>
          <a:bodyPr vert="horz" lIns="91440" tIns="45720" rIns="0" bIns="45720" numCol="1" rtlCol="0" anchor="t">
            <a:noAutofit/>
          </a:bodyPr>
          <a:lstStyle>
            <a:lvl1pPr>
              <a:lnSpc>
                <a:spcPct val="100000"/>
              </a:lnSpc>
              <a:defRPr lang="en-GB" altLang="en-GB" sz="3600" b="0" i="0" dirty="0">
                <a:solidFill>
                  <a:srgbClr val="000000"/>
                </a:solidFill>
                <a:latin typeface="ASICS Font 3.0" pitchFamily="2" charset="77"/>
              </a:defRPr>
            </a:lvl1pPr>
          </a:lstStyle>
          <a:p>
            <a:pPr lvl="0"/>
            <a:r>
              <a:rPr lang="en-US" altLang="en-GB"/>
              <a:t>Click to edit Master title style</a:t>
            </a:r>
            <a:endParaRPr lang="en-GB" altLang="en-GB"/>
          </a:p>
        </p:txBody>
      </p:sp>
      <p:sp>
        <p:nvSpPr>
          <p:cNvPr id="3" name="Text Placeholder 2">
            <a:extLst>
              <a:ext uri="{FF2B5EF4-FFF2-40B4-BE49-F238E27FC236}">
                <a16:creationId xmlns:a16="http://schemas.microsoft.com/office/drawing/2014/main" id="{A70D6666-4C91-7B41-9288-855571FA41D4}"/>
              </a:ext>
            </a:extLst>
          </p:cNvPr>
          <p:cNvSpPr>
            <a:spLocks noGrp="1"/>
          </p:cNvSpPr>
          <p:nvPr>
            <p:ph type="body" idx="1"/>
          </p:nvPr>
        </p:nvSpPr>
        <p:spPr>
          <a:xfrm>
            <a:off x="1991596" y="5210175"/>
            <a:ext cx="8912417" cy="1500187"/>
          </a:xfrm>
        </p:spPr>
        <p:txBody>
          <a:bodyPr vert="horz" lIns="91440" tIns="45720" rIns="91440" bIns="45720" numCol="1" rtlCol="0">
            <a:normAutofit/>
          </a:bodyPr>
          <a:lstStyle>
            <a:lvl1pPr>
              <a:lnSpc>
                <a:spcPct val="100000"/>
              </a:lnSpc>
              <a:defRPr lang="en-GB" altLang="en-GB" sz="1600" b="0" i="0" dirty="0" smtClean="0">
                <a:solidFill>
                  <a:srgbClr val="000000"/>
                </a:solidFill>
                <a:latin typeface="ASICS Font 3.0" pitchFamily="2" charset="77"/>
              </a:defRPr>
            </a:lvl1pPr>
          </a:lstStyle>
          <a:p>
            <a:pPr lvl="0" algn="l"/>
            <a:r>
              <a:rPr lang="en-US" altLang="en-GB"/>
              <a:t>Click to edit Master text styles</a:t>
            </a:r>
          </a:p>
        </p:txBody>
      </p:sp>
      <p:sp>
        <p:nvSpPr>
          <p:cNvPr id="16" name="Picture Placeholder 15">
            <a:extLst>
              <a:ext uri="{FF2B5EF4-FFF2-40B4-BE49-F238E27FC236}">
                <a16:creationId xmlns:a16="http://schemas.microsoft.com/office/drawing/2014/main" id="{09033A48-9243-024A-B9DA-34231B0015EF}"/>
              </a:ext>
            </a:extLst>
          </p:cNvPr>
          <p:cNvSpPr>
            <a:spLocks noGrp="1"/>
          </p:cNvSpPr>
          <p:nvPr>
            <p:ph type="pic" sz="quarter" idx="10"/>
          </p:nvPr>
        </p:nvSpPr>
        <p:spPr>
          <a:xfrm>
            <a:off x="0" y="0"/>
            <a:ext cx="12192000" cy="3633788"/>
          </a:xfrm>
        </p:spPr>
        <p:txBody>
          <a:bodyPr numCol="1"/>
          <a:lstStyle>
            <a:lvl1pPr>
              <a:defRPr b="0" i="0">
                <a:solidFill>
                  <a:srgbClr val="000000"/>
                </a:solidFill>
                <a:latin typeface="ASICS Font 3.0" pitchFamily="2" charset="77"/>
              </a:defRPr>
            </a:lvl1pPr>
          </a:lstStyle>
          <a:p>
            <a:r>
              <a:rPr lang="en-US" altLang="en-GB"/>
              <a:t>Click icon to add picture</a:t>
            </a:r>
            <a:endParaRPr lang="en-GB" altLang="en-GB"/>
          </a:p>
        </p:txBody>
      </p:sp>
      <p:pic>
        <p:nvPicPr>
          <p:cNvPr id="9" name="Picture 8">
            <a:extLst>
              <a:ext uri="{FF2B5EF4-FFF2-40B4-BE49-F238E27FC236}">
                <a16:creationId xmlns:a16="http://schemas.microsoft.com/office/drawing/2014/main" id="{7244BE98-2662-5146-A6B9-2EA200C86F36}"/>
              </a:ext>
            </a:extLst>
          </p:cNvPr>
          <p:cNvPicPr>
            <a:picLocks noChangeAspect="1"/>
          </p:cNvPicPr>
          <p:nvPr/>
        </p:nvPicPr>
        <p:blipFill>
          <a:blip r:embed="rId2"/>
          <a:stretch>
            <a:fillRect/>
          </a:stretch>
        </p:blipFill>
        <p:spPr>
          <a:xfrm>
            <a:off x="1115932" y="3976974"/>
            <a:ext cx="496769" cy="3332612"/>
          </a:xfrm>
          <a:prstGeom prst="rect">
            <a:avLst/>
          </a:prstGeom>
        </p:spPr>
      </p:pic>
      <p:cxnSp>
        <p:nvCxnSpPr>
          <p:cNvPr id="10" name="Straight Connector 9">
            <a:extLst>
              <a:ext uri="{FF2B5EF4-FFF2-40B4-BE49-F238E27FC236}">
                <a16:creationId xmlns:a16="http://schemas.microsoft.com/office/drawing/2014/main" id="{A3AEE1F1-0CC0-B24F-8F41-54C413F97760}"/>
              </a:ext>
            </a:extLst>
          </p:cNvPr>
          <p:cNvCxnSpPr>
            <a:cxnSpLocks/>
          </p:cNvCxnSpPr>
          <p:nvPr/>
        </p:nvCxnSpPr>
        <p:spPr>
          <a:xfrm>
            <a:off x="1762084" y="4005263"/>
            <a:ext cx="0" cy="1512668"/>
          </a:xfrm>
          <a:prstGeom prst="line">
            <a:avLst/>
          </a:prstGeom>
          <a:ln w="25400">
            <a:solidFill>
              <a:srgbClr val="1F256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9213402"/>
      </p:ext>
    </p:extLst>
  </p:cSld>
  <p:clrMapOvr>
    <a:masterClrMapping/>
  </p:clrMapOvr>
  <p:extLst>
    <p:ext uri="{DCECCB84-F9BA-43D5-87BE-67443E8EF086}">
      <p15:sldGuideLst xmlns:p15="http://schemas.microsoft.com/office/powerpoint/2012/main">
        <p15:guide id="1" pos="91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Header w/ picture – yell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913A7-1BD1-134A-BB0E-3D76124E4C6C}"/>
              </a:ext>
            </a:extLst>
          </p:cNvPr>
          <p:cNvSpPr>
            <a:spLocks noGrp="1"/>
          </p:cNvSpPr>
          <p:nvPr>
            <p:ph type="title"/>
          </p:nvPr>
        </p:nvSpPr>
        <p:spPr>
          <a:xfrm>
            <a:off x="1991596" y="3923983"/>
            <a:ext cx="5921675" cy="2852737"/>
          </a:xfrm>
        </p:spPr>
        <p:txBody>
          <a:bodyPr vert="horz" lIns="91440" tIns="45720" rIns="0" bIns="45720" numCol="1" rtlCol="0" anchor="t">
            <a:noAutofit/>
          </a:bodyPr>
          <a:lstStyle>
            <a:lvl1pPr>
              <a:lnSpc>
                <a:spcPct val="100000"/>
              </a:lnSpc>
              <a:defRPr lang="en-GB" altLang="en-GB" sz="3600" b="0" i="0" dirty="0">
                <a:solidFill>
                  <a:srgbClr val="000000"/>
                </a:solidFill>
                <a:latin typeface="ASICS Font 3.0" pitchFamily="2" charset="77"/>
              </a:defRPr>
            </a:lvl1pPr>
          </a:lstStyle>
          <a:p>
            <a:pPr lvl="0"/>
            <a:r>
              <a:rPr lang="en-US" altLang="en-GB"/>
              <a:t>Click to edit Master title style</a:t>
            </a:r>
            <a:endParaRPr lang="en-GB" altLang="en-GB"/>
          </a:p>
        </p:txBody>
      </p:sp>
      <p:sp>
        <p:nvSpPr>
          <p:cNvPr id="3" name="Text Placeholder 2">
            <a:extLst>
              <a:ext uri="{FF2B5EF4-FFF2-40B4-BE49-F238E27FC236}">
                <a16:creationId xmlns:a16="http://schemas.microsoft.com/office/drawing/2014/main" id="{A70D6666-4C91-7B41-9288-855571FA41D4}"/>
              </a:ext>
            </a:extLst>
          </p:cNvPr>
          <p:cNvSpPr>
            <a:spLocks noGrp="1"/>
          </p:cNvSpPr>
          <p:nvPr>
            <p:ph type="body" idx="1"/>
          </p:nvPr>
        </p:nvSpPr>
        <p:spPr>
          <a:xfrm>
            <a:off x="1991596" y="5210175"/>
            <a:ext cx="8630775" cy="1500187"/>
          </a:xfrm>
        </p:spPr>
        <p:txBody>
          <a:bodyPr vert="horz" lIns="91440" tIns="45720" rIns="91440" bIns="45720" numCol="1" rtlCol="0">
            <a:normAutofit/>
          </a:bodyPr>
          <a:lstStyle>
            <a:lvl1pPr>
              <a:lnSpc>
                <a:spcPct val="100000"/>
              </a:lnSpc>
              <a:defRPr lang="en-GB" altLang="en-GB" sz="1600" b="0" i="0" dirty="0" smtClean="0">
                <a:solidFill>
                  <a:srgbClr val="000000"/>
                </a:solidFill>
                <a:latin typeface="ASICS Font 3.0" pitchFamily="2" charset="77"/>
              </a:defRPr>
            </a:lvl1pPr>
          </a:lstStyle>
          <a:p>
            <a:pPr lvl="0" algn="l"/>
            <a:r>
              <a:rPr lang="en-US" altLang="en-GB"/>
              <a:t>Click to edit Master text styles</a:t>
            </a:r>
          </a:p>
        </p:txBody>
      </p:sp>
      <p:sp>
        <p:nvSpPr>
          <p:cNvPr id="16" name="Picture Placeholder 15">
            <a:extLst>
              <a:ext uri="{FF2B5EF4-FFF2-40B4-BE49-F238E27FC236}">
                <a16:creationId xmlns:a16="http://schemas.microsoft.com/office/drawing/2014/main" id="{09033A48-9243-024A-B9DA-34231B0015EF}"/>
              </a:ext>
            </a:extLst>
          </p:cNvPr>
          <p:cNvSpPr>
            <a:spLocks noGrp="1"/>
          </p:cNvSpPr>
          <p:nvPr>
            <p:ph type="pic" sz="quarter" idx="10"/>
          </p:nvPr>
        </p:nvSpPr>
        <p:spPr>
          <a:xfrm>
            <a:off x="0" y="0"/>
            <a:ext cx="12192000" cy="3633788"/>
          </a:xfrm>
        </p:spPr>
        <p:txBody>
          <a:bodyPr numCol="1"/>
          <a:lstStyle>
            <a:lvl1pPr>
              <a:defRPr b="0" i="0">
                <a:solidFill>
                  <a:srgbClr val="000000"/>
                </a:solidFill>
                <a:latin typeface="ASICS Font 3.0" pitchFamily="2" charset="77"/>
              </a:defRPr>
            </a:lvl1pPr>
          </a:lstStyle>
          <a:p>
            <a:r>
              <a:rPr lang="en-US" altLang="en-GB"/>
              <a:t>Click icon to add picture</a:t>
            </a:r>
            <a:endParaRPr lang="en-GB" altLang="en-GB"/>
          </a:p>
        </p:txBody>
      </p:sp>
      <p:pic>
        <p:nvPicPr>
          <p:cNvPr id="9" name="Picture 8">
            <a:extLst>
              <a:ext uri="{FF2B5EF4-FFF2-40B4-BE49-F238E27FC236}">
                <a16:creationId xmlns:a16="http://schemas.microsoft.com/office/drawing/2014/main" id="{7244BE98-2662-5146-A6B9-2EA200C86F36}"/>
              </a:ext>
            </a:extLst>
          </p:cNvPr>
          <p:cNvPicPr>
            <a:picLocks noChangeAspect="1"/>
          </p:cNvPicPr>
          <p:nvPr/>
        </p:nvPicPr>
        <p:blipFill>
          <a:blip r:embed="rId2"/>
          <a:stretch>
            <a:fillRect/>
          </a:stretch>
        </p:blipFill>
        <p:spPr>
          <a:xfrm>
            <a:off x="1115932" y="3976974"/>
            <a:ext cx="496769" cy="3332612"/>
          </a:xfrm>
          <a:prstGeom prst="rect">
            <a:avLst/>
          </a:prstGeom>
        </p:spPr>
      </p:pic>
      <p:cxnSp>
        <p:nvCxnSpPr>
          <p:cNvPr id="10" name="Straight Connector 9">
            <a:extLst>
              <a:ext uri="{FF2B5EF4-FFF2-40B4-BE49-F238E27FC236}">
                <a16:creationId xmlns:a16="http://schemas.microsoft.com/office/drawing/2014/main" id="{A3AEE1F1-0CC0-B24F-8F41-54C413F97760}"/>
              </a:ext>
            </a:extLst>
          </p:cNvPr>
          <p:cNvCxnSpPr>
            <a:cxnSpLocks/>
          </p:cNvCxnSpPr>
          <p:nvPr/>
        </p:nvCxnSpPr>
        <p:spPr>
          <a:xfrm>
            <a:off x="1762084" y="4005263"/>
            <a:ext cx="0" cy="1512668"/>
          </a:xfrm>
          <a:prstGeom prst="line">
            <a:avLst/>
          </a:prstGeom>
          <a:ln w="25400">
            <a:solidFill>
              <a:srgbClr val="1F256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3034309"/>
      </p:ext>
    </p:extLst>
  </p:cSld>
  <p:clrMapOvr>
    <a:masterClrMapping/>
  </p:clrMapOvr>
  <p:extLst>
    <p:ext uri="{DCECCB84-F9BA-43D5-87BE-67443E8EF086}">
      <p15:sldGuideLst xmlns:p15="http://schemas.microsoft.com/office/powerpoint/2012/main">
        <p15:guide id="1" pos="91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_Section Header w/ picture – yell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913A7-1BD1-134A-BB0E-3D76124E4C6C}"/>
              </a:ext>
            </a:extLst>
          </p:cNvPr>
          <p:cNvSpPr>
            <a:spLocks noGrp="1"/>
          </p:cNvSpPr>
          <p:nvPr>
            <p:ph type="title"/>
          </p:nvPr>
        </p:nvSpPr>
        <p:spPr>
          <a:xfrm>
            <a:off x="1991596" y="3923983"/>
            <a:ext cx="5921675" cy="2852737"/>
          </a:xfrm>
        </p:spPr>
        <p:txBody>
          <a:bodyPr vert="horz" lIns="91440" tIns="45720" rIns="0" bIns="45720" numCol="1" rtlCol="0" anchor="t">
            <a:noAutofit/>
          </a:bodyPr>
          <a:lstStyle>
            <a:lvl1pPr>
              <a:lnSpc>
                <a:spcPct val="100000"/>
              </a:lnSpc>
              <a:defRPr lang="en-GB" altLang="en-GB" sz="3600" b="0" i="0" dirty="0">
                <a:solidFill>
                  <a:srgbClr val="000000"/>
                </a:solidFill>
                <a:latin typeface="ASICS Font 3.0" pitchFamily="2" charset="77"/>
              </a:defRPr>
            </a:lvl1pPr>
          </a:lstStyle>
          <a:p>
            <a:pPr lvl="0"/>
            <a:r>
              <a:rPr lang="en-US" altLang="en-GB"/>
              <a:t>Click to edit Master title style</a:t>
            </a:r>
            <a:endParaRPr lang="en-GB" altLang="en-GB"/>
          </a:p>
        </p:txBody>
      </p:sp>
      <p:sp>
        <p:nvSpPr>
          <p:cNvPr id="3" name="Text Placeholder 2">
            <a:extLst>
              <a:ext uri="{FF2B5EF4-FFF2-40B4-BE49-F238E27FC236}">
                <a16:creationId xmlns:a16="http://schemas.microsoft.com/office/drawing/2014/main" id="{A70D6666-4C91-7B41-9288-855571FA41D4}"/>
              </a:ext>
            </a:extLst>
          </p:cNvPr>
          <p:cNvSpPr>
            <a:spLocks noGrp="1"/>
          </p:cNvSpPr>
          <p:nvPr>
            <p:ph type="body" idx="1"/>
          </p:nvPr>
        </p:nvSpPr>
        <p:spPr>
          <a:xfrm>
            <a:off x="1991597" y="5210175"/>
            <a:ext cx="8641725" cy="1500187"/>
          </a:xfrm>
        </p:spPr>
        <p:txBody>
          <a:bodyPr vert="horz" lIns="91440" tIns="45720" rIns="91440" bIns="45720" numCol="1" rtlCol="0">
            <a:normAutofit/>
          </a:bodyPr>
          <a:lstStyle>
            <a:lvl1pPr>
              <a:lnSpc>
                <a:spcPct val="100000"/>
              </a:lnSpc>
              <a:defRPr lang="en-GB" altLang="en-GB" sz="1600" b="0" i="0" dirty="0" smtClean="0">
                <a:solidFill>
                  <a:srgbClr val="000000"/>
                </a:solidFill>
                <a:latin typeface="ASICS Font 3.0" pitchFamily="2" charset="77"/>
              </a:defRPr>
            </a:lvl1pPr>
          </a:lstStyle>
          <a:p>
            <a:pPr lvl="0" algn="l"/>
            <a:r>
              <a:rPr lang="en-US" altLang="en-GB"/>
              <a:t>Click to edit Master text styles</a:t>
            </a:r>
          </a:p>
        </p:txBody>
      </p:sp>
      <p:sp>
        <p:nvSpPr>
          <p:cNvPr id="16" name="Picture Placeholder 15">
            <a:extLst>
              <a:ext uri="{FF2B5EF4-FFF2-40B4-BE49-F238E27FC236}">
                <a16:creationId xmlns:a16="http://schemas.microsoft.com/office/drawing/2014/main" id="{09033A48-9243-024A-B9DA-34231B0015EF}"/>
              </a:ext>
            </a:extLst>
          </p:cNvPr>
          <p:cNvSpPr>
            <a:spLocks noGrp="1"/>
          </p:cNvSpPr>
          <p:nvPr>
            <p:ph type="pic" sz="quarter" idx="10"/>
          </p:nvPr>
        </p:nvSpPr>
        <p:spPr>
          <a:xfrm>
            <a:off x="0" y="-1070"/>
            <a:ext cx="12192000" cy="3633788"/>
          </a:xfrm>
        </p:spPr>
        <p:txBody>
          <a:bodyPr numCol="1"/>
          <a:lstStyle>
            <a:lvl1pPr>
              <a:defRPr b="0" i="0">
                <a:solidFill>
                  <a:srgbClr val="000000"/>
                </a:solidFill>
                <a:latin typeface="ASICS Font 3.0" pitchFamily="2" charset="77"/>
              </a:defRPr>
            </a:lvl1pPr>
          </a:lstStyle>
          <a:p>
            <a:r>
              <a:rPr lang="en-US" altLang="en-GB"/>
              <a:t>Click icon to add picture</a:t>
            </a:r>
            <a:endParaRPr lang="en-GB" altLang="en-GB"/>
          </a:p>
        </p:txBody>
      </p:sp>
      <p:pic>
        <p:nvPicPr>
          <p:cNvPr id="9" name="Picture 8">
            <a:extLst>
              <a:ext uri="{FF2B5EF4-FFF2-40B4-BE49-F238E27FC236}">
                <a16:creationId xmlns:a16="http://schemas.microsoft.com/office/drawing/2014/main" id="{7244BE98-2662-5146-A6B9-2EA200C86F36}"/>
              </a:ext>
            </a:extLst>
          </p:cNvPr>
          <p:cNvPicPr>
            <a:picLocks noChangeAspect="1"/>
          </p:cNvPicPr>
          <p:nvPr/>
        </p:nvPicPr>
        <p:blipFill>
          <a:blip r:embed="rId2"/>
          <a:stretch>
            <a:fillRect/>
          </a:stretch>
        </p:blipFill>
        <p:spPr>
          <a:xfrm>
            <a:off x="1115932" y="3976974"/>
            <a:ext cx="496769" cy="3332612"/>
          </a:xfrm>
          <a:prstGeom prst="rect">
            <a:avLst/>
          </a:prstGeom>
        </p:spPr>
      </p:pic>
      <p:cxnSp>
        <p:nvCxnSpPr>
          <p:cNvPr id="10" name="Straight Connector 9">
            <a:extLst>
              <a:ext uri="{FF2B5EF4-FFF2-40B4-BE49-F238E27FC236}">
                <a16:creationId xmlns:a16="http://schemas.microsoft.com/office/drawing/2014/main" id="{A3AEE1F1-0CC0-B24F-8F41-54C413F97760}"/>
              </a:ext>
            </a:extLst>
          </p:cNvPr>
          <p:cNvCxnSpPr>
            <a:cxnSpLocks/>
          </p:cNvCxnSpPr>
          <p:nvPr/>
        </p:nvCxnSpPr>
        <p:spPr>
          <a:xfrm>
            <a:off x="1762084" y="4005263"/>
            <a:ext cx="0" cy="1512668"/>
          </a:xfrm>
          <a:prstGeom prst="line">
            <a:avLst/>
          </a:prstGeom>
          <a:ln w="25400">
            <a:solidFill>
              <a:srgbClr val="1F256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9581321"/>
      </p:ext>
    </p:extLst>
  </p:cSld>
  <p:clrMapOvr>
    <a:masterClrMapping/>
  </p:clrMapOvr>
  <p:extLst>
    <p:ext uri="{DCECCB84-F9BA-43D5-87BE-67443E8EF086}">
      <p15:sldGuideLst xmlns:p15="http://schemas.microsoft.com/office/powerpoint/2012/main">
        <p15:guide id="1" pos="91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Plain Text Slide – blue">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08CC947-545E-B54A-8257-28D2939B6D8E}"/>
              </a:ext>
            </a:extLst>
          </p:cNvPr>
          <p:cNvSpPr>
            <a:spLocks noGrp="1"/>
          </p:cNvSpPr>
          <p:nvPr>
            <p:ph type="title"/>
          </p:nvPr>
        </p:nvSpPr>
        <p:spPr>
          <a:xfrm>
            <a:off x="766761" y="620713"/>
            <a:ext cx="10612051" cy="1296578"/>
          </a:xfrm>
        </p:spPr>
        <p:txBody>
          <a:bodyPr lIns="0" tIns="0" bIns="0" numCol="1" anchor="t">
            <a:normAutofit/>
          </a:bodyPr>
          <a:lstStyle>
            <a:lvl1pPr algn="l">
              <a:lnSpc>
                <a:spcPct val="100000"/>
              </a:lnSpc>
              <a:defRPr sz="3200" b="0" i="0">
                <a:solidFill>
                  <a:srgbClr val="000000"/>
                </a:solidFill>
                <a:latin typeface="ASICS Font 3.0" pitchFamily="2" charset="77"/>
              </a:defRPr>
            </a:lvl1pPr>
          </a:lstStyle>
          <a:p>
            <a:r>
              <a:rPr lang="en-US" altLang="en-GB"/>
              <a:t>Click to edit Master title style</a:t>
            </a:r>
            <a:endParaRPr lang="en-GB" altLang="en-GB"/>
          </a:p>
        </p:txBody>
      </p:sp>
      <p:sp>
        <p:nvSpPr>
          <p:cNvPr id="10" name="Content Placeholder 2">
            <a:extLst>
              <a:ext uri="{FF2B5EF4-FFF2-40B4-BE49-F238E27FC236}">
                <a16:creationId xmlns:a16="http://schemas.microsoft.com/office/drawing/2014/main" id="{C7EB6B74-E252-0748-95A7-47C8F5D9E92E}"/>
              </a:ext>
            </a:extLst>
          </p:cNvPr>
          <p:cNvSpPr>
            <a:spLocks noGrp="1"/>
          </p:cNvSpPr>
          <p:nvPr>
            <p:ph idx="1"/>
          </p:nvPr>
        </p:nvSpPr>
        <p:spPr>
          <a:xfrm>
            <a:off x="766764" y="2020472"/>
            <a:ext cx="10612048" cy="3666456"/>
          </a:xfrm>
        </p:spPr>
        <p:txBody>
          <a:bodyPr lIns="0" tIns="0" bIns="0" numCol="1" spcCol="360000"/>
          <a:lstStyle>
            <a:lvl1pPr>
              <a:lnSpc>
                <a:spcPct val="100000"/>
              </a:lnSpc>
              <a:defRPr sz="1400" b="0" i="0">
                <a:solidFill>
                  <a:srgbClr val="000000"/>
                </a:solidFill>
                <a:latin typeface="ASICS Font 3.0" pitchFamily="2" charset="77"/>
              </a:defRPr>
            </a:lvl1pPr>
          </a:lstStyle>
          <a:p>
            <a:pPr lvl="0"/>
            <a:r>
              <a:rPr lang="en-US" altLang="en-GB"/>
              <a:t>Click to edit Master text styles</a:t>
            </a:r>
          </a:p>
        </p:txBody>
      </p:sp>
      <p:sp>
        <p:nvSpPr>
          <p:cNvPr id="2" name="Slide Number Placeholder 1">
            <a:extLst>
              <a:ext uri="{FF2B5EF4-FFF2-40B4-BE49-F238E27FC236}">
                <a16:creationId xmlns:a16="http://schemas.microsoft.com/office/drawing/2014/main" id="{245A934F-F722-8641-B5AB-5363AC011527}"/>
              </a:ext>
            </a:extLst>
          </p:cNvPr>
          <p:cNvSpPr>
            <a:spLocks noGrp="1"/>
          </p:cNvSpPr>
          <p:nvPr>
            <p:ph type="sldNum" sz="quarter" idx="10"/>
          </p:nvPr>
        </p:nvSpPr>
        <p:spPr/>
        <p:txBody>
          <a:bodyPr/>
          <a:lstStyle>
            <a:lvl1pPr>
              <a:defRPr>
                <a:solidFill>
                  <a:srgbClr val="000000"/>
                </a:solidFill>
              </a:defRPr>
            </a:lvl1pPr>
          </a:lstStyle>
          <a:p>
            <a:fld id="{30CC6782-A7C1-AE43-BED6-519E5FEDBE2C}" type="slidenum">
              <a:rPr lang="en-US" smtClean="0"/>
              <a:pPr/>
              <a:t>‹#›</a:t>
            </a:fld>
            <a:endParaRPr lang="en-US"/>
          </a:p>
        </p:txBody>
      </p:sp>
    </p:spTree>
    <p:extLst>
      <p:ext uri="{BB962C8B-B14F-4D97-AF65-F5344CB8AC3E}">
        <p14:creationId xmlns:p14="http://schemas.microsoft.com/office/powerpoint/2010/main" val="2059534974"/>
      </p:ext>
    </p:extLst>
  </p:cSld>
  <p:clrMapOvr>
    <a:masterClrMapping/>
  </p:clrMapOvr>
  <p:extLst>
    <p:ext uri="{DCECCB84-F9BA-43D5-87BE-67443E8EF086}">
      <p15:sldGuideLst xmlns:p15="http://schemas.microsoft.com/office/powerpoint/2012/main">
        <p15:guide id="1" pos="735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lain Text Slide – green">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A7BB818-CFF7-9F47-9700-FA0307092373}"/>
              </a:ext>
            </a:extLst>
          </p:cNvPr>
          <p:cNvSpPr>
            <a:spLocks noGrp="1"/>
          </p:cNvSpPr>
          <p:nvPr>
            <p:ph idx="1"/>
          </p:nvPr>
        </p:nvSpPr>
        <p:spPr>
          <a:xfrm>
            <a:off x="766764" y="2020472"/>
            <a:ext cx="10612048" cy="3666456"/>
          </a:xfrm>
        </p:spPr>
        <p:txBody>
          <a:bodyPr lIns="0" tIns="0" bIns="0" numCol="1" spcCol="360000"/>
          <a:lstStyle>
            <a:lvl1pPr>
              <a:lnSpc>
                <a:spcPct val="100000"/>
              </a:lnSpc>
              <a:defRPr sz="1400" b="0" i="0">
                <a:solidFill>
                  <a:srgbClr val="000000"/>
                </a:solidFill>
                <a:latin typeface="ASICS Font 3.0" pitchFamily="2" charset="77"/>
              </a:defRPr>
            </a:lvl1pPr>
          </a:lstStyle>
          <a:p>
            <a:pPr lvl="0"/>
            <a:r>
              <a:rPr lang="en-US" altLang="en-GB"/>
              <a:t>Click to edit Master text styles</a:t>
            </a:r>
          </a:p>
        </p:txBody>
      </p:sp>
      <p:sp>
        <p:nvSpPr>
          <p:cNvPr id="8" name="Title 1">
            <a:extLst>
              <a:ext uri="{FF2B5EF4-FFF2-40B4-BE49-F238E27FC236}">
                <a16:creationId xmlns:a16="http://schemas.microsoft.com/office/drawing/2014/main" id="{ACC3A03B-7A97-4846-81BC-FFF8FA858B1F}"/>
              </a:ext>
            </a:extLst>
          </p:cNvPr>
          <p:cNvSpPr>
            <a:spLocks noGrp="1"/>
          </p:cNvSpPr>
          <p:nvPr>
            <p:ph type="title"/>
          </p:nvPr>
        </p:nvSpPr>
        <p:spPr>
          <a:xfrm>
            <a:off x="766761" y="620713"/>
            <a:ext cx="10612051" cy="1296578"/>
          </a:xfrm>
        </p:spPr>
        <p:txBody>
          <a:bodyPr lIns="0" tIns="0" bIns="0" numCol="1" anchor="t">
            <a:normAutofit/>
          </a:bodyPr>
          <a:lstStyle>
            <a:lvl1pPr algn="l">
              <a:lnSpc>
                <a:spcPct val="100000"/>
              </a:lnSpc>
              <a:defRPr sz="3200" b="0" i="0">
                <a:solidFill>
                  <a:srgbClr val="000000"/>
                </a:solidFill>
                <a:latin typeface="ASICS Font 3.0" pitchFamily="2" charset="77"/>
              </a:defRPr>
            </a:lvl1pPr>
          </a:lstStyle>
          <a:p>
            <a:r>
              <a:rPr lang="en-US" altLang="en-GB"/>
              <a:t>Click to edit Master title style</a:t>
            </a:r>
            <a:endParaRPr lang="en-GB" altLang="en-GB"/>
          </a:p>
        </p:txBody>
      </p:sp>
      <p:sp>
        <p:nvSpPr>
          <p:cNvPr id="2" name="Slide Number Placeholder 1">
            <a:extLst>
              <a:ext uri="{FF2B5EF4-FFF2-40B4-BE49-F238E27FC236}">
                <a16:creationId xmlns:a16="http://schemas.microsoft.com/office/drawing/2014/main" id="{D29B6950-02FB-C14C-B293-A3437357A404}"/>
              </a:ext>
            </a:extLst>
          </p:cNvPr>
          <p:cNvSpPr>
            <a:spLocks noGrp="1"/>
          </p:cNvSpPr>
          <p:nvPr>
            <p:ph type="sldNum" sz="quarter" idx="10"/>
          </p:nvPr>
        </p:nvSpPr>
        <p:spPr/>
        <p:txBody>
          <a:bodyPr/>
          <a:lstStyle>
            <a:lvl1pPr>
              <a:defRPr>
                <a:solidFill>
                  <a:srgbClr val="000000"/>
                </a:solidFill>
              </a:defRPr>
            </a:lvl1pPr>
          </a:lstStyle>
          <a:p>
            <a:fld id="{30CC6782-A7C1-AE43-BED6-519E5FEDBE2C}" type="slidenum">
              <a:rPr lang="en-US" smtClean="0"/>
              <a:pPr/>
              <a:t>‹#›</a:t>
            </a:fld>
            <a:endParaRPr lang="en-US"/>
          </a:p>
        </p:txBody>
      </p:sp>
    </p:spTree>
    <p:extLst>
      <p:ext uri="{BB962C8B-B14F-4D97-AF65-F5344CB8AC3E}">
        <p14:creationId xmlns:p14="http://schemas.microsoft.com/office/powerpoint/2010/main" val="417938946"/>
      </p:ext>
    </p:extLst>
  </p:cSld>
  <p:clrMapOvr>
    <a:masterClrMapping/>
  </p:clrMapOvr>
  <p:extLst>
    <p:ext uri="{DCECCB84-F9BA-43D5-87BE-67443E8EF086}">
      <p15:sldGuideLst xmlns:p15="http://schemas.microsoft.com/office/powerpoint/2012/main">
        <p15:guide id="1" pos="735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Plain Text Slide – blue">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7DB73483-96E4-934E-BFCC-40D38212675D}"/>
              </a:ext>
            </a:extLst>
          </p:cNvPr>
          <p:cNvSpPr>
            <a:spLocks noGrp="1"/>
          </p:cNvSpPr>
          <p:nvPr>
            <p:ph idx="1"/>
          </p:nvPr>
        </p:nvSpPr>
        <p:spPr>
          <a:xfrm>
            <a:off x="766764" y="2020472"/>
            <a:ext cx="10612048" cy="3666456"/>
          </a:xfrm>
        </p:spPr>
        <p:txBody>
          <a:bodyPr lIns="0" tIns="0" bIns="0" numCol="1" spcCol="360000"/>
          <a:lstStyle>
            <a:lvl1pPr>
              <a:lnSpc>
                <a:spcPct val="100000"/>
              </a:lnSpc>
              <a:defRPr sz="1400" b="0" i="0">
                <a:solidFill>
                  <a:srgbClr val="000000"/>
                </a:solidFill>
                <a:latin typeface="ASICS Font 3.0" pitchFamily="2" charset="77"/>
              </a:defRPr>
            </a:lvl1pPr>
          </a:lstStyle>
          <a:p>
            <a:pPr lvl="0"/>
            <a:r>
              <a:rPr lang="en-US" altLang="en-GB"/>
              <a:t>Click to edit Master text styles</a:t>
            </a:r>
          </a:p>
        </p:txBody>
      </p:sp>
      <p:sp>
        <p:nvSpPr>
          <p:cNvPr id="6" name="Title 1">
            <a:extLst>
              <a:ext uri="{FF2B5EF4-FFF2-40B4-BE49-F238E27FC236}">
                <a16:creationId xmlns:a16="http://schemas.microsoft.com/office/drawing/2014/main" id="{D8FDD490-B14C-644B-BFFF-B75DFEA6F2A9}"/>
              </a:ext>
            </a:extLst>
          </p:cNvPr>
          <p:cNvSpPr>
            <a:spLocks noGrp="1"/>
          </p:cNvSpPr>
          <p:nvPr>
            <p:ph type="title"/>
          </p:nvPr>
        </p:nvSpPr>
        <p:spPr>
          <a:xfrm>
            <a:off x="766761" y="620713"/>
            <a:ext cx="10612051" cy="1296578"/>
          </a:xfrm>
        </p:spPr>
        <p:txBody>
          <a:bodyPr lIns="0" tIns="0" bIns="0" numCol="1" anchor="t">
            <a:normAutofit/>
          </a:bodyPr>
          <a:lstStyle>
            <a:lvl1pPr algn="l">
              <a:lnSpc>
                <a:spcPct val="100000"/>
              </a:lnSpc>
              <a:defRPr sz="3200" b="0" i="0">
                <a:solidFill>
                  <a:srgbClr val="000000"/>
                </a:solidFill>
                <a:latin typeface="ASICS Font 3.0" pitchFamily="2" charset="77"/>
              </a:defRPr>
            </a:lvl1pPr>
          </a:lstStyle>
          <a:p>
            <a:r>
              <a:rPr lang="en-US" altLang="en-GB"/>
              <a:t>Click to edit Master title style</a:t>
            </a:r>
            <a:endParaRPr lang="en-GB" altLang="en-GB"/>
          </a:p>
        </p:txBody>
      </p:sp>
      <p:sp>
        <p:nvSpPr>
          <p:cNvPr id="2" name="Slide Number Placeholder 1">
            <a:extLst>
              <a:ext uri="{FF2B5EF4-FFF2-40B4-BE49-F238E27FC236}">
                <a16:creationId xmlns:a16="http://schemas.microsoft.com/office/drawing/2014/main" id="{6A9B3EEA-3753-4145-BE67-A5361B720490}"/>
              </a:ext>
            </a:extLst>
          </p:cNvPr>
          <p:cNvSpPr>
            <a:spLocks noGrp="1"/>
          </p:cNvSpPr>
          <p:nvPr>
            <p:ph type="sldNum" sz="quarter" idx="10"/>
          </p:nvPr>
        </p:nvSpPr>
        <p:spPr/>
        <p:txBody>
          <a:bodyPr/>
          <a:lstStyle>
            <a:lvl1pPr>
              <a:defRPr>
                <a:solidFill>
                  <a:srgbClr val="000000"/>
                </a:solidFill>
              </a:defRPr>
            </a:lvl1pPr>
          </a:lstStyle>
          <a:p>
            <a:fld id="{30CC6782-A7C1-AE43-BED6-519E5FEDBE2C}" type="slidenum">
              <a:rPr lang="en-US" smtClean="0"/>
              <a:pPr/>
              <a:t>‹#›</a:t>
            </a:fld>
            <a:endParaRPr lang="en-US"/>
          </a:p>
        </p:txBody>
      </p:sp>
    </p:spTree>
    <p:extLst>
      <p:ext uri="{BB962C8B-B14F-4D97-AF65-F5344CB8AC3E}">
        <p14:creationId xmlns:p14="http://schemas.microsoft.com/office/powerpoint/2010/main" val="4133223287"/>
      </p:ext>
    </p:extLst>
  </p:cSld>
  <p:clrMapOvr>
    <a:masterClrMapping/>
  </p:clrMapOvr>
  <p:extLst>
    <p:ext uri="{DCECCB84-F9BA-43D5-87BE-67443E8EF086}">
      <p15:sldGuideLst xmlns:p15="http://schemas.microsoft.com/office/powerpoint/2012/main">
        <p15:guide id="1" pos="7355">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タイトルとテキスト">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288B6EC4-1719-AF4F-9B4F-FB51C765D35D}"/>
              </a:ext>
            </a:extLst>
          </p:cNvPr>
          <p:cNvSpPr>
            <a:spLocks noGrp="1"/>
          </p:cNvSpPr>
          <p:nvPr>
            <p:ph type="title" hasCustomPrompt="1"/>
          </p:nvPr>
        </p:nvSpPr>
        <p:spPr>
          <a:xfrm>
            <a:off x="331678" y="324874"/>
            <a:ext cx="5764322" cy="1603931"/>
          </a:xfrm>
        </p:spPr>
        <p:txBody>
          <a:bodyPr anchor="t"/>
          <a:lstStyle>
            <a:lvl1pPr>
              <a:defRPr sz="3200" b="0" i="0" cap="none" baseline="0">
                <a:solidFill>
                  <a:srgbClr val="000000"/>
                </a:solidFill>
                <a:latin typeface="ASICS Font 3.0" pitchFamily="2" charset="77"/>
              </a:defRPr>
            </a:lvl1pPr>
          </a:lstStyle>
          <a:p>
            <a:r>
              <a:rPr lang="en-US"/>
              <a:t>Content title here</a:t>
            </a:r>
          </a:p>
        </p:txBody>
      </p:sp>
      <p:sp>
        <p:nvSpPr>
          <p:cNvPr id="6" name="Text Placeholder 12">
            <a:extLst>
              <a:ext uri="{FF2B5EF4-FFF2-40B4-BE49-F238E27FC236}">
                <a16:creationId xmlns:a16="http://schemas.microsoft.com/office/drawing/2014/main" id="{161E4BD9-3690-1143-B57E-7B178C7EE111}"/>
              </a:ext>
            </a:extLst>
          </p:cNvPr>
          <p:cNvSpPr>
            <a:spLocks noGrp="1"/>
          </p:cNvSpPr>
          <p:nvPr>
            <p:ph type="body" sz="quarter" idx="15" hasCustomPrompt="1"/>
          </p:nvPr>
        </p:nvSpPr>
        <p:spPr>
          <a:xfrm>
            <a:off x="331787" y="2142778"/>
            <a:ext cx="5764213" cy="4238972"/>
          </a:xfrm>
        </p:spPr>
        <p:txBody>
          <a:bodyPr>
            <a:noAutofit/>
          </a:bodyPr>
          <a:lstStyle>
            <a:lvl1pPr>
              <a:buNone/>
              <a:defRPr b="0" i="0">
                <a:solidFill>
                  <a:srgbClr val="000000"/>
                </a:solidFill>
                <a:latin typeface="ASICS Font 3.0" pitchFamily="2" charset="77"/>
              </a:defRPr>
            </a:lvl1pPr>
            <a:lvl2pPr>
              <a:buNone/>
              <a:defRPr/>
            </a:lvl2pPr>
            <a:lvl3pPr>
              <a:buNone/>
              <a:defRPr/>
            </a:lvl3pPr>
            <a:lvl4pPr>
              <a:buNone/>
              <a:defRPr/>
            </a:lvl4pPr>
            <a:lvl5pPr>
              <a:buNone/>
              <a:defRPr/>
            </a:lvl5pPr>
          </a:lstStyle>
          <a:p>
            <a:pPr lvl="0"/>
            <a:r>
              <a:rPr lang="en-GB" altLang="ja-JP"/>
              <a:t>Click to edit master text styles</a:t>
            </a:r>
          </a:p>
        </p:txBody>
      </p:sp>
      <p:sp>
        <p:nvSpPr>
          <p:cNvPr id="2" name="Slide Number Placeholder 1">
            <a:extLst>
              <a:ext uri="{FF2B5EF4-FFF2-40B4-BE49-F238E27FC236}">
                <a16:creationId xmlns:a16="http://schemas.microsoft.com/office/drawing/2014/main" id="{B8FBF4C3-CDA1-114A-AACD-6690F523D37B}"/>
              </a:ext>
            </a:extLst>
          </p:cNvPr>
          <p:cNvSpPr>
            <a:spLocks noGrp="1"/>
          </p:cNvSpPr>
          <p:nvPr>
            <p:ph type="sldNum" sz="quarter" idx="16"/>
          </p:nvPr>
        </p:nvSpPr>
        <p:spPr/>
        <p:txBody>
          <a:bodyPr/>
          <a:lstStyle>
            <a:lvl1pPr>
              <a:defRPr>
                <a:solidFill>
                  <a:srgbClr val="000000"/>
                </a:solidFill>
              </a:defRPr>
            </a:lvl1pPr>
          </a:lstStyle>
          <a:p>
            <a:fld id="{30CC6782-A7C1-AE43-BED6-519E5FEDBE2C}" type="slidenum">
              <a:rPr lang="en-US" smtClean="0"/>
              <a:pPr/>
              <a:t>‹#›</a:t>
            </a:fld>
            <a:endParaRPr lang="en-US"/>
          </a:p>
        </p:txBody>
      </p:sp>
    </p:spTree>
    <p:extLst>
      <p:ext uri="{BB962C8B-B14F-4D97-AF65-F5344CB8AC3E}">
        <p14:creationId xmlns:p14="http://schemas.microsoft.com/office/powerpoint/2010/main" val="31304214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タイトルのみ">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288B6EC4-1719-AF4F-9B4F-FB51C765D35D}"/>
              </a:ext>
            </a:extLst>
          </p:cNvPr>
          <p:cNvSpPr>
            <a:spLocks noGrp="1"/>
          </p:cNvSpPr>
          <p:nvPr>
            <p:ph type="title" hasCustomPrompt="1"/>
          </p:nvPr>
        </p:nvSpPr>
        <p:spPr>
          <a:xfrm>
            <a:off x="331678" y="324874"/>
            <a:ext cx="5764322" cy="1603931"/>
          </a:xfrm>
        </p:spPr>
        <p:txBody>
          <a:bodyPr anchor="t"/>
          <a:lstStyle>
            <a:lvl1pPr>
              <a:defRPr sz="3200" b="0" i="0" cap="none" baseline="0">
                <a:solidFill>
                  <a:srgbClr val="000000"/>
                </a:solidFill>
                <a:latin typeface="ASICS Font 3.0" pitchFamily="2" charset="77"/>
              </a:defRPr>
            </a:lvl1pPr>
          </a:lstStyle>
          <a:p>
            <a:r>
              <a:rPr lang="en-US"/>
              <a:t>Content title here</a:t>
            </a:r>
          </a:p>
        </p:txBody>
      </p:sp>
      <p:sp>
        <p:nvSpPr>
          <p:cNvPr id="2" name="Slide Number Placeholder 1">
            <a:extLst>
              <a:ext uri="{FF2B5EF4-FFF2-40B4-BE49-F238E27FC236}">
                <a16:creationId xmlns:a16="http://schemas.microsoft.com/office/drawing/2014/main" id="{8F3A8861-2968-6F46-871A-02C3D1D73A14}"/>
              </a:ext>
            </a:extLst>
          </p:cNvPr>
          <p:cNvSpPr>
            <a:spLocks noGrp="1"/>
          </p:cNvSpPr>
          <p:nvPr>
            <p:ph type="sldNum" sz="quarter" idx="10"/>
          </p:nvPr>
        </p:nvSpPr>
        <p:spPr/>
        <p:txBody>
          <a:bodyPr/>
          <a:lstStyle>
            <a:lvl1pPr>
              <a:defRPr>
                <a:solidFill>
                  <a:srgbClr val="000000"/>
                </a:solidFill>
              </a:defRPr>
            </a:lvl1pPr>
          </a:lstStyle>
          <a:p>
            <a:fld id="{30CC6782-A7C1-AE43-BED6-519E5FEDBE2C}" type="slidenum">
              <a:rPr lang="en-US" smtClean="0"/>
              <a:pPr/>
              <a:t>‹#›</a:t>
            </a:fld>
            <a:endParaRPr lang="en-US"/>
          </a:p>
        </p:txBody>
      </p:sp>
    </p:spTree>
    <p:extLst>
      <p:ext uri="{BB962C8B-B14F-4D97-AF65-F5344CB8AC3E}">
        <p14:creationId xmlns:p14="http://schemas.microsoft.com/office/powerpoint/2010/main" val="17171492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0569B6-AB26-DD4D-8FDE-9684CEBAF991}"/>
              </a:ext>
            </a:extLst>
          </p:cNvPr>
          <p:cNvSpPr>
            <a:spLocks noGrp="1"/>
          </p:cNvSpPr>
          <p:nvPr>
            <p:ph type="title" hasCustomPrompt="1"/>
          </p:nvPr>
        </p:nvSpPr>
        <p:spPr>
          <a:xfrm>
            <a:off x="318218" y="283876"/>
            <a:ext cx="5777782" cy="1962936"/>
          </a:xfrm>
        </p:spPr>
        <p:txBody>
          <a:bodyPr anchor="t"/>
          <a:lstStyle>
            <a:lvl1pPr>
              <a:defRPr sz="5400" b="0" i="0" cap="none" baseline="0">
                <a:solidFill>
                  <a:srgbClr val="000000"/>
                </a:solidFill>
                <a:latin typeface="ASICS Font 3.0" pitchFamily="2" charset="77"/>
              </a:defRPr>
            </a:lvl1pPr>
          </a:lstStyle>
          <a:p>
            <a:r>
              <a:rPr lang="en-US"/>
              <a:t>Divider title here</a:t>
            </a:r>
          </a:p>
        </p:txBody>
      </p:sp>
      <p:sp>
        <p:nvSpPr>
          <p:cNvPr id="6" name="Slide Number Placeholder 5">
            <a:extLst>
              <a:ext uri="{FF2B5EF4-FFF2-40B4-BE49-F238E27FC236}">
                <a16:creationId xmlns:a16="http://schemas.microsoft.com/office/drawing/2014/main" id="{7578056D-12D4-4747-A63E-85C10A5EEDDB}"/>
              </a:ext>
            </a:extLst>
          </p:cNvPr>
          <p:cNvSpPr>
            <a:spLocks noGrp="1"/>
          </p:cNvSpPr>
          <p:nvPr>
            <p:ph type="sldNum" sz="quarter" idx="12"/>
          </p:nvPr>
        </p:nvSpPr>
        <p:spPr>
          <a:xfrm>
            <a:off x="11080548" y="244864"/>
            <a:ext cx="753833" cy="365125"/>
          </a:xfrm>
          <a:prstGeom prst="rect">
            <a:avLst/>
          </a:prstGeom>
        </p:spPr>
        <p:txBody>
          <a:bodyPr/>
          <a:lstStyle>
            <a:lvl1pPr>
              <a:defRPr b="0" i="0">
                <a:solidFill>
                  <a:srgbClr val="000000"/>
                </a:solidFill>
                <a:latin typeface="ASICS Font 3.0" pitchFamily="2" charset="77"/>
              </a:defRPr>
            </a:lvl1pPr>
          </a:lstStyle>
          <a:p>
            <a:fld id="{30CC6782-A7C1-AE43-BED6-519E5FEDBE2C}" type="slidenum">
              <a:rPr lang="en-US" smtClean="0"/>
              <a:pPr/>
              <a:t>‹#›</a:t>
            </a:fld>
            <a:endParaRPr lang="en-US"/>
          </a:p>
        </p:txBody>
      </p:sp>
    </p:spTree>
    <p:extLst>
      <p:ext uri="{BB962C8B-B14F-4D97-AF65-F5344CB8AC3E}">
        <p14:creationId xmlns:p14="http://schemas.microsoft.com/office/powerpoint/2010/main" val="4167502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57F5DB-D280-51F1-B120-B69DA47BA504}"/>
              </a:ext>
            </a:extLst>
          </p:cNvPr>
          <p:cNvSpPr>
            <a:spLocks noGrp="1"/>
          </p:cNvSpPr>
          <p:nvPr>
            <p:ph type="title"/>
          </p:nvPr>
        </p:nvSpPr>
        <p:spPr>
          <a:xfrm>
            <a:off x="575161" y="460241"/>
            <a:ext cx="3776833" cy="486288"/>
          </a:xfrm>
          <a:prstGeom prst="rect">
            <a:avLst/>
          </a:prstGeom>
        </p:spPr>
        <p:txBody>
          <a:bodyPr/>
          <a:lstStyle>
            <a:lvl1pPr>
              <a:defRPr sz="2400" b="1">
                <a:latin typeface="ASICS Font 3.0" panose="00000500000000000000" pitchFamily="50" charset="0"/>
              </a:defRPr>
            </a:lvl1pPr>
          </a:lstStyle>
          <a:p>
            <a:r>
              <a:rPr lang="en-US"/>
              <a:t>Click to edit Master title style</a:t>
            </a:r>
          </a:p>
        </p:txBody>
      </p:sp>
      <p:pic>
        <p:nvPicPr>
          <p:cNvPr id="4" name="Graphic 3">
            <a:extLst>
              <a:ext uri="{FF2B5EF4-FFF2-40B4-BE49-F238E27FC236}">
                <a16:creationId xmlns:a16="http://schemas.microsoft.com/office/drawing/2014/main" id="{D9C19DBE-1E0D-5166-F7D3-A342752B3CC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444176" y="5885977"/>
            <a:ext cx="1478735" cy="698400"/>
          </a:xfrm>
          <a:prstGeom prst="rect">
            <a:avLst/>
          </a:prstGeom>
        </p:spPr>
      </p:pic>
      <p:grpSp>
        <p:nvGrpSpPr>
          <p:cNvPr id="5" name="Group 4">
            <a:extLst>
              <a:ext uri="{FF2B5EF4-FFF2-40B4-BE49-F238E27FC236}">
                <a16:creationId xmlns:a16="http://schemas.microsoft.com/office/drawing/2014/main" id="{B86F2E35-A201-B2E1-4532-99617E17C4F6}"/>
              </a:ext>
            </a:extLst>
          </p:cNvPr>
          <p:cNvGrpSpPr/>
          <p:nvPr/>
        </p:nvGrpSpPr>
        <p:grpSpPr>
          <a:xfrm>
            <a:off x="212312" y="210405"/>
            <a:ext cx="11775504" cy="6443171"/>
            <a:chOff x="269088" y="248111"/>
            <a:chExt cx="11652985" cy="6323867"/>
          </a:xfrm>
        </p:grpSpPr>
        <p:sp>
          <p:nvSpPr>
            <p:cNvPr id="6" name="Rectangle 10">
              <a:extLst>
                <a:ext uri="{FF2B5EF4-FFF2-40B4-BE49-F238E27FC236}">
                  <a16:creationId xmlns:a16="http://schemas.microsoft.com/office/drawing/2014/main" id="{3B4358DE-7213-94BE-AD4C-4A6B39360ACE}"/>
                </a:ext>
              </a:extLst>
            </p:cNvPr>
            <p:cNvSpPr/>
            <p:nvPr/>
          </p:nvSpPr>
          <p:spPr>
            <a:xfrm>
              <a:off x="269088" y="6155019"/>
              <a:ext cx="416959" cy="416959"/>
            </a:xfrm>
            <a:custGeom>
              <a:avLst/>
              <a:gdLst>
                <a:gd name="connsiteX0" fmla="*/ 0 w 416959"/>
                <a:gd name="connsiteY0" fmla="*/ 0 h 416959"/>
                <a:gd name="connsiteX1" fmla="*/ 416959 w 416959"/>
                <a:gd name="connsiteY1" fmla="*/ 0 h 416959"/>
                <a:gd name="connsiteX2" fmla="*/ 416959 w 416959"/>
                <a:gd name="connsiteY2" fmla="*/ 416959 h 416959"/>
                <a:gd name="connsiteX3" fmla="*/ 0 w 416959"/>
                <a:gd name="connsiteY3" fmla="*/ 416959 h 416959"/>
                <a:gd name="connsiteX4" fmla="*/ 0 w 416959"/>
                <a:gd name="connsiteY4" fmla="*/ 0 h 416959"/>
                <a:gd name="connsiteX0" fmla="*/ 416959 w 508399"/>
                <a:gd name="connsiteY0" fmla="*/ 0 h 416959"/>
                <a:gd name="connsiteX1" fmla="*/ 416959 w 508399"/>
                <a:gd name="connsiteY1" fmla="*/ 416959 h 416959"/>
                <a:gd name="connsiteX2" fmla="*/ 0 w 508399"/>
                <a:gd name="connsiteY2" fmla="*/ 416959 h 416959"/>
                <a:gd name="connsiteX3" fmla="*/ 0 w 508399"/>
                <a:gd name="connsiteY3" fmla="*/ 0 h 416959"/>
                <a:gd name="connsiteX4" fmla="*/ 508399 w 508399"/>
                <a:gd name="connsiteY4" fmla="*/ 91440 h 416959"/>
                <a:gd name="connsiteX0" fmla="*/ 416959 w 416959"/>
                <a:gd name="connsiteY0" fmla="*/ 0 h 416959"/>
                <a:gd name="connsiteX1" fmla="*/ 416959 w 416959"/>
                <a:gd name="connsiteY1" fmla="*/ 416959 h 416959"/>
                <a:gd name="connsiteX2" fmla="*/ 0 w 416959"/>
                <a:gd name="connsiteY2" fmla="*/ 416959 h 416959"/>
                <a:gd name="connsiteX3" fmla="*/ 0 w 416959"/>
                <a:gd name="connsiteY3" fmla="*/ 0 h 416959"/>
                <a:gd name="connsiteX0" fmla="*/ 416959 w 416959"/>
                <a:gd name="connsiteY0" fmla="*/ 416959 h 416959"/>
                <a:gd name="connsiteX1" fmla="*/ 0 w 416959"/>
                <a:gd name="connsiteY1" fmla="*/ 416959 h 416959"/>
                <a:gd name="connsiteX2" fmla="*/ 0 w 416959"/>
                <a:gd name="connsiteY2" fmla="*/ 0 h 416959"/>
              </a:gdLst>
              <a:ahLst/>
              <a:cxnLst>
                <a:cxn ang="0">
                  <a:pos x="connsiteX0" y="connsiteY0"/>
                </a:cxn>
                <a:cxn ang="0">
                  <a:pos x="connsiteX1" y="connsiteY1"/>
                </a:cxn>
                <a:cxn ang="0">
                  <a:pos x="connsiteX2" y="connsiteY2"/>
                </a:cxn>
              </a:cxnLst>
              <a:rect l="l" t="t" r="r" b="b"/>
              <a:pathLst>
                <a:path w="416959" h="416959">
                  <a:moveTo>
                    <a:pt x="416959" y="416959"/>
                  </a:moveTo>
                  <a:lnTo>
                    <a:pt x="0" y="416959"/>
                  </a:lnTo>
                  <a:lnTo>
                    <a:pt x="0" y="0"/>
                  </a:lnTo>
                </a:path>
              </a:pathLst>
            </a:cu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10">
              <a:extLst>
                <a:ext uri="{FF2B5EF4-FFF2-40B4-BE49-F238E27FC236}">
                  <a16:creationId xmlns:a16="http://schemas.microsoft.com/office/drawing/2014/main" id="{2819686D-AD73-2A52-F2D0-E875FC154798}"/>
                </a:ext>
              </a:extLst>
            </p:cNvPr>
            <p:cNvSpPr/>
            <p:nvPr/>
          </p:nvSpPr>
          <p:spPr>
            <a:xfrm rot="5400000">
              <a:off x="269088" y="248111"/>
              <a:ext cx="416959" cy="416959"/>
            </a:xfrm>
            <a:custGeom>
              <a:avLst/>
              <a:gdLst>
                <a:gd name="connsiteX0" fmla="*/ 0 w 416959"/>
                <a:gd name="connsiteY0" fmla="*/ 0 h 416959"/>
                <a:gd name="connsiteX1" fmla="*/ 416959 w 416959"/>
                <a:gd name="connsiteY1" fmla="*/ 0 h 416959"/>
                <a:gd name="connsiteX2" fmla="*/ 416959 w 416959"/>
                <a:gd name="connsiteY2" fmla="*/ 416959 h 416959"/>
                <a:gd name="connsiteX3" fmla="*/ 0 w 416959"/>
                <a:gd name="connsiteY3" fmla="*/ 416959 h 416959"/>
                <a:gd name="connsiteX4" fmla="*/ 0 w 416959"/>
                <a:gd name="connsiteY4" fmla="*/ 0 h 416959"/>
                <a:gd name="connsiteX0" fmla="*/ 416959 w 508399"/>
                <a:gd name="connsiteY0" fmla="*/ 0 h 416959"/>
                <a:gd name="connsiteX1" fmla="*/ 416959 w 508399"/>
                <a:gd name="connsiteY1" fmla="*/ 416959 h 416959"/>
                <a:gd name="connsiteX2" fmla="*/ 0 w 508399"/>
                <a:gd name="connsiteY2" fmla="*/ 416959 h 416959"/>
                <a:gd name="connsiteX3" fmla="*/ 0 w 508399"/>
                <a:gd name="connsiteY3" fmla="*/ 0 h 416959"/>
                <a:gd name="connsiteX4" fmla="*/ 508399 w 508399"/>
                <a:gd name="connsiteY4" fmla="*/ 91440 h 416959"/>
                <a:gd name="connsiteX0" fmla="*/ 416959 w 416959"/>
                <a:gd name="connsiteY0" fmla="*/ 0 h 416959"/>
                <a:gd name="connsiteX1" fmla="*/ 416959 w 416959"/>
                <a:gd name="connsiteY1" fmla="*/ 416959 h 416959"/>
                <a:gd name="connsiteX2" fmla="*/ 0 w 416959"/>
                <a:gd name="connsiteY2" fmla="*/ 416959 h 416959"/>
                <a:gd name="connsiteX3" fmla="*/ 0 w 416959"/>
                <a:gd name="connsiteY3" fmla="*/ 0 h 416959"/>
                <a:gd name="connsiteX0" fmla="*/ 416959 w 416959"/>
                <a:gd name="connsiteY0" fmla="*/ 416959 h 416959"/>
                <a:gd name="connsiteX1" fmla="*/ 0 w 416959"/>
                <a:gd name="connsiteY1" fmla="*/ 416959 h 416959"/>
                <a:gd name="connsiteX2" fmla="*/ 0 w 416959"/>
                <a:gd name="connsiteY2" fmla="*/ 0 h 416959"/>
              </a:gdLst>
              <a:ahLst/>
              <a:cxnLst>
                <a:cxn ang="0">
                  <a:pos x="connsiteX0" y="connsiteY0"/>
                </a:cxn>
                <a:cxn ang="0">
                  <a:pos x="connsiteX1" y="connsiteY1"/>
                </a:cxn>
                <a:cxn ang="0">
                  <a:pos x="connsiteX2" y="connsiteY2"/>
                </a:cxn>
              </a:cxnLst>
              <a:rect l="l" t="t" r="r" b="b"/>
              <a:pathLst>
                <a:path w="416959" h="416959">
                  <a:moveTo>
                    <a:pt x="416959" y="416959"/>
                  </a:moveTo>
                  <a:lnTo>
                    <a:pt x="0" y="416959"/>
                  </a:lnTo>
                  <a:lnTo>
                    <a:pt x="0" y="0"/>
                  </a:lnTo>
                </a:path>
              </a:pathLst>
            </a:cu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10">
              <a:extLst>
                <a:ext uri="{FF2B5EF4-FFF2-40B4-BE49-F238E27FC236}">
                  <a16:creationId xmlns:a16="http://schemas.microsoft.com/office/drawing/2014/main" id="{A353C070-3C7B-7C72-9771-AA2C0AE1F814}"/>
                </a:ext>
              </a:extLst>
            </p:cNvPr>
            <p:cNvSpPr/>
            <p:nvPr/>
          </p:nvSpPr>
          <p:spPr>
            <a:xfrm flipH="1">
              <a:off x="11505114" y="6155019"/>
              <a:ext cx="416959" cy="416959"/>
            </a:xfrm>
            <a:custGeom>
              <a:avLst/>
              <a:gdLst>
                <a:gd name="connsiteX0" fmla="*/ 0 w 416959"/>
                <a:gd name="connsiteY0" fmla="*/ 0 h 416959"/>
                <a:gd name="connsiteX1" fmla="*/ 416959 w 416959"/>
                <a:gd name="connsiteY1" fmla="*/ 0 h 416959"/>
                <a:gd name="connsiteX2" fmla="*/ 416959 w 416959"/>
                <a:gd name="connsiteY2" fmla="*/ 416959 h 416959"/>
                <a:gd name="connsiteX3" fmla="*/ 0 w 416959"/>
                <a:gd name="connsiteY3" fmla="*/ 416959 h 416959"/>
                <a:gd name="connsiteX4" fmla="*/ 0 w 416959"/>
                <a:gd name="connsiteY4" fmla="*/ 0 h 416959"/>
                <a:gd name="connsiteX0" fmla="*/ 416959 w 508399"/>
                <a:gd name="connsiteY0" fmla="*/ 0 h 416959"/>
                <a:gd name="connsiteX1" fmla="*/ 416959 w 508399"/>
                <a:gd name="connsiteY1" fmla="*/ 416959 h 416959"/>
                <a:gd name="connsiteX2" fmla="*/ 0 w 508399"/>
                <a:gd name="connsiteY2" fmla="*/ 416959 h 416959"/>
                <a:gd name="connsiteX3" fmla="*/ 0 w 508399"/>
                <a:gd name="connsiteY3" fmla="*/ 0 h 416959"/>
                <a:gd name="connsiteX4" fmla="*/ 508399 w 508399"/>
                <a:gd name="connsiteY4" fmla="*/ 91440 h 416959"/>
                <a:gd name="connsiteX0" fmla="*/ 416959 w 416959"/>
                <a:gd name="connsiteY0" fmla="*/ 0 h 416959"/>
                <a:gd name="connsiteX1" fmla="*/ 416959 w 416959"/>
                <a:gd name="connsiteY1" fmla="*/ 416959 h 416959"/>
                <a:gd name="connsiteX2" fmla="*/ 0 w 416959"/>
                <a:gd name="connsiteY2" fmla="*/ 416959 h 416959"/>
                <a:gd name="connsiteX3" fmla="*/ 0 w 416959"/>
                <a:gd name="connsiteY3" fmla="*/ 0 h 416959"/>
                <a:gd name="connsiteX0" fmla="*/ 416959 w 416959"/>
                <a:gd name="connsiteY0" fmla="*/ 416959 h 416959"/>
                <a:gd name="connsiteX1" fmla="*/ 0 w 416959"/>
                <a:gd name="connsiteY1" fmla="*/ 416959 h 416959"/>
                <a:gd name="connsiteX2" fmla="*/ 0 w 416959"/>
                <a:gd name="connsiteY2" fmla="*/ 0 h 416959"/>
              </a:gdLst>
              <a:ahLst/>
              <a:cxnLst>
                <a:cxn ang="0">
                  <a:pos x="connsiteX0" y="connsiteY0"/>
                </a:cxn>
                <a:cxn ang="0">
                  <a:pos x="connsiteX1" y="connsiteY1"/>
                </a:cxn>
                <a:cxn ang="0">
                  <a:pos x="connsiteX2" y="connsiteY2"/>
                </a:cxn>
              </a:cxnLst>
              <a:rect l="l" t="t" r="r" b="b"/>
              <a:pathLst>
                <a:path w="416959" h="416959">
                  <a:moveTo>
                    <a:pt x="416959" y="416959"/>
                  </a:moveTo>
                  <a:lnTo>
                    <a:pt x="0" y="416959"/>
                  </a:lnTo>
                  <a:lnTo>
                    <a:pt x="0" y="0"/>
                  </a:lnTo>
                </a:path>
              </a:pathLst>
            </a:cu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10">
              <a:extLst>
                <a:ext uri="{FF2B5EF4-FFF2-40B4-BE49-F238E27FC236}">
                  <a16:creationId xmlns:a16="http://schemas.microsoft.com/office/drawing/2014/main" id="{6D6A0864-2697-0965-54AA-41F05E96AF4F}"/>
                </a:ext>
              </a:extLst>
            </p:cNvPr>
            <p:cNvSpPr/>
            <p:nvPr/>
          </p:nvSpPr>
          <p:spPr>
            <a:xfrm rot="16200000" flipH="1">
              <a:off x="11505114" y="248111"/>
              <a:ext cx="416959" cy="416959"/>
            </a:xfrm>
            <a:custGeom>
              <a:avLst/>
              <a:gdLst>
                <a:gd name="connsiteX0" fmla="*/ 0 w 416959"/>
                <a:gd name="connsiteY0" fmla="*/ 0 h 416959"/>
                <a:gd name="connsiteX1" fmla="*/ 416959 w 416959"/>
                <a:gd name="connsiteY1" fmla="*/ 0 h 416959"/>
                <a:gd name="connsiteX2" fmla="*/ 416959 w 416959"/>
                <a:gd name="connsiteY2" fmla="*/ 416959 h 416959"/>
                <a:gd name="connsiteX3" fmla="*/ 0 w 416959"/>
                <a:gd name="connsiteY3" fmla="*/ 416959 h 416959"/>
                <a:gd name="connsiteX4" fmla="*/ 0 w 416959"/>
                <a:gd name="connsiteY4" fmla="*/ 0 h 416959"/>
                <a:gd name="connsiteX0" fmla="*/ 416959 w 508399"/>
                <a:gd name="connsiteY0" fmla="*/ 0 h 416959"/>
                <a:gd name="connsiteX1" fmla="*/ 416959 w 508399"/>
                <a:gd name="connsiteY1" fmla="*/ 416959 h 416959"/>
                <a:gd name="connsiteX2" fmla="*/ 0 w 508399"/>
                <a:gd name="connsiteY2" fmla="*/ 416959 h 416959"/>
                <a:gd name="connsiteX3" fmla="*/ 0 w 508399"/>
                <a:gd name="connsiteY3" fmla="*/ 0 h 416959"/>
                <a:gd name="connsiteX4" fmla="*/ 508399 w 508399"/>
                <a:gd name="connsiteY4" fmla="*/ 91440 h 416959"/>
                <a:gd name="connsiteX0" fmla="*/ 416959 w 416959"/>
                <a:gd name="connsiteY0" fmla="*/ 0 h 416959"/>
                <a:gd name="connsiteX1" fmla="*/ 416959 w 416959"/>
                <a:gd name="connsiteY1" fmla="*/ 416959 h 416959"/>
                <a:gd name="connsiteX2" fmla="*/ 0 w 416959"/>
                <a:gd name="connsiteY2" fmla="*/ 416959 h 416959"/>
                <a:gd name="connsiteX3" fmla="*/ 0 w 416959"/>
                <a:gd name="connsiteY3" fmla="*/ 0 h 416959"/>
                <a:gd name="connsiteX0" fmla="*/ 416959 w 416959"/>
                <a:gd name="connsiteY0" fmla="*/ 416959 h 416959"/>
                <a:gd name="connsiteX1" fmla="*/ 0 w 416959"/>
                <a:gd name="connsiteY1" fmla="*/ 416959 h 416959"/>
                <a:gd name="connsiteX2" fmla="*/ 0 w 416959"/>
                <a:gd name="connsiteY2" fmla="*/ 0 h 416959"/>
              </a:gdLst>
              <a:ahLst/>
              <a:cxnLst>
                <a:cxn ang="0">
                  <a:pos x="connsiteX0" y="connsiteY0"/>
                </a:cxn>
                <a:cxn ang="0">
                  <a:pos x="connsiteX1" y="connsiteY1"/>
                </a:cxn>
                <a:cxn ang="0">
                  <a:pos x="connsiteX2" y="connsiteY2"/>
                </a:cxn>
              </a:cxnLst>
              <a:rect l="l" t="t" r="r" b="b"/>
              <a:pathLst>
                <a:path w="416959" h="416959">
                  <a:moveTo>
                    <a:pt x="416959" y="416959"/>
                  </a:moveTo>
                  <a:lnTo>
                    <a:pt x="0" y="416959"/>
                  </a:lnTo>
                  <a:lnTo>
                    <a:pt x="0" y="0"/>
                  </a:lnTo>
                </a:path>
              </a:pathLst>
            </a:cu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964849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 Images and Caption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860EF19-DDF1-3D49-97C7-6227A94EBBD5}"/>
              </a:ext>
            </a:extLst>
          </p:cNvPr>
          <p:cNvSpPr>
            <a:spLocks noGrp="1"/>
          </p:cNvSpPr>
          <p:nvPr>
            <p:ph type="sldNum" sz="quarter" idx="12"/>
          </p:nvPr>
        </p:nvSpPr>
        <p:spPr>
          <a:xfrm>
            <a:off x="11080548" y="244864"/>
            <a:ext cx="753833" cy="365125"/>
          </a:xfrm>
          <a:prstGeom prst="rect">
            <a:avLst/>
          </a:prstGeom>
        </p:spPr>
        <p:txBody>
          <a:bodyPr/>
          <a:lstStyle>
            <a:lvl1pPr>
              <a:defRPr b="0" i="0">
                <a:solidFill>
                  <a:srgbClr val="000000"/>
                </a:solidFill>
                <a:latin typeface="ASICS Font 3.0" pitchFamily="2" charset="77"/>
              </a:defRPr>
            </a:lvl1pPr>
          </a:lstStyle>
          <a:p>
            <a:fld id="{30CC6782-A7C1-AE43-BED6-519E5FEDBE2C}" type="slidenum">
              <a:rPr lang="en-US" smtClean="0"/>
              <a:pPr/>
              <a:t>‹#›</a:t>
            </a:fld>
            <a:endParaRPr lang="en-US"/>
          </a:p>
        </p:txBody>
      </p:sp>
      <p:sp>
        <p:nvSpPr>
          <p:cNvPr id="2" name="Title 1">
            <a:extLst>
              <a:ext uri="{FF2B5EF4-FFF2-40B4-BE49-F238E27FC236}">
                <a16:creationId xmlns:a16="http://schemas.microsoft.com/office/drawing/2014/main" id="{CB9DB1D9-5AEF-FF4E-AAC6-57369D760B23}"/>
              </a:ext>
            </a:extLst>
          </p:cNvPr>
          <p:cNvSpPr>
            <a:spLocks noGrp="1"/>
          </p:cNvSpPr>
          <p:nvPr>
            <p:ph type="title" hasCustomPrompt="1"/>
          </p:nvPr>
        </p:nvSpPr>
        <p:spPr>
          <a:xfrm>
            <a:off x="331678" y="324874"/>
            <a:ext cx="5764322" cy="1603931"/>
          </a:xfrm>
        </p:spPr>
        <p:txBody>
          <a:bodyPr anchor="t"/>
          <a:lstStyle>
            <a:lvl1pPr>
              <a:defRPr sz="3200" b="0" i="0" cap="none" baseline="0">
                <a:solidFill>
                  <a:srgbClr val="000000"/>
                </a:solidFill>
                <a:latin typeface="ASICS Font 3.0" pitchFamily="2" charset="77"/>
              </a:defRPr>
            </a:lvl1pPr>
          </a:lstStyle>
          <a:p>
            <a:r>
              <a:rPr lang="en-US"/>
              <a:t>Content title here</a:t>
            </a:r>
          </a:p>
        </p:txBody>
      </p:sp>
      <p:sp>
        <p:nvSpPr>
          <p:cNvPr id="13" name="Text Placeholder 12">
            <a:extLst>
              <a:ext uri="{FF2B5EF4-FFF2-40B4-BE49-F238E27FC236}">
                <a16:creationId xmlns:a16="http://schemas.microsoft.com/office/drawing/2014/main" id="{8A2A437A-8C9D-E240-BFC0-087B6BA6A341}"/>
              </a:ext>
            </a:extLst>
          </p:cNvPr>
          <p:cNvSpPr>
            <a:spLocks noGrp="1"/>
          </p:cNvSpPr>
          <p:nvPr>
            <p:ph type="body" sz="quarter" idx="15"/>
          </p:nvPr>
        </p:nvSpPr>
        <p:spPr>
          <a:xfrm>
            <a:off x="331788" y="5032713"/>
            <a:ext cx="3440112" cy="647335"/>
          </a:xfrm>
        </p:spPr>
        <p:txBody>
          <a:bodyPr>
            <a:noAutofit/>
          </a:bodyPr>
          <a:lstStyle>
            <a:lvl1pPr>
              <a:buNone/>
              <a:defRPr b="0" i="0">
                <a:solidFill>
                  <a:srgbClr val="000000"/>
                </a:solidFill>
                <a:latin typeface="ASICS Font 3.0" pitchFamily="2" charset="77"/>
              </a:defRPr>
            </a:lvl1pPr>
            <a:lvl2pPr>
              <a:buNone/>
              <a:defRPr/>
            </a:lvl2pPr>
            <a:lvl3pPr>
              <a:buNone/>
              <a:defRPr/>
            </a:lvl3pPr>
            <a:lvl4pPr>
              <a:buNone/>
              <a:defRPr/>
            </a:lvl4pPr>
            <a:lvl5pPr>
              <a:buNone/>
              <a:defRPr/>
            </a:lvl5pPr>
          </a:lstStyle>
          <a:p>
            <a:pPr lvl="0"/>
            <a:r>
              <a:rPr lang="en-US" altLang="ja-JP"/>
              <a:t>Click to edit Master text styles</a:t>
            </a:r>
          </a:p>
        </p:txBody>
      </p:sp>
      <p:sp>
        <p:nvSpPr>
          <p:cNvPr id="9" name="Picture Placeholder 8">
            <a:extLst>
              <a:ext uri="{FF2B5EF4-FFF2-40B4-BE49-F238E27FC236}">
                <a16:creationId xmlns:a16="http://schemas.microsoft.com/office/drawing/2014/main" id="{BA1A0A70-0185-0744-8591-93709018F555}"/>
              </a:ext>
            </a:extLst>
          </p:cNvPr>
          <p:cNvSpPr>
            <a:spLocks noGrp="1"/>
          </p:cNvSpPr>
          <p:nvPr>
            <p:ph type="pic" sz="quarter" idx="18"/>
          </p:nvPr>
        </p:nvSpPr>
        <p:spPr>
          <a:xfrm>
            <a:off x="472183" y="2143125"/>
            <a:ext cx="3299718" cy="2786063"/>
          </a:xfrm>
        </p:spPr>
        <p:txBody>
          <a:bodyPr/>
          <a:lstStyle>
            <a:lvl1pPr>
              <a:defRPr b="0" i="0">
                <a:solidFill>
                  <a:srgbClr val="000000"/>
                </a:solidFill>
                <a:latin typeface="ASICS Font 3.0" pitchFamily="2" charset="77"/>
              </a:defRPr>
            </a:lvl1pPr>
          </a:lstStyle>
          <a:p>
            <a:r>
              <a:rPr lang="en-US" altLang="ja-JP"/>
              <a:t>Click icon to add picture</a:t>
            </a:r>
            <a:endParaRPr lang="en-US"/>
          </a:p>
        </p:txBody>
      </p:sp>
      <p:sp>
        <p:nvSpPr>
          <p:cNvPr id="21" name="Text Placeholder 12">
            <a:extLst>
              <a:ext uri="{FF2B5EF4-FFF2-40B4-BE49-F238E27FC236}">
                <a16:creationId xmlns:a16="http://schemas.microsoft.com/office/drawing/2014/main" id="{8DE1A6D3-25CF-0247-9682-983397AD8F98}"/>
              </a:ext>
            </a:extLst>
          </p:cNvPr>
          <p:cNvSpPr>
            <a:spLocks noGrp="1"/>
          </p:cNvSpPr>
          <p:nvPr>
            <p:ph type="body" sz="quarter" idx="19"/>
          </p:nvPr>
        </p:nvSpPr>
        <p:spPr>
          <a:xfrm>
            <a:off x="3783648" y="5032713"/>
            <a:ext cx="3440112" cy="647335"/>
          </a:xfrm>
        </p:spPr>
        <p:txBody>
          <a:bodyPr>
            <a:noAutofit/>
          </a:bodyPr>
          <a:lstStyle>
            <a:lvl1pPr>
              <a:buNone/>
              <a:defRPr b="0" i="0">
                <a:solidFill>
                  <a:srgbClr val="000000"/>
                </a:solidFill>
                <a:latin typeface="ASICS Font 3.0" pitchFamily="2" charset="77"/>
              </a:defRPr>
            </a:lvl1pPr>
            <a:lvl2pPr>
              <a:buNone/>
              <a:defRPr/>
            </a:lvl2pPr>
            <a:lvl3pPr>
              <a:buNone/>
              <a:defRPr/>
            </a:lvl3pPr>
            <a:lvl4pPr>
              <a:buNone/>
              <a:defRPr/>
            </a:lvl4pPr>
            <a:lvl5pPr>
              <a:buNone/>
              <a:defRPr/>
            </a:lvl5pPr>
          </a:lstStyle>
          <a:p>
            <a:pPr lvl="0"/>
            <a:r>
              <a:rPr lang="en-US" altLang="ja-JP"/>
              <a:t>Click to edit Master text styles</a:t>
            </a:r>
          </a:p>
        </p:txBody>
      </p:sp>
      <p:sp>
        <p:nvSpPr>
          <p:cNvPr id="22" name="Picture Placeholder 8">
            <a:extLst>
              <a:ext uri="{FF2B5EF4-FFF2-40B4-BE49-F238E27FC236}">
                <a16:creationId xmlns:a16="http://schemas.microsoft.com/office/drawing/2014/main" id="{967BF878-6320-324F-9886-158044E0E755}"/>
              </a:ext>
            </a:extLst>
          </p:cNvPr>
          <p:cNvSpPr>
            <a:spLocks noGrp="1"/>
          </p:cNvSpPr>
          <p:nvPr>
            <p:ph type="pic" sz="quarter" idx="20"/>
          </p:nvPr>
        </p:nvSpPr>
        <p:spPr>
          <a:xfrm>
            <a:off x="3924043" y="2143125"/>
            <a:ext cx="3299718" cy="2786063"/>
          </a:xfrm>
        </p:spPr>
        <p:txBody>
          <a:bodyPr/>
          <a:lstStyle>
            <a:lvl1pPr>
              <a:defRPr b="0" i="0">
                <a:solidFill>
                  <a:srgbClr val="000000"/>
                </a:solidFill>
                <a:latin typeface="ASICS Font 3.0" pitchFamily="2" charset="77"/>
              </a:defRPr>
            </a:lvl1pPr>
          </a:lstStyle>
          <a:p>
            <a:r>
              <a:rPr lang="en-US" altLang="ja-JP"/>
              <a:t>Click icon to add picture</a:t>
            </a:r>
            <a:endParaRPr lang="en-US"/>
          </a:p>
        </p:txBody>
      </p:sp>
      <p:sp>
        <p:nvSpPr>
          <p:cNvPr id="23" name="Text Placeholder 12">
            <a:extLst>
              <a:ext uri="{FF2B5EF4-FFF2-40B4-BE49-F238E27FC236}">
                <a16:creationId xmlns:a16="http://schemas.microsoft.com/office/drawing/2014/main" id="{26AFD3AC-9A49-074B-B742-36530F70AE4F}"/>
              </a:ext>
            </a:extLst>
          </p:cNvPr>
          <p:cNvSpPr>
            <a:spLocks noGrp="1"/>
          </p:cNvSpPr>
          <p:nvPr>
            <p:ph type="body" sz="quarter" idx="21"/>
          </p:nvPr>
        </p:nvSpPr>
        <p:spPr>
          <a:xfrm>
            <a:off x="7224078" y="5032713"/>
            <a:ext cx="3440112" cy="647335"/>
          </a:xfrm>
        </p:spPr>
        <p:txBody>
          <a:bodyPr>
            <a:noAutofit/>
          </a:bodyPr>
          <a:lstStyle>
            <a:lvl1pPr>
              <a:buNone/>
              <a:defRPr b="0" i="0">
                <a:solidFill>
                  <a:srgbClr val="000000"/>
                </a:solidFill>
                <a:latin typeface="ASICS Font 3.0" pitchFamily="2" charset="77"/>
              </a:defRPr>
            </a:lvl1pPr>
            <a:lvl2pPr>
              <a:buNone/>
              <a:defRPr/>
            </a:lvl2pPr>
            <a:lvl3pPr>
              <a:buNone/>
              <a:defRPr/>
            </a:lvl3pPr>
            <a:lvl4pPr>
              <a:buNone/>
              <a:defRPr/>
            </a:lvl4pPr>
            <a:lvl5pPr>
              <a:buNone/>
              <a:defRPr/>
            </a:lvl5pPr>
          </a:lstStyle>
          <a:p>
            <a:pPr lvl="0"/>
            <a:r>
              <a:rPr lang="en-US" altLang="ja-JP"/>
              <a:t>Click to edit Master text styles</a:t>
            </a:r>
          </a:p>
        </p:txBody>
      </p:sp>
      <p:sp>
        <p:nvSpPr>
          <p:cNvPr id="24" name="Picture Placeholder 8">
            <a:extLst>
              <a:ext uri="{FF2B5EF4-FFF2-40B4-BE49-F238E27FC236}">
                <a16:creationId xmlns:a16="http://schemas.microsoft.com/office/drawing/2014/main" id="{D0BE64D5-3258-EE4B-B582-E3526FFD9952}"/>
              </a:ext>
            </a:extLst>
          </p:cNvPr>
          <p:cNvSpPr>
            <a:spLocks noGrp="1"/>
          </p:cNvSpPr>
          <p:nvPr>
            <p:ph type="pic" sz="quarter" idx="22"/>
          </p:nvPr>
        </p:nvSpPr>
        <p:spPr>
          <a:xfrm>
            <a:off x="7364473" y="2143125"/>
            <a:ext cx="3299718" cy="2786063"/>
          </a:xfrm>
        </p:spPr>
        <p:txBody>
          <a:bodyPr/>
          <a:lstStyle>
            <a:lvl1pPr>
              <a:defRPr b="0" i="0">
                <a:solidFill>
                  <a:srgbClr val="000000"/>
                </a:solidFill>
                <a:latin typeface="ASICS Font 3.0" pitchFamily="2" charset="77"/>
              </a:defRPr>
            </a:lvl1pPr>
          </a:lstStyle>
          <a:p>
            <a:r>
              <a:rPr lang="en-US" altLang="ja-JP"/>
              <a:t>Click icon to add picture</a:t>
            </a:r>
            <a:endParaRPr lang="en-US"/>
          </a:p>
        </p:txBody>
      </p:sp>
    </p:spTree>
    <p:extLst>
      <p:ext uri="{BB962C8B-B14F-4D97-AF65-F5344CB8AC3E}">
        <p14:creationId xmlns:p14="http://schemas.microsoft.com/office/powerpoint/2010/main" val="18032764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4_3 Images and Caption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860EF19-DDF1-3D49-97C7-6227A94EBBD5}"/>
              </a:ext>
            </a:extLst>
          </p:cNvPr>
          <p:cNvSpPr>
            <a:spLocks noGrp="1"/>
          </p:cNvSpPr>
          <p:nvPr>
            <p:ph type="sldNum" sz="quarter" idx="12"/>
          </p:nvPr>
        </p:nvSpPr>
        <p:spPr>
          <a:xfrm>
            <a:off x="11080548" y="244864"/>
            <a:ext cx="753833" cy="365125"/>
          </a:xfrm>
          <a:prstGeom prst="rect">
            <a:avLst/>
          </a:prstGeom>
        </p:spPr>
        <p:txBody>
          <a:bodyPr/>
          <a:lstStyle>
            <a:lvl1pPr>
              <a:defRPr b="0" i="0">
                <a:solidFill>
                  <a:srgbClr val="000000"/>
                </a:solidFill>
                <a:latin typeface="ASICS Font 3.0" pitchFamily="2" charset="77"/>
              </a:defRPr>
            </a:lvl1pPr>
          </a:lstStyle>
          <a:p>
            <a:fld id="{30CC6782-A7C1-AE43-BED6-519E5FEDBE2C}" type="slidenum">
              <a:rPr lang="en-US" smtClean="0"/>
              <a:pPr/>
              <a:t>‹#›</a:t>
            </a:fld>
            <a:endParaRPr lang="en-US"/>
          </a:p>
        </p:txBody>
      </p:sp>
      <p:sp>
        <p:nvSpPr>
          <p:cNvPr id="2" name="Title 1">
            <a:extLst>
              <a:ext uri="{FF2B5EF4-FFF2-40B4-BE49-F238E27FC236}">
                <a16:creationId xmlns:a16="http://schemas.microsoft.com/office/drawing/2014/main" id="{CB9DB1D9-5AEF-FF4E-AAC6-57369D760B23}"/>
              </a:ext>
            </a:extLst>
          </p:cNvPr>
          <p:cNvSpPr>
            <a:spLocks noGrp="1"/>
          </p:cNvSpPr>
          <p:nvPr>
            <p:ph type="title" hasCustomPrompt="1"/>
          </p:nvPr>
        </p:nvSpPr>
        <p:spPr>
          <a:xfrm>
            <a:off x="331678" y="324874"/>
            <a:ext cx="5764322" cy="1603931"/>
          </a:xfrm>
        </p:spPr>
        <p:txBody>
          <a:bodyPr anchor="t"/>
          <a:lstStyle>
            <a:lvl1pPr>
              <a:defRPr sz="3200" b="0" i="0" cap="none" baseline="0">
                <a:solidFill>
                  <a:srgbClr val="000000"/>
                </a:solidFill>
                <a:latin typeface="ASICS Font 3.0" pitchFamily="2" charset="77"/>
              </a:defRPr>
            </a:lvl1pPr>
          </a:lstStyle>
          <a:p>
            <a:r>
              <a:rPr lang="en-US"/>
              <a:t>Content title here</a:t>
            </a:r>
          </a:p>
        </p:txBody>
      </p:sp>
      <p:sp>
        <p:nvSpPr>
          <p:cNvPr id="13" name="Text Placeholder 12">
            <a:extLst>
              <a:ext uri="{FF2B5EF4-FFF2-40B4-BE49-F238E27FC236}">
                <a16:creationId xmlns:a16="http://schemas.microsoft.com/office/drawing/2014/main" id="{8A2A437A-8C9D-E240-BFC0-087B6BA6A341}"/>
              </a:ext>
            </a:extLst>
          </p:cNvPr>
          <p:cNvSpPr>
            <a:spLocks noGrp="1"/>
          </p:cNvSpPr>
          <p:nvPr>
            <p:ph type="body" sz="quarter" idx="15"/>
          </p:nvPr>
        </p:nvSpPr>
        <p:spPr>
          <a:xfrm>
            <a:off x="331677" y="2143125"/>
            <a:ext cx="5764321" cy="1603931"/>
          </a:xfrm>
        </p:spPr>
        <p:txBody>
          <a:bodyPr>
            <a:noAutofit/>
          </a:bodyPr>
          <a:lstStyle>
            <a:lvl1pPr>
              <a:buNone/>
              <a:defRPr b="0" i="0">
                <a:solidFill>
                  <a:srgbClr val="000000"/>
                </a:solidFill>
                <a:latin typeface="ASICS Font 3.0" pitchFamily="2" charset="77"/>
              </a:defRPr>
            </a:lvl1pPr>
            <a:lvl2pPr>
              <a:buNone/>
              <a:defRPr/>
            </a:lvl2pPr>
            <a:lvl3pPr>
              <a:buNone/>
              <a:defRPr/>
            </a:lvl3pPr>
            <a:lvl4pPr>
              <a:buNone/>
              <a:defRPr/>
            </a:lvl4pPr>
            <a:lvl5pPr>
              <a:buNone/>
              <a:defRPr/>
            </a:lvl5pPr>
          </a:lstStyle>
          <a:p>
            <a:pPr lvl="0"/>
            <a:r>
              <a:rPr lang="en-US" altLang="ja-JP"/>
              <a:t>Click to edit Master text styles</a:t>
            </a:r>
          </a:p>
        </p:txBody>
      </p:sp>
      <p:sp>
        <p:nvSpPr>
          <p:cNvPr id="24" name="Picture Placeholder 8">
            <a:extLst>
              <a:ext uri="{FF2B5EF4-FFF2-40B4-BE49-F238E27FC236}">
                <a16:creationId xmlns:a16="http://schemas.microsoft.com/office/drawing/2014/main" id="{D0BE64D5-3258-EE4B-B582-E3526FFD9952}"/>
              </a:ext>
            </a:extLst>
          </p:cNvPr>
          <p:cNvSpPr>
            <a:spLocks noGrp="1"/>
          </p:cNvSpPr>
          <p:nvPr>
            <p:ph type="pic" sz="quarter" idx="22"/>
          </p:nvPr>
        </p:nvSpPr>
        <p:spPr>
          <a:xfrm>
            <a:off x="6259572" y="324874"/>
            <a:ext cx="4433827" cy="5682226"/>
          </a:xfrm>
        </p:spPr>
        <p:txBody>
          <a:bodyPr/>
          <a:lstStyle>
            <a:lvl1pPr>
              <a:defRPr b="0" i="0">
                <a:solidFill>
                  <a:srgbClr val="000000"/>
                </a:solidFill>
                <a:latin typeface="ASICS Font 3.0" pitchFamily="2" charset="77"/>
              </a:defRPr>
            </a:lvl1pPr>
          </a:lstStyle>
          <a:p>
            <a:r>
              <a:rPr lang="en-US" altLang="ja-JP"/>
              <a:t>Click icon to add picture</a:t>
            </a:r>
            <a:endParaRPr lang="en-US"/>
          </a:p>
        </p:txBody>
      </p:sp>
      <p:sp>
        <p:nvSpPr>
          <p:cNvPr id="11" name="Text Placeholder 12">
            <a:extLst>
              <a:ext uri="{FF2B5EF4-FFF2-40B4-BE49-F238E27FC236}">
                <a16:creationId xmlns:a16="http://schemas.microsoft.com/office/drawing/2014/main" id="{FD0C3383-9160-4137-AB41-5AF4699DF3D2}"/>
              </a:ext>
            </a:extLst>
          </p:cNvPr>
          <p:cNvSpPr>
            <a:spLocks noGrp="1"/>
          </p:cNvSpPr>
          <p:nvPr>
            <p:ph type="body" sz="quarter" idx="23"/>
          </p:nvPr>
        </p:nvSpPr>
        <p:spPr>
          <a:xfrm>
            <a:off x="331677" y="4403169"/>
            <a:ext cx="5764321" cy="1603931"/>
          </a:xfrm>
        </p:spPr>
        <p:txBody>
          <a:bodyPr>
            <a:noAutofit/>
          </a:bodyPr>
          <a:lstStyle>
            <a:lvl1pPr>
              <a:buNone/>
              <a:defRPr b="0" i="0">
                <a:solidFill>
                  <a:srgbClr val="000000"/>
                </a:solidFill>
                <a:latin typeface="ASICS Font 3.0" pitchFamily="2" charset="77"/>
              </a:defRPr>
            </a:lvl1pPr>
            <a:lvl2pPr>
              <a:buNone/>
              <a:defRPr/>
            </a:lvl2pPr>
            <a:lvl3pPr>
              <a:buNone/>
              <a:defRPr/>
            </a:lvl3pPr>
            <a:lvl4pPr>
              <a:buNone/>
              <a:defRPr/>
            </a:lvl4pPr>
            <a:lvl5pPr>
              <a:buNone/>
              <a:defRPr/>
            </a:lvl5pPr>
          </a:lstStyle>
          <a:p>
            <a:pPr lvl="0"/>
            <a:r>
              <a:rPr lang="en-US" altLang="ja-JP"/>
              <a:t>Click to edit Master text styles</a:t>
            </a:r>
          </a:p>
        </p:txBody>
      </p:sp>
    </p:spTree>
    <p:extLst>
      <p:ext uri="{BB962C8B-B14F-4D97-AF65-F5344CB8AC3E}">
        <p14:creationId xmlns:p14="http://schemas.microsoft.com/office/powerpoint/2010/main" val="8159755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_3 Images and Caption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860EF19-DDF1-3D49-97C7-6227A94EBBD5}"/>
              </a:ext>
            </a:extLst>
          </p:cNvPr>
          <p:cNvSpPr>
            <a:spLocks noGrp="1"/>
          </p:cNvSpPr>
          <p:nvPr>
            <p:ph type="sldNum" sz="quarter" idx="12"/>
          </p:nvPr>
        </p:nvSpPr>
        <p:spPr>
          <a:xfrm>
            <a:off x="11080548" y="244864"/>
            <a:ext cx="753833" cy="365125"/>
          </a:xfrm>
          <a:prstGeom prst="rect">
            <a:avLst/>
          </a:prstGeom>
        </p:spPr>
        <p:txBody>
          <a:bodyPr/>
          <a:lstStyle>
            <a:lvl1pPr>
              <a:defRPr b="0" i="0">
                <a:solidFill>
                  <a:srgbClr val="000000"/>
                </a:solidFill>
                <a:latin typeface="ASICS Font 3.0" pitchFamily="2" charset="77"/>
              </a:defRPr>
            </a:lvl1pPr>
          </a:lstStyle>
          <a:p>
            <a:fld id="{30CC6782-A7C1-AE43-BED6-519E5FEDBE2C}" type="slidenum">
              <a:rPr lang="en-US" smtClean="0"/>
              <a:pPr/>
              <a:t>‹#›</a:t>
            </a:fld>
            <a:endParaRPr lang="en-US"/>
          </a:p>
        </p:txBody>
      </p:sp>
      <p:sp>
        <p:nvSpPr>
          <p:cNvPr id="2" name="Title 1">
            <a:extLst>
              <a:ext uri="{FF2B5EF4-FFF2-40B4-BE49-F238E27FC236}">
                <a16:creationId xmlns:a16="http://schemas.microsoft.com/office/drawing/2014/main" id="{CB9DB1D9-5AEF-FF4E-AAC6-57369D760B23}"/>
              </a:ext>
            </a:extLst>
          </p:cNvPr>
          <p:cNvSpPr>
            <a:spLocks noGrp="1"/>
          </p:cNvSpPr>
          <p:nvPr>
            <p:ph type="title" hasCustomPrompt="1"/>
          </p:nvPr>
        </p:nvSpPr>
        <p:spPr>
          <a:xfrm>
            <a:off x="2040478" y="1092200"/>
            <a:ext cx="3706128" cy="1295399"/>
          </a:xfrm>
        </p:spPr>
        <p:txBody>
          <a:bodyPr anchor="t"/>
          <a:lstStyle>
            <a:lvl1pPr>
              <a:defRPr sz="3200" b="0" i="0" cap="none" baseline="0">
                <a:solidFill>
                  <a:srgbClr val="000000"/>
                </a:solidFill>
                <a:latin typeface="ASICS Font 3.0" pitchFamily="2" charset="77"/>
              </a:defRPr>
            </a:lvl1pPr>
          </a:lstStyle>
          <a:p>
            <a:r>
              <a:rPr lang="en-US"/>
              <a:t>Content title here</a:t>
            </a:r>
          </a:p>
        </p:txBody>
      </p:sp>
      <p:sp>
        <p:nvSpPr>
          <p:cNvPr id="22" name="Picture Placeholder 8">
            <a:extLst>
              <a:ext uri="{FF2B5EF4-FFF2-40B4-BE49-F238E27FC236}">
                <a16:creationId xmlns:a16="http://schemas.microsoft.com/office/drawing/2014/main" id="{967BF878-6320-324F-9886-158044E0E755}"/>
              </a:ext>
            </a:extLst>
          </p:cNvPr>
          <p:cNvSpPr>
            <a:spLocks noGrp="1"/>
          </p:cNvSpPr>
          <p:nvPr>
            <p:ph type="pic" sz="quarter" idx="20"/>
          </p:nvPr>
        </p:nvSpPr>
        <p:spPr>
          <a:xfrm>
            <a:off x="2040478" y="2627285"/>
            <a:ext cx="3706128" cy="3129209"/>
          </a:xfrm>
        </p:spPr>
        <p:txBody>
          <a:bodyPr/>
          <a:lstStyle>
            <a:lvl1pPr>
              <a:defRPr b="0" i="0">
                <a:solidFill>
                  <a:srgbClr val="000000"/>
                </a:solidFill>
                <a:latin typeface="ASICS Font 3.0" pitchFamily="2" charset="77"/>
              </a:defRPr>
            </a:lvl1pPr>
          </a:lstStyle>
          <a:p>
            <a:r>
              <a:rPr lang="en-US" altLang="ja-JP"/>
              <a:t>Click icon to add picture</a:t>
            </a:r>
            <a:endParaRPr lang="en-US"/>
          </a:p>
        </p:txBody>
      </p:sp>
      <p:sp>
        <p:nvSpPr>
          <p:cNvPr id="23" name="Text Placeholder 12">
            <a:extLst>
              <a:ext uri="{FF2B5EF4-FFF2-40B4-BE49-F238E27FC236}">
                <a16:creationId xmlns:a16="http://schemas.microsoft.com/office/drawing/2014/main" id="{26AFD3AC-9A49-074B-B742-36530F70AE4F}"/>
              </a:ext>
            </a:extLst>
          </p:cNvPr>
          <p:cNvSpPr>
            <a:spLocks noGrp="1"/>
          </p:cNvSpPr>
          <p:nvPr>
            <p:ph type="body" sz="quarter" idx="21"/>
          </p:nvPr>
        </p:nvSpPr>
        <p:spPr>
          <a:xfrm>
            <a:off x="6096000" y="4365090"/>
            <a:ext cx="3706127" cy="1391404"/>
          </a:xfrm>
        </p:spPr>
        <p:txBody>
          <a:bodyPr>
            <a:noAutofit/>
          </a:bodyPr>
          <a:lstStyle>
            <a:lvl1pPr>
              <a:buNone/>
              <a:defRPr b="0" i="0">
                <a:solidFill>
                  <a:srgbClr val="000000"/>
                </a:solidFill>
                <a:latin typeface="ASICS Font 3.0" pitchFamily="2" charset="77"/>
              </a:defRPr>
            </a:lvl1pPr>
            <a:lvl2pPr>
              <a:buNone/>
              <a:defRPr/>
            </a:lvl2pPr>
            <a:lvl3pPr>
              <a:buNone/>
              <a:defRPr/>
            </a:lvl3pPr>
            <a:lvl4pPr>
              <a:buNone/>
              <a:defRPr/>
            </a:lvl4pPr>
            <a:lvl5pPr>
              <a:buNone/>
              <a:defRPr/>
            </a:lvl5pPr>
          </a:lstStyle>
          <a:p>
            <a:pPr lvl="0"/>
            <a:r>
              <a:rPr lang="en-US" altLang="ja-JP"/>
              <a:t>Click to edit Master text styles</a:t>
            </a:r>
          </a:p>
        </p:txBody>
      </p:sp>
      <p:sp>
        <p:nvSpPr>
          <p:cNvPr id="24" name="Picture Placeholder 8">
            <a:extLst>
              <a:ext uri="{FF2B5EF4-FFF2-40B4-BE49-F238E27FC236}">
                <a16:creationId xmlns:a16="http://schemas.microsoft.com/office/drawing/2014/main" id="{D0BE64D5-3258-EE4B-B582-E3526FFD9952}"/>
              </a:ext>
            </a:extLst>
          </p:cNvPr>
          <p:cNvSpPr>
            <a:spLocks noGrp="1"/>
          </p:cNvSpPr>
          <p:nvPr>
            <p:ph type="pic" sz="quarter" idx="22"/>
          </p:nvPr>
        </p:nvSpPr>
        <p:spPr>
          <a:xfrm>
            <a:off x="6096001" y="1096181"/>
            <a:ext cx="3706128" cy="3129209"/>
          </a:xfrm>
        </p:spPr>
        <p:txBody>
          <a:bodyPr/>
          <a:lstStyle>
            <a:lvl1pPr>
              <a:defRPr b="0" i="0">
                <a:solidFill>
                  <a:srgbClr val="000000"/>
                </a:solidFill>
                <a:latin typeface="ASICS Font 3.0" pitchFamily="2" charset="77"/>
              </a:defRPr>
            </a:lvl1pPr>
          </a:lstStyle>
          <a:p>
            <a:r>
              <a:rPr lang="en-US" altLang="ja-JP"/>
              <a:t>Click icon to add picture</a:t>
            </a:r>
            <a:endParaRPr lang="en-US"/>
          </a:p>
        </p:txBody>
      </p:sp>
    </p:spTree>
    <p:extLst>
      <p:ext uri="{BB962C8B-B14F-4D97-AF65-F5344CB8AC3E}">
        <p14:creationId xmlns:p14="http://schemas.microsoft.com/office/powerpoint/2010/main" val="12524356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Pul-out Stats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631A0D-7ECD-9D4B-801F-F92EF4AF9A14}"/>
              </a:ext>
            </a:extLst>
          </p:cNvPr>
          <p:cNvSpPr>
            <a:spLocks noGrp="1"/>
          </p:cNvSpPr>
          <p:nvPr>
            <p:ph type="title"/>
          </p:nvPr>
        </p:nvSpPr>
        <p:spPr>
          <a:xfrm>
            <a:off x="766763" y="620713"/>
            <a:ext cx="10587037" cy="1069975"/>
          </a:xfrm>
        </p:spPr>
        <p:txBody>
          <a:bodyPr lIns="0" tIns="0" bIns="0" numCol="1"/>
          <a:lstStyle>
            <a:lvl1pPr algn="l">
              <a:lnSpc>
                <a:spcPct val="100000"/>
              </a:lnSpc>
              <a:defRPr b="0" i="0">
                <a:solidFill>
                  <a:srgbClr val="000000"/>
                </a:solidFill>
                <a:latin typeface="ASICS Font 3.0" pitchFamily="2" charset="77"/>
              </a:defRPr>
            </a:lvl1pPr>
          </a:lstStyle>
          <a:p>
            <a:r>
              <a:rPr lang="en-US" altLang="en-GB"/>
              <a:t>Click to edit Master title style</a:t>
            </a:r>
            <a:endParaRPr lang="en-GB" altLang="en-GB"/>
          </a:p>
        </p:txBody>
      </p:sp>
      <p:sp>
        <p:nvSpPr>
          <p:cNvPr id="3" name="Content Placeholder 2">
            <a:extLst>
              <a:ext uri="{FF2B5EF4-FFF2-40B4-BE49-F238E27FC236}">
                <a16:creationId xmlns:a16="http://schemas.microsoft.com/office/drawing/2014/main" id="{8F42A732-66EA-314C-B6E2-3B9DA8CCDCF1}"/>
              </a:ext>
            </a:extLst>
          </p:cNvPr>
          <p:cNvSpPr>
            <a:spLocks noGrp="1"/>
          </p:cNvSpPr>
          <p:nvPr>
            <p:ph sz="half" idx="1"/>
          </p:nvPr>
        </p:nvSpPr>
        <p:spPr>
          <a:xfrm>
            <a:off x="766763" y="2003561"/>
            <a:ext cx="3076303" cy="2850878"/>
          </a:xfrm>
          <a:solidFill>
            <a:srgbClr val="EBF5EC"/>
          </a:solidFill>
        </p:spPr>
        <p:txBody>
          <a:bodyPr vert="horz" lIns="432000" tIns="144000" rIns="91440" bIns="45720" numCol="1" rtlCol="0">
            <a:noAutofit/>
          </a:bodyPr>
          <a:lstStyle>
            <a:lvl1pPr algn="l">
              <a:defRPr lang="en-GB" altLang="en-GB" b="0" i="0" spc="300" dirty="0" smtClean="0">
                <a:solidFill>
                  <a:srgbClr val="000000"/>
                </a:solidFill>
                <a:latin typeface="ASICS Font 3.0" pitchFamily="2" charset="77"/>
              </a:defRPr>
            </a:lvl1pPr>
          </a:lstStyle>
          <a:p>
            <a:pPr lvl="0">
              <a:lnSpc>
                <a:spcPct val="130000"/>
              </a:lnSpc>
            </a:pPr>
            <a:r>
              <a:rPr lang="en-US" altLang="en-GB"/>
              <a:t>Click to edit Master text styles</a:t>
            </a:r>
          </a:p>
        </p:txBody>
      </p:sp>
      <p:sp>
        <p:nvSpPr>
          <p:cNvPr id="4" name="Content Placeholder 3">
            <a:extLst>
              <a:ext uri="{FF2B5EF4-FFF2-40B4-BE49-F238E27FC236}">
                <a16:creationId xmlns:a16="http://schemas.microsoft.com/office/drawing/2014/main" id="{33D9FAEF-7BD0-BE4D-BFD2-52E3CB229D03}"/>
              </a:ext>
            </a:extLst>
          </p:cNvPr>
          <p:cNvSpPr>
            <a:spLocks noGrp="1"/>
          </p:cNvSpPr>
          <p:nvPr>
            <p:ph sz="half" idx="2"/>
          </p:nvPr>
        </p:nvSpPr>
        <p:spPr>
          <a:xfrm>
            <a:off x="8348935" y="2003561"/>
            <a:ext cx="3076303" cy="2850878"/>
          </a:xfrm>
          <a:solidFill>
            <a:srgbClr val="D5E3F4"/>
          </a:solidFill>
        </p:spPr>
        <p:txBody>
          <a:bodyPr lIns="432000" tIns="144000" numCol="1"/>
          <a:lstStyle>
            <a:lvl1pPr algn="l">
              <a:lnSpc>
                <a:spcPct val="130000"/>
              </a:lnSpc>
              <a:defRPr b="0" i="0" spc="300">
                <a:solidFill>
                  <a:srgbClr val="000000"/>
                </a:solidFill>
                <a:latin typeface="ASICS Font 3.0" pitchFamily="2" charset="77"/>
              </a:defRPr>
            </a:lvl1pPr>
          </a:lstStyle>
          <a:p>
            <a:pPr lvl="0"/>
            <a:r>
              <a:rPr lang="en-US" altLang="en-GB"/>
              <a:t>Click to edit Master text styles</a:t>
            </a:r>
          </a:p>
        </p:txBody>
      </p:sp>
      <p:sp>
        <p:nvSpPr>
          <p:cNvPr id="8" name="Content Placeholder 3">
            <a:extLst>
              <a:ext uri="{FF2B5EF4-FFF2-40B4-BE49-F238E27FC236}">
                <a16:creationId xmlns:a16="http://schemas.microsoft.com/office/drawing/2014/main" id="{118A4C69-C056-B744-B050-4455773E7021}"/>
              </a:ext>
            </a:extLst>
          </p:cNvPr>
          <p:cNvSpPr>
            <a:spLocks noGrp="1"/>
          </p:cNvSpPr>
          <p:nvPr>
            <p:ph sz="half" idx="10"/>
          </p:nvPr>
        </p:nvSpPr>
        <p:spPr>
          <a:xfrm>
            <a:off x="4557848" y="2003561"/>
            <a:ext cx="3076303" cy="2850878"/>
          </a:xfrm>
          <a:solidFill>
            <a:schemeClr val="accent1"/>
          </a:solidFill>
          <a:ln>
            <a:noFill/>
          </a:ln>
        </p:spPr>
        <p:txBody>
          <a:bodyPr vert="horz" lIns="432000" tIns="144000" rIns="432000" bIns="45720" numCol="1" rtlCol="0">
            <a:noAutofit/>
          </a:bodyPr>
          <a:lstStyle>
            <a:lvl1pPr algn="l">
              <a:defRPr lang="en-GB" altLang="en-GB" b="0" i="0" spc="300" dirty="0" smtClean="0">
                <a:solidFill>
                  <a:srgbClr val="000000"/>
                </a:solidFill>
                <a:latin typeface="ASICS Font 3.0" pitchFamily="2" charset="77"/>
              </a:defRPr>
            </a:lvl1pPr>
          </a:lstStyle>
          <a:p>
            <a:pPr lvl="0">
              <a:lnSpc>
                <a:spcPct val="130000"/>
              </a:lnSpc>
            </a:pPr>
            <a:r>
              <a:rPr lang="en-US" altLang="en-GB"/>
              <a:t>Click to edit Master text styles</a:t>
            </a:r>
          </a:p>
        </p:txBody>
      </p:sp>
      <p:cxnSp>
        <p:nvCxnSpPr>
          <p:cNvPr id="9" name="Straight Connector 8">
            <a:extLst>
              <a:ext uri="{FF2B5EF4-FFF2-40B4-BE49-F238E27FC236}">
                <a16:creationId xmlns:a16="http://schemas.microsoft.com/office/drawing/2014/main" id="{2D9064B8-291E-1A4B-96B4-A429BC0B52C3}"/>
              </a:ext>
            </a:extLst>
          </p:cNvPr>
          <p:cNvCxnSpPr>
            <a:cxnSpLocks/>
          </p:cNvCxnSpPr>
          <p:nvPr/>
        </p:nvCxnSpPr>
        <p:spPr>
          <a:xfrm>
            <a:off x="8616724" y="2158429"/>
            <a:ext cx="0" cy="1407731"/>
          </a:xfrm>
          <a:prstGeom prst="line">
            <a:avLst/>
          </a:prstGeom>
          <a:ln w="25400">
            <a:solidFill>
              <a:srgbClr val="1F256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1F24A0E-A00D-064B-9A54-41A7BE9B83FB}"/>
              </a:ext>
            </a:extLst>
          </p:cNvPr>
          <p:cNvCxnSpPr>
            <a:cxnSpLocks/>
          </p:cNvCxnSpPr>
          <p:nvPr/>
        </p:nvCxnSpPr>
        <p:spPr>
          <a:xfrm>
            <a:off x="4856905" y="2158429"/>
            <a:ext cx="0" cy="1407731"/>
          </a:xfrm>
          <a:prstGeom prst="line">
            <a:avLst/>
          </a:prstGeom>
          <a:ln w="25400">
            <a:solidFill>
              <a:srgbClr val="1F2564"/>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67CB591-51A8-5940-90F1-6CAD243A69E3}"/>
              </a:ext>
            </a:extLst>
          </p:cNvPr>
          <p:cNvCxnSpPr>
            <a:cxnSpLocks/>
          </p:cNvCxnSpPr>
          <p:nvPr/>
        </p:nvCxnSpPr>
        <p:spPr>
          <a:xfrm>
            <a:off x="1062038" y="2158429"/>
            <a:ext cx="0" cy="1407731"/>
          </a:xfrm>
          <a:prstGeom prst="line">
            <a:avLst/>
          </a:prstGeom>
          <a:ln w="25400">
            <a:solidFill>
              <a:srgbClr val="1F2564"/>
            </a:solidFill>
          </a:ln>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BD1CA660-8F7F-784E-B0BC-30DFA7677188}"/>
              </a:ext>
            </a:extLst>
          </p:cNvPr>
          <p:cNvSpPr>
            <a:spLocks noGrp="1"/>
          </p:cNvSpPr>
          <p:nvPr>
            <p:ph type="sldNum" sz="quarter" idx="11"/>
          </p:nvPr>
        </p:nvSpPr>
        <p:spPr/>
        <p:txBody>
          <a:bodyPr/>
          <a:lstStyle>
            <a:lvl1pPr>
              <a:defRPr>
                <a:solidFill>
                  <a:srgbClr val="000000"/>
                </a:solidFill>
              </a:defRPr>
            </a:lvl1pPr>
          </a:lstStyle>
          <a:p>
            <a:fld id="{30CC6782-A7C1-AE43-BED6-519E5FEDBE2C}" type="slidenum">
              <a:rPr lang="en-US" smtClean="0"/>
              <a:pPr/>
              <a:t>‹#›</a:t>
            </a:fld>
            <a:endParaRPr lang="en-US"/>
          </a:p>
        </p:txBody>
      </p:sp>
    </p:spTree>
    <p:extLst>
      <p:ext uri="{BB962C8B-B14F-4D97-AF65-F5344CB8AC3E}">
        <p14:creationId xmlns:p14="http://schemas.microsoft.com/office/powerpoint/2010/main" val="3641450214"/>
      </p:ext>
    </p:extLst>
  </p:cSld>
  <p:clrMapOvr>
    <a:masterClrMapping/>
  </p:clrMapOvr>
  <p:extLst>
    <p:ext uri="{DCECCB84-F9BA-43D5-87BE-67443E8EF086}">
      <p15:sldGuideLst xmlns:p15="http://schemas.microsoft.com/office/powerpoint/2012/main">
        <p15:guide id="1" orient="horz" pos="136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ntent 3 colum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860EF19-DDF1-3D49-97C7-6227A94EBBD5}"/>
              </a:ext>
            </a:extLst>
          </p:cNvPr>
          <p:cNvSpPr>
            <a:spLocks noGrp="1"/>
          </p:cNvSpPr>
          <p:nvPr>
            <p:ph type="sldNum" sz="quarter" idx="12"/>
          </p:nvPr>
        </p:nvSpPr>
        <p:spPr>
          <a:xfrm>
            <a:off x="11080548" y="244864"/>
            <a:ext cx="753833" cy="365125"/>
          </a:xfrm>
          <a:prstGeom prst="rect">
            <a:avLst/>
          </a:prstGeom>
        </p:spPr>
        <p:txBody>
          <a:bodyPr/>
          <a:lstStyle>
            <a:lvl1pPr>
              <a:defRPr b="0" i="0">
                <a:solidFill>
                  <a:srgbClr val="000000"/>
                </a:solidFill>
                <a:latin typeface="ASICS Font 3.0" pitchFamily="2" charset="77"/>
              </a:defRPr>
            </a:lvl1pPr>
          </a:lstStyle>
          <a:p>
            <a:fld id="{30CC6782-A7C1-AE43-BED6-519E5FEDBE2C}" type="slidenum">
              <a:rPr lang="en-US" smtClean="0"/>
              <a:pPr/>
              <a:t>‹#›</a:t>
            </a:fld>
            <a:endParaRPr lang="en-US"/>
          </a:p>
        </p:txBody>
      </p:sp>
      <p:sp>
        <p:nvSpPr>
          <p:cNvPr id="2" name="Title 1">
            <a:extLst>
              <a:ext uri="{FF2B5EF4-FFF2-40B4-BE49-F238E27FC236}">
                <a16:creationId xmlns:a16="http://schemas.microsoft.com/office/drawing/2014/main" id="{CB9DB1D9-5AEF-FF4E-AAC6-57369D760B23}"/>
              </a:ext>
            </a:extLst>
          </p:cNvPr>
          <p:cNvSpPr>
            <a:spLocks noGrp="1"/>
          </p:cNvSpPr>
          <p:nvPr>
            <p:ph type="title" hasCustomPrompt="1"/>
          </p:nvPr>
        </p:nvSpPr>
        <p:spPr>
          <a:xfrm>
            <a:off x="331678" y="324874"/>
            <a:ext cx="5764322" cy="1603931"/>
          </a:xfrm>
        </p:spPr>
        <p:txBody>
          <a:bodyPr anchor="t"/>
          <a:lstStyle>
            <a:lvl1pPr>
              <a:defRPr sz="3200" b="0" i="0" cap="none" baseline="0">
                <a:solidFill>
                  <a:srgbClr val="000000"/>
                </a:solidFill>
                <a:latin typeface="ASICS Font 3.0" pitchFamily="2" charset="77"/>
              </a:defRPr>
            </a:lvl1pPr>
          </a:lstStyle>
          <a:p>
            <a:r>
              <a:rPr lang="en-US"/>
              <a:t>Content title here</a:t>
            </a:r>
          </a:p>
        </p:txBody>
      </p:sp>
      <p:sp>
        <p:nvSpPr>
          <p:cNvPr id="4" name="Content Placeholder 3">
            <a:extLst>
              <a:ext uri="{FF2B5EF4-FFF2-40B4-BE49-F238E27FC236}">
                <a16:creationId xmlns:a16="http://schemas.microsoft.com/office/drawing/2014/main" id="{692035E7-8687-A743-AF5A-F72B7FEA32DD}"/>
              </a:ext>
            </a:extLst>
          </p:cNvPr>
          <p:cNvSpPr>
            <a:spLocks noGrp="1"/>
          </p:cNvSpPr>
          <p:nvPr>
            <p:ph sz="quarter" idx="23"/>
          </p:nvPr>
        </p:nvSpPr>
        <p:spPr>
          <a:xfrm>
            <a:off x="442913" y="2142778"/>
            <a:ext cx="3328987" cy="4238625"/>
          </a:xfrm>
        </p:spPr>
        <p:txBody>
          <a:bodyPr>
            <a:noAutofit/>
          </a:bodyPr>
          <a:lstStyle>
            <a:lvl1pPr>
              <a:defRPr b="0" i="0">
                <a:solidFill>
                  <a:srgbClr val="000000"/>
                </a:solidFill>
                <a:latin typeface="ASICS Font 3.0" pitchFamily="2" charset="77"/>
              </a:defRPr>
            </a:lvl1pPr>
            <a:lvl2pPr>
              <a:defRPr b="0" i="0">
                <a:solidFill>
                  <a:srgbClr val="000000"/>
                </a:solidFill>
                <a:latin typeface="ASICS Font 3.0" pitchFamily="2" charset="77"/>
              </a:defRPr>
            </a:lvl2pPr>
            <a:lvl3pPr>
              <a:defRPr b="0" i="0">
                <a:solidFill>
                  <a:srgbClr val="000000"/>
                </a:solidFill>
                <a:latin typeface="ASICS Font 3.0" pitchFamily="2" charset="77"/>
              </a:defRPr>
            </a:lvl3pPr>
            <a:lvl4pPr>
              <a:defRPr b="0" i="0">
                <a:solidFill>
                  <a:srgbClr val="000000"/>
                </a:solidFill>
                <a:latin typeface="ASICS Font 3.0" pitchFamily="2" charset="77"/>
              </a:defRPr>
            </a:lvl4pPr>
            <a:lvl5pPr>
              <a:defRPr b="0" i="0">
                <a:solidFill>
                  <a:srgbClr val="000000"/>
                </a:solidFill>
                <a:latin typeface="ASICS Font 3.0" pitchFamily="2" charset="77"/>
              </a:defRPr>
            </a:lvl5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US"/>
          </a:p>
        </p:txBody>
      </p:sp>
      <p:sp>
        <p:nvSpPr>
          <p:cNvPr id="14" name="Content Placeholder 3">
            <a:extLst>
              <a:ext uri="{FF2B5EF4-FFF2-40B4-BE49-F238E27FC236}">
                <a16:creationId xmlns:a16="http://schemas.microsoft.com/office/drawing/2014/main" id="{E838AE71-1318-DB4D-B41E-C55B11C4EAA5}"/>
              </a:ext>
            </a:extLst>
          </p:cNvPr>
          <p:cNvSpPr>
            <a:spLocks noGrp="1"/>
          </p:cNvSpPr>
          <p:nvPr>
            <p:ph sz="quarter" idx="24"/>
          </p:nvPr>
        </p:nvSpPr>
        <p:spPr>
          <a:xfrm>
            <a:off x="3915318" y="2142777"/>
            <a:ext cx="3328987" cy="4238625"/>
          </a:xfrm>
        </p:spPr>
        <p:txBody>
          <a:bodyPr>
            <a:noAutofit/>
          </a:bodyPr>
          <a:lstStyle>
            <a:lvl1pPr>
              <a:defRPr b="0" i="0">
                <a:solidFill>
                  <a:srgbClr val="000000"/>
                </a:solidFill>
                <a:latin typeface="ASICS Font 3.0" pitchFamily="2" charset="77"/>
              </a:defRPr>
            </a:lvl1pPr>
            <a:lvl2pPr>
              <a:defRPr b="0" i="0">
                <a:solidFill>
                  <a:srgbClr val="000000"/>
                </a:solidFill>
                <a:latin typeface="ASICS Font 3.0" pitchFamily="2" charset="77"/>
              </a:defRPr>
            </a:lvl2pPr>
            <a:lvl3pPr>
              <a:defRPr b="0" i="0">
                <a:solidFill>
                  <a:srgbClr val="000000"/>
                </a:solidFill>
                <a:latin typeface="ASICS Font 3.0" pitchFamily="2" charset="77"/>
              </a:defRPr>
            </a:lvl3pPr>
            <a:lvl4pPr>
              <a:defRPr b="0" i="0">
                <a:solidFill>
                  <a:srgbClr val="000000"/>
                </a:solidFill>
                <a:latin typeface="ASICS Font 3.0" pitchFamily="2" charset="77"/>
              </a:defRPr>
            </a:lvl4pPr>
            <a:lvl5pPr>
              <a:defRPr b="0" i="0">
                <a:solidFill>
                  <a:srgbClr val="000000"/>
                </a:solidFill>
                <a:latin typeface="ASICS Font 3.0" pitchFamily="2" charset="77"/>
              </a:defRPr>
            </a:lvl5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US"/>
          </a:p>
        </p:txBody>
      </p:sp>
      <p:sp>
        <p:nvSpPr>
          <p:cNvPr id="15" name="Content Placeholder 3">
            <a:extLst>
              <a:ext uri="{FF2B5EF4-FFF2-40B4-BE49-F238E27FC236}">
                <a16:creationId xmlns:a16="http://schemas.microsoft.com/office/drawing/2014/main" id="{752B24F4-0256-7744-8B3E-6B66972CE761}"/>
              </a:ext>
            </a:extLst>
          </p:cNvPr>
          <p:cNvSpPr>
            <a:spLocks noGrp="1"/>
          </p:cNvSpPr>
          <p:nvPr>
            <p:ph sz="quarter" idx="25"/>
          </p:nvPr>
        </p:nvSpPr>
        <p:spPr>
          <a:xfrm>
            <a:off x="7387724" y="2142776"/>
            <a:ext cx="3328987" cy="4238625"/>
          </a:xfrm>
        </p:spPr>
        <p:txBody>
          <a:bodyPr>
            <a:noAutofit/>
          </a:bodyPr>
          <a:lstStyle>
            <a:lvl1pPr>
              <a:defRPr b="0" i="0">
                <a:solidFill>
                  <a:srgbClr val="000000"/>
                </a:solidFill>
                <a:latin typeface="ASICS Font 3.0" pitchFamily="2" charset="77"/>
              </a:defRPr>
            </a:lvl1pPr>
            <a:lvl2pPr>
              <a:defRPr b="0" i="0">
                <a:solidFill>
                  <a:srgbClr val="000000"/>
                </a:solidFill>
                <a:latin typeface="ASICS Font 3.0" pitchFamily="2" charset="77"/>
              </a:defRPr>
            </a:lvl2pPr>
            <a:lvl3pPr>
              <a:defRPr b="0" i="0">
                <a:solidFill>
                  <a:srgbClr val="000000"/>
                </a:solidFill>
                <a:latin typeface="ASICS Font 3.0" pitchFamily="2" charset="77"/>
              </a:defRPr>
            </a:lvl3pPr>
            <a:lvl4pPr>
              <a:defRPr b="0" i="0">
                <a:solidFill>
                  <a:srgbClr val="000000"/>
                </a:solidFill>
                <a:latin typeface="ASICS Font 3.0" pitchFamily="2" charset="77"/>
              </a:defRPr>
            </a:lvl4pPr>
            <a:lvl5pPr>
              <a:defRPr b="0" i="0">
                <a:solidFill>
                  <a:srgbClr val="000000"/>
                </a:solidFill>
                <a:latin typeface="ASICS Font 3.0" pitchFamily="2" charset="77"/>
              </a:defRPr>
            </a:lvl5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US"/>
          </a:p>
        </p:txBody>
      </p:sp>
    </p:spTree>
    <p:extLst>
      <p:ext uri="{BB962C8B-B14F-4D97-AF65-F5344CB8AC3E}">
        <p14:creationId xmlns:p14="http://schemas.microsoft.com/office/powerpoint/2010/main" val="19199131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ote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27A931-6CAA-E448-9F6D-68EA147AA735}"/>
              </a:ext>
            </a:extLst>
          </p:cNvPr>
          <p:cNvSpPr>
            <a:spLocks noGrp="1"/>
          </p:cNvSpPr>
          <p:nvPr>
            <p:ph type="title" hasCustomPrompt="1"/>
          </p:nvPr>
        </p:nvSpPr>
        <p:spPr>
          <a:xfrm>
            <a:off x="331678" y="244864"/>
            <a:ext cx="5620453" cy="6136886"/>
          </a:xfrm>
        </p:spPr>
        <p:txBody>
          <a:bodyPr/>
          <a:lstStyle>
            <a:lvl1pPr>
              <a:defRPr sz="5400" b="0" i="0">
                <a:latin typeface="ASICS Font 3.0" pitchFamily="2" charset="77"/>
              </a:defRPr>
            </a:lvl1pPr>
          </a:lstStyle>
          <a:p>
            <a:r>
              <a:rPr lang="en-US"/>
              <a:t>Quote Here</a:t>
            </a:r>
          </a:p>
        </p:txBody>
      </p:sp>
      <p:sp>
        <p:nvSpPr>
          <p:cNvPr id="7" name="Slide Number Placeholder 6">
            <a:extLst>
              <a:ext uri="{FF2B5EF4-FFF2-40B4-BE49-F238E27FC236}">
                <a16:creationId xmlns:a16="http://schemas.microsoft.com/office/drawing/2014/main" id="{02DECC1A-6F23-5248-8780-35ABAED4FD27}"/>
              </a:ext>
            </a:extLst>
          </p:cNvPr>
          <p:cNvSpPr>
            <a:spLocks noGrp="1"/>
          </p:cNvSpPr>
          <p:nvPr>
            <p:ph type="sldNum" sz="quarter" idx="12"/>
          </p:nvPr>
        </p:nvSpPr>
        <p:spPr>
          <a:xfrm>
            <a:off x="11080548" y="244864"/>
            <a:ext cx="753833" cy="365125"/>
          </a:xfrm>
          <a:prstGeom prst="rect">
            <a:avLst/>
          </a:prstGeom>
        </p:spPr>
        <p:txBody>
          <a:bodyPr/>
          <a:lstStyle>
            <a:lvl1pPr>
              <a:defRPr b="0" i="0">
                <a:latin typeface="ASICS Font 3.0" pitchFamily="2" charset="77"/>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0CC6782-A7C1-AE43-BED6-519E5FEDBE2C}" type="slidenum">
              <a:rPr kumimoji="0" lang="en-US" sz="1200" b="0" i="0" u="none" strike="noStrike" kern="1200" cap="none" spc="0" normalizeH="0" baseline="0" noProof="0" smtClean="0">
                <a:ln>
                  <a:noFill/>
                </a:ln>
                <a:solidFill>
                  <a:srgbClr val="001E61"/>
                </a:solidFill>
                <a:effectLst/>
                <a:uLnTx/>
                <a:uFillTx/>
                <a:latin typeface="ASICS Font 3.0"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1E61"/>
              </a:solidFill>
              <a:effectLst/>
              <a:uLnTx/>
              <a:uFillTx/>
              <a:latin typeface="ASICS Font 3.0" pitchFamily="2" charset="77"/>
              <a:ea typeface="+mn-ea"/>
              <a:cs typeface="+mn-cs"/>
            </a:endParaRPr>
          </a:p>
        </p:txBody>
      </p:sp>
      <p:sp>
        <p:nvSpPr>
          <p:cNvPr id="9" name="Picture Placeholder 8">
            <a:extLst>
              <a:ext uri="{FF2B5EF4-FFF2-40B4-BE49-F238E27FC236}">
                <a16:creationId xmlns:a16="http://schemas.microsoft.com/office/drawing/2014/main" id="{58B77372-1FDF-E14F-92C8-9C3D03F6D2BE}"/>
              </a:ext>
            </a:extLst>
          </p:cNvPr>
          <p:cNvSpPr>
            <a:spLocks noGrp="1"/>
          </p:cNvSpPr>
          <p:nvPr>
            <p:ph type="pic" sz="quarter" idx="20"/>
          </p:nvPr>
        </p:nvSpPr>
        <p:spPr>
          <a:xfrm>
            <a:off x="6104272" y="441326"/>
            <a:ext cx="4887577" cy="5548816"/>
          </a:xfrm>
        </p:spPr>
        <p:txBody>
          <a:bodyPr>
            <a:noAutofit/>
          </a:bodyPr>
          <a:lstStyle>
            <a:lvl1pPr>
              <a:defRPr b="0" i="0">
                <a:latin typeface="ASICS Font 3.0" pitchFamily="2" charset="77"/>
              </a:defRPr>
            </a:lvl1pPr>
          </a:lstStyle>
          <a:p>
            <a:r>
              <a:rPr lang="en-US" altLang="ja-JP"/>
              <a:t>Click icon to add picture</a:t>
            </a:r>
            <a:endParaRPr lang="en-US"/>
          </a:p>
        </p:txBody>
      </p:sp>
    </p:spTree>
    <p:extLst>
      <p:ext uri="{BB962C8B-B14F-4D97-AF65-F5344CB8AC3E}">
        <p14:creationId xmlns:p14="http://schemas.microsoft.com/office/powerpoint/2010/main" val="10614538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Quote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27A931-6CAA-E448-9F6D-68EA147AA735}"/>
              </a:ext>
            </a:extLst>
          </p:cNvPr>
          <p:cNvSpPr>
            <a:spLocks noGrp="1"/>
          </p:cNvSpPr>
          <p:nvPr>
            <p:ph type="title" hasCustomPrompt="1"/>
          </p:nvPr>
        </p:nvSpPr>
        <p:spPr>
          <a:xfrm>
            <a:off x="331678" y="244864"/>
            <a:ext cx="5620453" cy="6136886"/>
          </a:xfrm>
        </p:spPr>
        <p:txBody>
          <a:bodyPr/>
          <a:lstStyle>
            <a:lvl1pPr>
              <a:defRPr sz="5400" b="0" i="0">
                <a:latin typeface="ASICS Font 3.0" pitchFamily="2" charset="77"/>
              </a:defRPr>
            </a:lvl1pPr>
          </a:lstStyle>
          <a:p>
            <a:r>
              <a:rPr lang="en-US"/>
              <a:t>Quote Here</a:t>
            </a:r>
          </a:p>
        </p:txBody>
      </p:sp>
      <p:sp>
        <p:nvSpPr>
          <p:cNvPr id="7" name="Slide Number Placeholder 6">
            <a:extLst>
              <a:ext uri="{FF2B5EF4-FFF2-40B4-BE49-F238E27FC236}">
                <a16:creationId xmlns:a16="http://schemas.microsoft.com/office/drawing/2014/main" id="{02DECC1A-6F23-5248-8780-35ABAED4FD27}"/>
              </a:ext>
            </a:extLst>
          </p:cNvPr>
          <p:cNvSpPr>
            <a:spLocks noGrp="1"/>
          </p:cNvSpPr>
          <p:nvPr>
            <p:ph type="sldNum" sz="quarter" idx="12"/>
          </p:nvPr>
        </p:nvSpPr>
        <p:spPr>
          <a:xfrm>
            <a:off x="11080548" y="244864"/>
            <a:ext cx="753833" cy="365125"/>
          </a:xfrm>
          <a:prstGeom prst="rect">
            <a:avLst/>
          </a:prstGeom>
        </p:spPr>
        <p:txBody>
          <a:bodyPr/>
          <a:lstStyle>
            <a:lvl1pPr>
              <a:defRPr b="0" i="0">
                <a:latin typeface="ASICS Font 3.0" pitchFamily="2" charset="77"/>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0CC6782-A7C1-AE43-BED6-519E5FEDBE2C}" type="slidenum">
              <a:rPr kumimoji="0" lang="en-US" sz="1200" b="0" i="0" u="none" strike="noStrike" kern="1200" cap="none" spc="0" normalizeH="0" baseline="0" noProof="0" smtClean="0">
                <a:ln>
                  <a:noFill/>
                </a:ln>
                <a:solidFill>
                  <a:srgbClr val="001E61"/>
                </a:solidFill>
                <a:effectLst/>
                <a:uLnTx/>
                <a:uFillTx/>
                <a:latin typeface="ASICS Font 3.0"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1E61"/>
              </a:solidFill>
              <a:effectLst/>
              <a:uLnTx/>
              <a:uFillTx/>
              <a:latin typeface="ASICS Font 3.0" pitchFamily="2" charset="77"/>
              <a:ea typeface="+mn-ea"/>
              <a:cs typeface="+mn-cs"/>
            </a:endParaRPr>
          </a:p>
        </p:txBody>
      </p:sp>
      <p:sp>
        <p:nvSpPr>
          <p:cNvPr id="9" name="Picture Placeholder 8">
            <a:extLst>
              <a:ext uri="{FF2B5EF4-FFF2-40B4-BE49-F238E27FC236}">
                <a16:creationId xmlns:a16="http://schemas.microsoft.com/office/drawing/2014/main" id="{58B77372-1FDF-E14F-92C8-9C3D03F6D2BE}"/>
              </a:ext>
            </a:extLst>
          </p:cNvPr>
          <p:cNvSpPr>
            <a:spLocks noGrp="1"/>
          </p:cNvSpPr>
          <p:nvPr>
            <p:ph type="pic" sz="quarter" idx="20"/>
          </p:nvPr>
        </p:nvSpPr>
        <p:spPr>
          <a:xfrm>
            <a:off x="6104272" y="441327"/>
            <a:ext cx="4887577" cy="5554290"/>
          </a:xfrm>
        </p:spPr>
        <p:txBody>
          <a:bodyPr>
            <a:noAutofit/>
          </a:bodyPr>
          <a:lstStyle>
            <a:lvl1pPr>
              <a:defRPr b="0" i="0">
                <a:latin typeface="ASICS Font 3.0" pitchFamily="2" charset="77"/>
              </a:defRPr>
            </a:lvl1pPr>
          </a:lstStyle>
          <a:p>
            <a:r>
              <a:rPr lang="en-US" altLang="ja-JP"/>
              <a:t>Click icon to add picture</a:t>
            </a:r>
            <a:endParaRPr lang="en-US"/>
          </a:p>
        </p:txBody>
      </p:sp>
    </p:spTree>
    <p:extLst>
      <p:ext uri="{BB962C8B-B14F-4D97-AF65-F5344CB8AC3E}">
        <p14:creationId xmlns:p14="http://schemas.microsoft.com/office/powerpoint/2010/main" val="1425051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 pink">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28C600-228D-E747-9DE6-8BA71F435B95}"/>
              </a:ext>
            </a:extLst>
          </p:cNvPr>
          <p:cNvSpPr>
            <a:spLocks noGrp="1"/>
          </p:cNvSpPr>
          <p:nvPr>
            <p:ph idx="1"/>
          </p:nvPr>
        </p:nvSpPr>
        <p:spPr>
          <a:xfrm>
            <a:off x="4956723" y="1782752"/>
            <a:ext cx="5373688" cy="375899"/>
          </a:xfrm>
        </p:spPr>
        <p:txBody>
          <a:bodyPr lIns="0" rIns="0" numCol="1" anchor="ctr">
            <a:noAutofit/>
          </a:bodyPr>
          <a:lstStyle>
            <a:lvl1pPr marL="9525" indent="0" algn="l">
              <a:lnSpc>
                <a:spcPct val="100000"/>
              </a:lnSpc>
              <a:buNone/>
              <a:tabLst/>
              <a:defRPr sz="1400" b="0" i="0">
                <a:solidFill>
                  <a:srgbClr val="1F2564"/>
                </a:solidFill>
                <a:latin typeface="ASICS Font 3.0" pitchFamily="2" charset="77"/>
              </a:defRPr>
            </a:lvl1pPr>
            <a:lvl2pPr marL="9525" indent="0">
              <a:buNone/>
              <a:tabLst/>
              <a:defRPr sz="900">
                <a:solidFill>
                  <a:srgbClr val="1F2564"/>
                </a:solidFill>
                <a:latin typeface="Helvetica" pitchFamily="2" charset="0"/>
              </a:defRPr>
            </a:lvl2pPr>
            <a:lvl3pPr marL="9525" indent="0">
              <a:buNone/>
              <a:tabLst/>
              <a:defRPr sz="900">
                <a:solidFill>
                  <a:srgbClr val="1F2564"/>
                </a:solidFill>
                <a:latin typeface="Helvetica" pitchFamily="2" charset="0"/>
              </a:defRPr>
            </a:lvl3pPr>
            <a:lvl4pPr marL="9525" indent="0">
              <a:buNone/>
              <a:tabLst/>
              <a:defRPr sz="900">
                <a:solidFill>
                  <a:srgbClr val="1F2564"/>
                </a:solidFill>
                <a:latin typeface="Helvetica" pitchFamily="2" charset="0"/>
              </a:defRPr>
            </a:lvl4pPr>
            <a:lvl5pPr marL="9525" indent="0">
              <a:buNone/>
              <a:tabLst/>
              <a:defRPr sz="900">
                <a:solidFill>
                  <a:srgbClr val="1F2564"/>
                </a:solidFill>
                <a:latin typeface="Helvetica" pitchFamily="2" charset="0"/>
              </a:defRPr>
            </a:lvl5pPr>
          </a:lstStyle>
          <a:p>
            <a:pPr lvl="0"/>
            <a:r>
              <a:rPr lang="en-US" altLang="en-GB"/>
              <a:t>Click to edit Master text styles</a:t>
            </a:r>
          </a:p>
        </p:txBody>
      </p:sp>
      <p:cxnSp>
        <p:nvCxnSpPr>
          <p:cNvPr id="10" name="Straight Connector 9">
            <a:extLst>
              <a:ext uri="{FF2B5EF4-FFF2-40B4-BE49-F238E27FC236}">
                <a16:creationId xmlns:a16="http://schemas.microsoft.com/office/drawing/2014/main" id="{714FA454-1449-5A4C-BA99-D6DFD25245B7}"/>
              </a:ext>
            </a:extLst>
          </p:cNvPr>
          <p:cNvCxnSpPr>
            <a:cxnSpLocks/>
          </p:cNvCxnSpPr>
          <p:nvPr/>
        </p:nvCxnSpPr>
        <p:spPr>
          <a:xfrm>
            <a:off x="3921747" y="1812560"/>
            <a:ext cx="0" cy="3275035"/>
          </a:xfrm>
          <a:prstGeom prst="line">
            <a:avLst/>
          </a:prstGeom>
          <a:ln w="25400">
            <a:solidFill>
              <a:srgbClr val="1F2564"/>
            </a:solidFill>
          </a:ln>
        </p:spPr>
        <p:style>
          <a:lnRef idx="1">
            <a:schemeClr val="accent1"/>
          </a:lnRef>
          <a:fillRef idx="0">
            <a:schemeClr val="accent1"/>
          </a:fillRef>
          <a:effectRef idx="0">
            <a:schemeClr val="accent1"/>
          </a:effectRef>
          <a:fontRef idx="minor">
            <a:schemeClr val="tx1"/>
          </a:fontRef>
        </p:style>
      </p:cxnSp>
      <p:sp>
        <p:nvSpPr>
          <p:cNvPr id="8" name="Content Placeholder 2">
            <a:extLst>
              <a:ext uri="{FF2B5EF4-FFF2-40B4-BE49-F238E27FC236}">
                <a16:creationId xmlns:a16="http://schemas.microsoft.com/office/drawing/2014/main" id="{E214B8AF-2309-E14F-9F24-4242811D5265}"/>
              </a:ext>
            </a:extLst>
          </p:cNvPr>
          <p:cNvSpPr>
            <a:spLocks noGrp="1"/>
          </p:cNvSpPr>
          <p:nvPr>
            <p:ph idx="10"/>
          </p:nvPr>
        </p:nvSpPr>
        <p:spPr>
          <a:xfrm>
            <a:off x="4969564" y="2378550"/>
            <a:ext cx="5373688" cy="375899"/>
          </a:xfrm>
        </p:spPr>
        <p:txBody>
          <a:bodyPr lIns="0" rIns="0" numCol="1" anchor="ctr">
            <a:noAutofit/>
          </a:bodyPr>
          <a:lstStyle>
            <a:lvl1pPr marL="9525" indent="0" algn="l">
              <a:lnSpc>
                <a:spcPct val="100000"/>
              </a:lnSpc>
              <a:buNone/>
              <a:tabLst/>
              <a:defRPr sz="1400" b="0" i="0">
                <a:solidFill>
                  <a:srgbClr val="1F2564"/>
                </a:solidFill>
                <a:latin typeface="ASICS Font 3.0" pitchFamily="2" charset="77"/>
              </a:defRPr>
            </a:lvl1pPr>
            <a:lvl2pPr marL="9525" indent="0">
              <a:buNone/>
              <a:tabLst/>
              <a:defRPr sz="900">
                <a:solidFill>
                  <a:srgbClr val="1F2564"/>
                </a:solidFill>
                <a:latin typeface="Helvetica" pitchFamily="2" charset="0"/>
              </a:defRPr>
            </a:lvl2pPr>
            <a:lvl3pPr marL="9525" indent="0">
              <a:buNone/>
              <a:tabLst/>
              <a:defRPr sz="900">
                <a:solidFill>
                  <a:srgbClr val="1F2564"/>
                </a:solidFill>
                <a:latin typeface="Helvetica" pitchFamily="2" charset="0"/>
              </a:defRPr>
            </a:lvl3pPr>
            <a:lvl4pPr marL="9525" indent="0">
              <a:buNone/>
              <a:tabLst/>
              <a:defRPr sz="900">
                <a:solidFill>
                  <a:srgbClr val="1F2564"/>
                </a:solidFill>
                <a:latin typeface="Helvetica" pitchFamily="2" charset="0"/>
              </a:defRPr>
            </a:lvl4pPr>
            <a:lvl5pPr marL="9525" indent="0">
              <a:buNone/>
              <a:tabLst/>
              <a:defRPr sz="900">
                <a:solidFill>
                  <a:srgbClr val="1F2564"/>
                </a:solidFill>
                <a:latin typeface="Helvetica" pitchFamily="2" charset="0"/>
              </a:defRPr>
            </a:lvl5pPr>
          </a:lstStyle>
          <a:p>
            <a:pPr lvl="0"/>
            <a:r>
              <a:rPr lang="en-US" altLang="en-GB"/>
              <a:t>Click to edit Master text styles</a:t>
            </a:r>
          </a:p>
        </p:txBody>
      </p:sp>
      <p:sp>
        <p:nvSpPr>
          <p:cNvPr id="11" name="Content Placeholder 2">
            <a:extLst>
              <a:ext uri="{FF2B5EF4-FFF2-40B4-BE49-F238E27FC236}">
                <a16:creationId xmlns:a16="http://schemas.microsoft.com/office/drawing/2014/main" id="{D9AA992A-A0A7-0445-A755-6655984A5B3D}"/>
              </a:ext>
            </a:extLst>
          </p:cNvPr>
          <p:cNvSpPr>
            <a:spLocks noGrp="1"/>
          </p:cNvSpPr>
          <p:nvPr>
            <p:ph idx="11"/>
          </p:nvPr>
        </p:nvSpPr>
        <p:spPr>
          <a:xfrm>
            <a:off x="4969564" y="2974348"/>
            <a:ext cx="5373688" cy="375899"/>
          </a:xfrm>
        </p:spPr>
        <p:txBody>
          <a:bodyPr lIns="0" rIns="0" numCol="1" anchor="ctr">
            <a:noAutofit/>
          </a:bodyPr>
          <a:lstStyle>
            <a:lvl1pPr marL="9525" indent="0" algn="l">
              <a:lnSpc>
                <a:spcPct val="100000"/>
              </a:lnSpc>
              <a:buNone/>
              <a:tabLst/>
              <a:defRPr sz="1400" b="0" i="0">
                <a:solidFill>
                  <a:srgbClr val="1F2564"/>
                </a:solidFill>
                <a:latin typeface="ASICS Font 3.0" pitchFamily="2" charset="77"/>
              </a:defRPr>
            </a:lvl1pPr>
            <a:lvl2pPr marL="9525" indent="0">
              <a:buNone/>
              <a:tabLst/>
              <a:defRPr sz="900">
                <a:solidFill>
                  <a:srgbClr val="1F2564"/>
                </a:solidFill>
                <a:latin typeface="Helvetica" pitchFamily="2" charset="0"/>
              </a:defRPr>
            </a:lvl2pPr>
            <a:lvl3pPr marL="9525" indent="0">
              <a:buNone/>
              <a:tabLst/>
              <a:defRPr sz="900">
                <a:solidFill>
                  <a:srgbClr val="1F2564"/>
                </a:solidFill>
                <a:latin typeface="Helvetica" pitchFamily="2" charset="0"/>
              </a:defRPr>
            </a:lvl3pPr>
            <a:lvl4pPr marL="9525" indent="0">
              <a:buNone/>
              <a:tabLst/>
              <a:defRPr sz="900">
                <a:solidFill>
                  <a:srgbClr val="1F2564"/>
                </a:solidFill>
                <a:latin typeface="Helvetica" pitchFamily="2" charset="0"/>
              </a:defRPr>
            </a:lvl4pPr>
            <a:lvl5pPr marL="9525" indent="0">
              <a:buNone/>
              <a:tabLst/>
              <a:defRPr sz="900">
                <a:solidFill>
                  <a:srgbClr val="1F2564"/>
                </a:solidFill>
                <a:latin typeface="Helvetica" pitchFamily="2" charset="0"/>
              </a:defRPr>
            </a:lvl5pPr>
          </a:lstStyle>
          <a:p>
            <a:pPr lvl="0"/>
            <a:r>
              <a:rPr lang="en-US" altLang="en-GB"/>
              <a:t>Click to edit Master text styles</a:t>
            </a:r>
          </a:p>
        </p:txBody>
      </p:sp>
      <p:sp>
        <p:nvSpPr>
          <p:cNvPr id="14" name="Content Placeholder 2">
            <a:extLst>
              <a:ext uri="{FF2B5EF4-FFF2-40B4-BE49-F238E27FC236}">
                <a16:creationId xmlns:a16="http://schemas.microsoft.com/office/drawing/2014/main" id="{AA9B05E7-3AC4-A94F-A81D-90B2949B971F}"/>
              </a:ext>
            </a:extLst>
          </p:cNvPr>
          <p:cNvSpPr>
            <a:spLocks noGrp="1"/>
          </p:cNvSpPr>
          <p:nvPr>
            <p:ph idx="12"/>
          </p:nvPr>
        </p:nvSpPr>
        <p:spPr>
          <a:xfrm>
            <a:off x="4969564" y="3570146"/>
            <a:ext cx="5373688" cy="375899"/>
          </a:xfrm>
        </p:spPr>
        <p:txBody>
          <a:bodyPr lIns="0" rIns="0" numCol="1" anchor="ctr">
            <a:noAutofit/>
          </a:bodyPr>
          <a:lstStyle>
            <a:lvl1pPr marL="9525" indent="0" algn="l">
              <a:lnSpc>
                <a:spcPct val="100000"/>
              </a:lnSpc>
              <a:buNone/>
              <a:tabLst/>
              <a:defRPr sz="1400" b="0" i="0">
                <a:solidFill>
                  <a:srgbClr val="1F2564"/>
                </a:solidFill>
                <a:latin typeface="ASICS Font 3.0" pitchFamily="2" charset="77"/>
              </a:defRPr>
            </a:lvl1pPr>
            <a:lvl2pPr marL="9525" indent="0">
              <a:buNone/>
              <a:tabLst/>
              <a:defRPr sz="900">
                <a:solidFill>
                  <a:srgbClr val="1F2564"/>
                </a:solidFill>
                <a:latin typeface="Helvetica" pitchFamily="2" charset="0"/>
              </a:defRPr>
            </a:lvl2pPr>
            <a:lvl3pPr marL="9525" indent="0">
              <a:buNone/>
              <a:tabLst/>
              <a:defRPr sz="900">
                <a:solidFill>
                  <a:srgbClr val="1F2564"/>
                </a:solidFill>
                <a:latin typeface="Helvetica" pitchFamily="2" charset="0"/>
              </a:defRPr>
            </a:lvl3pPr>
            <a:lvl4pPr marL="9525" indent="0">
              <a:buNone/>
              <a:tabLst/>
              <a:defRPr sz="900">
                <a:solidFill>
                  <a:srgbClr val="1F2564"/>
                </a:solidFill>
                <a:latin typeface="Helvetica" pitchFamily="2" charset="0"/>
              </a:defRPr>
            </a:lvl4pPr>
            <a:lvl5pPr marL="9525" indent="0">
              <a:buNone/>
              <a:tabLst/>
              <a:defRPr sz="900">
                <a:solidFill>
                  <a:srgbClr val="1F2564"/>
                </a:solidFill>
                <a:latin typeface="Helvetica" pitchFamily="2" charset="0"/>
              </a:defRPr>
            </a:lvl5pPr>
          </a:lstStyle>
          <a:p>
            <a:pPr lvl="0"/>
            <a:r>
              <a:rPr lang="en-US" altLang="en-GB"/>
              <a:t>Click to edit Master text styles</a:t>
            </a:r>
          </a:p>
        </p:txBody>
      </p:sp>
      <p:sp>
        <p:nvSpPr>
          <p:cNvPr id="17" name="Content Placeholder 2">
            <a:extLst>
              <a:ext uri="{FF2B5EF4-FFF2-40B4-BE49-F238E27FC236}">
                <a16:creationId xmlns:a16="http://schemas.microsoft.com/office/drawing/2014/main" id="{81DADB44-5889-E949-99AB-63EE7D8E2705}"/>
              </a:ext>
            </a:extLst>
          </p:cNvPr>
          <p:cNvSpPr>
            <a:spLocks noGrp="1"/>
          </p:cNvSpPr>
          <p:nvPr>
            <p:ph idx="13"/>
          </p:nvPr>
        </p:nvSpPr>
        <p:spPr>
          <a:xfrm>
            <a:off x="4969564" y="4165944"/>
            <a:ext cx="5373688" cy="375899"/>
          </a:xfrm>
        </p:spPr>
        <p:txBody>
          <a:bodyPr lIns="0" rIns="0" numCol="1" anchor="ctr">
            <a:noAutofit/>
          </a:bodyPr>
          <a:lstStyle>
            <a:lvl1pPr marL="9525" indent="0" algn="l">
              <a:lnSpc>
                <a:spcPct val="100000"/>
              </a:lnSpc>
              <a:buNone/>
              <a:tabLst/>
              <a:defRPr sz="1400" b="0" i="0">
                <a:solidFill>
                  <a:srgbClr val="1F2564"/>
                </a:solidFill>
                <a:latin typeface="ASICS Font 3.0" pitchFamily="2" charset="77"/>
              </a:defRPr>
            </a:lvl1pPr>
            <a:lvl2pPr marL="9525" indent="0">
              <a:buNone/>
              <a:tabLst/>
              <a:defRPr sz="900">
                <a:solidFill>
                  <a:srgbClr val="1F2564"/>
                </a:solidFill>
                <a:latin typeface="Helvetica" pitchFamily="2" charset="0"/>
              </a:defRPr>
            </a:lvl2pPr>
            <a:lvl3pPr marL="9525" indent="0">
              <a:buNone/>
              <a:tabLst/>
              <a:defRPr sz="900">
                <a:solidFill>
                  <a:srgbClr val="1F2564"/>
                </a:solidFill>
                <a:latin typeface="Helvetica" pitchFamily="2" charset="0"/>
              </a:defRPr>
            </a:lvl3pPr>
            <a:lvl4pPr marL="9525" indent="0">
              <a:buNone/>
              <a:tabLst/>
              <a:defRPr sz="900">
                <a:solidFill>
                  <a:srgbClr val="1F2564"/>
                </a:solidFill>
                <a:latin typeface="Helvetica" pitchFamily="2" charset="0"/>
              </a:defRPr>
            </a:lvl4pPr>
            <a:lvl5pPr marL="9525" indent="0">
              <a:buNone/>
              <a:tabLst/>
              <a:defRPr sz="900">
                <a:solidFill>
                  <a:srgbClr val="1F2564"/>
                </a:solidFill>
                <a:latin typeface="Helvetica" pitchFamily="2" charset="0"/>
              </a:defRPr>
            </a:lvl5pPr>
          </a:lstStyle>
          <a:p>
            <a:pPr lvl="0"/>
            <a:r>
              <a:rPr lang="en-US" altLang="en-GB"/>
              <a:t>Click to edit Master text styles</a:t>
            </a:r>
          </a:p>
        </p:txBody>
      </p:sp>
      <p:sp>
        <p:nvSpPr>
          <p:cNvPr id="20" name="Text Placeholder 4">
            <a:extLst>
              <a:ext uri="{FF2B5EF4-FFF2-40B4-BE49-F238E27FC236}">
                <a16:creationId xmlns:a16="http://schemas.microsoft.com/office/drawing/2014/main" id="{041B3739-6823-3242-8B1B-DD73456D88A7}"/>
              </a:ext>
            </a:extLst>
          </p:cNvPr>
          <p:cNvSpPr>
            <a:spLocks noGrp="1"/>
          </p:cNvSpPr>
          <p:nvPr>
            <p:ph type="body" sz="quarter" idx="17" hasCustomPrompt="1"/>
          </p:nvPr>
        </p:nvSpPr>
        <p:spPr>
          <a:xfrm>
            <a:off x="4178354" y="4763650"/>
            <a:ext cx="610802" cy="375899"/>
          </a:xfrm>
        </p:spPr>
        <p:txBody>
          <a:bodyPr vert="horz" lIns="91440" tIns="45720" rIns="0" bIns="45720" numCol="1" rtlCol="0" anchor="ctr">
            <a:noAutofit/>
          </a:bodyPr>
          <a:lstStyle>
            <a:lvl1pPr algn="ctr">
              <a:lnSpc>
                <a:spcPct val="100000"/>
              </a:lnSpc>
              <a:defRPr lang="en-GB" altLang="en-GB" sz="2400" b="0" i="0" spc="300" smtClean="0">
                <a:solidFill>
                  <a:srgbClr val="001E62"/>
                </a:solidFill>
                <a:latin typeface="ASICS Font 3.0" pitchFamily="2" charset="77"/>
                <a:ea typeface="+mj-ea"/>
                <a:cs typeface="+mj-cs"/>
              </a:defRPr>
            </a:lvl1pPr>
            <a:lvl2pPr>
              <a:defRPr lang="en-GB" altLang="en-GB" smtClean="0"/>
            </a:lvl2pPr>
            <a:lvl3pPr>
              <a:defRPr lang="en-GB" altLang="en-GB" smtClean="0"/>
            </a:lvl3pPr>
            <a:lvl4pPr>
              <a:defRPr lang="en-GB" altLang="en-GB" smtClean="0"/>
            </a:lvl4pPr>
            <a:lvl5pPr>
              <a:defRPr lang="en-GB" altLang="en-GB"/>
            </a:lvl5pPr>
          </a:lstStyle>
          <a:p>
            <a:pPr lvl="0" algn="r">
              <a:lnSpc>
                <a:spcPct val="130000"/>
              </a:lnSpc>
              <a:spcBef>
                <a:spcPct val="0"/>
              </a:spcBef>
            </a:pPr>
            <a:r>
              <a:rPr lang="en-GB" altLang="en-GB"/>
              <a:t>#</a:t>
            </a:r>
          </a:p>
        </p:txBody>
      </p:sp>
      <p:sp>
        <p:nvSpPr>
          <p:cNvPr id="21" name="TextBox 20">
            <a:extLst>
              <a:ext uri="{FF2B5EF4-FFF2-40B4-BE49-F238E27FC236}">
                <a16:creationId xmlns:a16="http://schemas.microsoft.com/office/drawing/2014/main" id="{AA4A3214-32C8-6B4E-87E4-A36B3A38018F}"/>
              </a:ext>
            </a:extLst>
          </p:cNvPr>
          <p:cNvSpPr txBox="1"/>
          <p:nvPr/>
        </p:nvSpPr>
        <p:spPr>
          <a:xfrm rot="16200000">
            <a:off x="1556516" y="3276425"/>
            <a:ext cx="3840480" cy="500129"/>
          </a:xfrm>
          <a:prstGeom prst="rect">
            <a:avLst/>
          </a:prstGeom>
        </p:spPr>
        <p:txBody>
          <a:bodyPr vert="vert" lIns="91440" tIns="45720" rIns="0" bIns="45720" numCol="1" rtlCol="0" anchor="t">
            <a:normAutofit/>
          </a:bodyPr>
          <a:lstStyle>
            <a:lvl1pPr>
              <a:lnSpc>
                <a:spcPct val="90000"/>
              </a:lnSpc>
              <a:spcBef>
                <a:spcPct val="0"/>
              </a:spcBef>
              <a:buNone/>
              <a:defRPr lang="en-GB" altLang="en-GB" sz="3600" b="0" i="0" spc="300" dirty="0" smtClean="0">
                <a:solidFill>
                  <a:srgbClr val="F04C32"/>
                </a:solidFill>
                <a:latin typeface="ASICS" pitchFamily="2" charset="77"/>
                <a:ea typeface="+mj-ea"/>
                <a:cs typeface="+mj-cs"/>
              </a:defRPr>
            </a:lvl1pPr>
          </a:lstStyle>
          <a:p>
            <a:pPr marL="0" marR="0" lvl="0" indent="0" algn="ctr" defTabSz="914400" rtl="0" eaLnBrk="1" fontAlgn="auto" latinLnBrk="0" hangingPunct="1">
              <a:lnSpc>
                <a:spcPct val="140000"/>
              </a:lnSpc>
              <a:spcBef>
                <a:spcPct val="0"/>
              </a:spcBef>
              <a:spcAft>
                <a:spcPts val="0"/>
              </a:spcAft>
              <a:buClrTx/>
              <a:buSzTx/>
              <a:buFontTx/>
              <a:buNone/>
              <a:tabLst/>
              <a:defRPr/>
            </a:pPr>
            <a:r>
              <a:rPr kumimoji="0" lang="en-GB" altLang="en-GB" sz="2800" b="0" i="0" u="none" strike="noStrike" kern="1200" cap="none" spc="600" normalizeH="0" baseline="0" noProof="0">
                <a:ln>
                  <a:noFill/>
                </a:ln>
                <a:solidFill>
                  <a:srgbClr val="1F2564"/>
                </a:solidFill>
                <a:effectLst/>
                <a:uLnTx/>
                <a:uFillTx/>
                <a:latin typeface="ASICS Font 3.0" pitchFamily="2" charset="77"/>
                <a:ea typeface="+mj-ea"/>
                <a:cs typeface="+mj-cs"/>
              </a:rPr>
              <a:t>AGENDA</a:t>
            </a:r>
          </a:p>
        </p:txBody>
      </p:sp>
      <p:sp>
        <p:nvSpPr>
          <p:cNvPr id="33" name="Text Placeholder 4">
            <a:extLst>
              <a:ext uri="{FF2B5EF4-FFF2-40B4-BE49-F238E27FC236}">
                <a16:creationId xmlns:a16="http://schemas.microsoft.com/office/drawing/2014/main" id="{0CBA2BEC-6886-8E4C-9FCA-A0D634DC317A}"/>
              </a:ext>
            </a:extLst>
          </p:cNvPr>
          <p:cNvSpPr>
            <a:spLocks noGrp="1"/>
          </p:cNvSpPr>
          <p:nvPr>
            <p:ph type="body" sz="quarter" idx="19" hasCustomPrompt="1"/>
          </p:nvPr>
        </p:nvSpPr>
        <p:spPr>
          <a:xfrm>
            <a:off x="4178354" y="4167199"/>
            <a:ext cx="610802" cy="375899"/>
          </a:xfrm>
        </p:spPr>
        <p:txBody>
          <a:bodyPr vert="horz" lIns="91440" tIns="45720" rIns="0" bIns="45720" numCol="1" rtlCol="0" anchor="ctr">
            <a:noAutofit/>
          </a:bodyPr>
          <a:lstStyle>
            <a:lvl1pPr algn="ctr">
              <a:lnSpc>
                <a:spcPct val="100000"/>
              </a:lnSpc>
              <a:defRPr lang="en-GB" altLang="en-GB" sz="2400" b="0" i="0" spc="300" smtClean="0">
                <a:solidFill>
                  <a:srgbClr val="001E62"/>
                </a:solidFill>
                <a:latin typeface="ASICS Font 3.0" pitchFamily="2" charset="77"/>
                <a:ea typeface="+mj-ea"/>
                <a:cs typeface="+mj-cs"/>
              </a:defRPr>
            </a:lvl1pPr>
            <a:lvl2pPr>
              <a:defRPr lang="en-GB" altLang="en-GB" smtClean="0"/>
            </a:lvl2pPr>
            <a:lvl3pPr>
              <a:defRPr lang="en-GB" altLang="en-GB" smtClean="0"/>
            </a:lvl3pPr>
            <a:lvl4pPr>
              <a:defRPr lang="en-GB" altLang="en-GB" smtClean="0"/>
            </a:lvl4pPr>
            <a:lvl5pPr>
              <a:defRPr lang="en-GB" altLang="en-GB"/>
            </a:lvl5pPr>
          </a:lstStyle>
          <a:p>
            <a:pPr lvl="0" algn="r">
              <a:lnSpc>
                <a:spcPct val="130000"/>
              </a:lnSpc>
              <a:spcBef>
                <a:spcPct val="0"/>
              </a:spcBef>
            </a:pPr>
            <a:r>
              <a:rPr lang="en-GB" altLang="en-GB"/>
              <a:t>#</a:t>
            </a:r>
          </a:p>
        </p:txBody>
      </p:sp>
      <p:sp>
        <p:nvSpPr>
          <p:cNvPr id="34" name="Content Placeholder 2">
            <a:extLst>
              <a:ext uri="{FF2B5EF4-FFF2-40B4-BE49-F238E27FC236}">
                <a16:creationId xmlns:a16="http://schemas.microsoft.com/office/drawing/2014/main" id="{6E32CEEB-FBE5-B04E-8638-16CDC216C248}"/>
              </a:ext>
            </a:extLst>
          </p:cNvPr>
          <p:cNvSpPr>
            <a:spLocks noGrp="1"/>
          </p:cNvSpPr>
          <p:nvPr>
            <p:ph idx="20"/>
          </p:nvPr>
        </p:nvSpPr>
        <p:spPr>
          <a:xfrm>
            <a:off x="4969564" y="4761743"/>
            <a:ext cx="5373688" cy="375899"/>
          </a:xfrm>
        </p:spPr>
        <p:txBody>
          <a:bodyPr lIns="0" rIns="0" numCol="1" anchor="ctr">
            <a:noAutofit/>
          </a:bodyPr>
          <a:lstStyle>
            <a:lvl1pPr marL="9525" indent="0" algn="l">
              <a:lnSpc>
                <a:spcPct val="100000"/>
              </a:lnSpc>
              <a:buNone/>
              <a:tabLst/>
              <a:defRPr sz="1400" b="0" i="0">
                <a:solidFill>
                  <a:srgbClr val="1F2564"/>
                </a:solidFill>
                <a:latin typeface="ASICS Font 3.0" pitchFamily="2" charset="77"/>
              </a:defRPr>
            </a:lvl1pPr>
            <a:lvl2pPr marL="9525" indent="0">
              <a:buNone/>
              <a:tabLst/>
              <a:defRPr sz="900">
                <a:solidFill>
                  <a:srgbClr val="1F2564"/>
                </a:solidFill>
                <a:latin typeface="Helvetica" pitchFamily="2" charset="0"/>
              </a:defRPr>
            </a:lvl2pPr>
            <a:lvl3pPr marL="9525" indent="0">
              <a:buNone/>
              <a:tabLst/>
              <a:defRPr sz="900">
                <a:solidFill>
                  <a:srgbClr val="1F2564"/>
                </a:solidFill>
                <a:latin typeface="Helvetica" pitchFamily="2" charset="0"/>
              </a:defRPr>
            </a:lvl3pPr>
            <a:lvl4pPr marL="9525" indent="0">
              <a:buNone/>
              <a:tabLst/>
              <a:defRPr sz="900">
                <a:solidFill>
                  <a:srgbClr val="1F2564"/>
                </a:solidFill>
                <a:latin typeface="Helvetica" pitchFamily="2" charset="0"/>
              </a:defRPr>
            </a:lvl4pPr>
            <a:lvl5pPr marL="9525" indent="0">
              <a:buNone/>
              <a:tabLst/>
              <a:defRPr sz="900">
                <a:solidFill>
                  <a:srgbClr val="1F2564"/>
                </a:solidFill>
                <a:latin typeface="Helvetica" pitchFamily="2" charset="0"/>
              </a:defRPr>
            </a:lvl5pPr>
          </a:lstStyle>
          <a:p>
            <a:pPr lvl="0"/>
            <a:r>
              <a:rPr lang="en-US" altLang="en-GB"/>
              <a:t>Click to edit Master text styles</a:t>
            </a:r>
          </a:p>
        </p:txBody>
      </p:sp>
      <p:sp>
        <p:nvSpPr>
          <p:cNvPr id="35" name="Text Placeholder 4">
            <a:extLst>
              <a:ext uri="{FF2B5EF4-FFF2-40B4-BE49-F238E27FC236}">
                <a16:creationId xmlns:a16="http://schemas.microsoft.com/office/drawing/2014/main" id="{6FBEFA28-ADE5-1C40-97E0-4E73C68E0EE9}"/>
              </a:ext>
            </a:extLst>
          </p:cNvPr>
          <p:cNvSpPr>
            <a:spLocks noGrp="1"/>
          </p:cNvSpPr>
          <p:nvPr>
            <p:ph type="body" sz="quarter" idx="21" hasCustomPrompt="1"/>
          </p:nvPr>
        </p:nvSpPr>
        <p:spPr>
          <a:xfrm>
            <a:off x="4178354" y="3570746"/>
            <a:ext cx="610802" cy="375899"/>
          </a:xfrm>
        </p:spPr>
        <p:txBody>
          <a:bodyPr vert="horz" lIns="91440" tIns="45720" rIns="0" bIns="45720" numCol="1" rtlCol="0" anchor="ctr">
            <a:noAutofit/>
          </a:bodyPr>
          <a:lstStyle>
            <a:lvl1pPr algn="ctr">
              <a:lnSpc>
                <a:spcPct val="100000"/>
              </a:lnSpc>
              <a:defRPr lang="en-GB" altLang="en-GB" sz="2400" b="0" i="0" spc="300" smtClean="0">
                <a:solidFill>
                  <a:srgbClr val="001E62"/>
                </a:solidFill>
                <a:latin typeface="ASICS Font 3.0" pitchFamily="2" charset="77"/>
                <a:ea typeface="+mj-ea"/>
                <a:cs typeface="+mj-cs"/>
              </a:defRPr>
            </a:lvl1pPr>
            <a:lvl2pPr>
              <a:defRPr lang="en-GB" altLang="en-GB" smtClean="0"/>
            </a:lvl2pPr>
            <a:lvl3pPr>
              <a:defRPr lang="en-GB" altLang="en-GB" smtClean="0"/>
            </a:lvl3pPr>
            <a:lvl4pPr>
              <a:defRPr lang="en-GB" altLang="en-GB" smtClean="0"/>
            </a:lvl4pPr>
            <a:lvl5pPr>
              <a:defRPr lang="en-GB" altLang="en-GB"/>
            </a:lvl5pPr>
          </a:lstStyle>
          <a:p>
            <a:pPr lvl="0" algn="r">
              <a:lnSpc>
                <a:spcPct val="130000"/>
              </a:lnSpc>
              <a:spcBef>
                <a:spcPct val="0"/>
              </a:spcBef>
            </a:pPr>
            <a:r>
              <a:rPr lang="en-GB" altLang="en-GB"/>
              <a:t>#</a:t>
            </a:r>
          </a:p>
        </p:txBody>
      </p:sp>
      <p:sp>
        <p:nvSpPr>
          <p:cNvPr id="36" name="Text Placeholder 4">
            <a:extLst>
              <a:ext uri="{FF2B5EF4-FFF2-40B4-BE49-F238E27FC236}">
                <a16:creationId xmlns:a16="http://schemas.microsoft.com/office/drawing/2014/main" id="{B1AF9B46-C3D0-E74F-B5B3-D7748A62AD6C}"/>
              </a:ext>
            </a:extLst>
          </p:cNvPr>
          <p:cNvSpPr>
            <a:spLocks noGrp="1"/>
          </p:cNvSpPr>
          <p:nvPr>
            <p:ph type="body" sz="quarter" idx="22" hasCustomPrompt="1"/>
          </p:nvPr>
        </p:nvSpPr>
        <p:spPr>
          <a:xfrm>
            <a:off x="4178354" y="2974293"/>
            <a:ext cx="610802" cy="375899"/>
          </a:xfrm>
        </p:spPr>
        <p:txBody>
          <a:bodyPr vert="horz" lIns="91440" tIns="45720" rIns="0" bIns="45720" numCol="1" rtlCol="0" anchor="ctr">
            <a:noAutofit/>
          </a:bodyPr>
          <a:lstStyle>
            <a:lvl1pPr algn="ctr">
              <a:lnSpc>
                <a:spcPct val="100000"/>
              </a:lnSpc>
              <a:defRPr lang="en-GB" altLang="en-GB" sz="2400" b="0" i="0" spc="300" smtClean="0">
                <a:solidFill>
                  <a:srgbClr val="001E62"/>
                </a:solidFill>
                <a:latin typeface="ASICS Font 3.0" pitchFamily="2" charset="77"/>
                <a:ea typeface="+mj-ea"/>
                <a:cs typeface="+mj-cs"/>
              </a:defRPr>
            </a:lvl1pPr>
            <a:lvl2pPr>
              <a:defRPr lang="en-GB" altLang="en-GB" smtClean="0"/>
            </a:lvl2pPr>
            <a:lvl3pPr>
              <a:defRPr lang="en-GB" altLang="en-GB" smtClean="0"/>
            </a:lvl3pPr>
            <a:lvl4pPr>
              <a:defRPr lang="en-GB" altLang="en-GB" smtClean="0"/>
            </a:lvl4pPr>
            <a:lvl5pPr>
              <a:defRPr lang="en-GB" altLang="en-GB"/>
            </a:lvl5pPr>
          </a:lstStyle>
          <a:p>
            <a:pPr lvl="0" algn="r">
              <a:lnSpc>
                <a:spcPct val="130000"/>
              </a:lnSpc>
              <a:spcBef>
                <a:spcPct val="0"/>
              </a:spcBef>
            </a:pPr>
            <a:r>
              <a:rPr lang="en-GB" altLang="en-GB"/>
              <a:t>#</a:t>
            </a:r>
          </a:p>
        </p:txBody>
      </p:sp>
      <p:sp>
        <p:nvSpPr>
          <p:cNvPr id="37" name="Text Placeholder 4">
            <a:extLst>
              <a:ext uri="{FF2B5EF4-FFF2-40B4-BE49-F238E27FC236}">
                <a16:creationId xmlns:a16="http://schemas.microsoft.com/office/drawing/2014/main" id="{7917F914-A1B5-854C-B322-BD0C5F42436D}"/>
              </a:ext>
            </a:extLst>
          </p:cNvPr>
          <p:cNvSpPr>
            <a:spLocks noGrp="1"/>
          </p:cNvSpPr>
          <p:nvPr>
            <p:ph type="body" sz="quarter" idx="23" hasCustomPrompt="1"/>
          </p:nvPr>
        </p:nvSpPr>
        <p:spPr>
          <a:xfrm>
            <a:off x="4178354" y="2377840"/>
            <a:ext cx="610802" cy="375899"/>
          </a:xfrm>
        </p:spPr>
        <p:txBody>
          <a:bodyPr vert="horz" lIns="91440" tIns="45720" rIns="0" bIns="45720" numCol="1" rtlCol="0" anchor="ctr">
            <a:noAutofit/>
          </a:bodyPr>
          <a:lstStyle>
            <a:lvl1pPr algn="ctr">
              <a:lnSpc>
                <a:spcPct val="100000"/>
              </a:lnSpc>
              <a:defRPr lang="en-GB" altLang="en-GB" sz="2400" b="0" i="0" spc="300" smtClean="0">
                <a:solidFill>
                  <a:srgbClr val="001E62"/>
                </a:solidFill>
                <a:latin typeface="ASICS Font 3.0" pitchFamily="2" charset="77"/>
                <a:ea typeface="+mj-ea"/>
                <a:cs typeface="+mj-cs"/>
              </a:defRPr>
            </a:lvl1pPr>
            <a:lvl2pPr>
              <a:defRPr lang="en-GB" altLang="en-GB" smtClean="0"/>
            </a:lvl2pPr>
            <a:lvl3pPr>
              <a:defRPr lang="en-GB" altLang="en-GB" smtClean="0"/>
            </a:lvl3pPr>
            <a:lvl4pPr>
              <a:defRPr lang="en-GB" altLang="en-GB" smtClean="0"/>
            </a:lvl4pPr>
            <a:lvl5pPr>
              <a:defRPr lang="en-GB" altLang="en-GB"/>
            </a:lvl5pPr>
          </a:lstStyle>
          <a:p>
            <a:pPr lvl="0" algn="r">
              <a:lnSpc>
                <a:spcPct val="130000"/>
              </a:lnSpc>
              <a:spcBef>
                <a:spcPct val="0"/>
              </a:spcBef>
            </a:pPr>
            <a:r>
              <a:rPr lang="en-GB" altLang="en-GB"/>
              <a:t>#</a:t>
            </a:r>
          </a:p>
        </p:txBody>
      </p:sp>
      <p:sp>
        <p:nvSpPr>
          <p:cNvPr id="38" name="Text Placeholder 4">
            <a:extLst>
              <a:ext uri="{FF2B5EF4-FFF2-40B4-BE49-F238E27FC236}">
                <a16:creationId xmlns:a16="http://schemas.microsoft.com/office/drawing/2014/main" id="{4E370797-1594-D44A-95E3-0D260C9F9199}"/>
              </a:ext>
            </a:extLst>
          </p:cNvPr>
          <p:cNvSpPr>
            <a:spLocks noGrp="1"/>
          </p:cNvSpPr>
          <p:nvPr>
            <p:ph type="body" sz="quarter" idx="24" hasCustomPrompt="1"/>
          </p:nvPr>
        </p:nvSpPr>
        <p:spPr>
          <a:xfrm>
            <a:off x="4178354" y="1781387"/>
            <a:ext cx="610802" cy="375899"/>
          </a:xfrm>
        </p:spPr>
        <p:txBody>
          <a:bodyPr vert="horz" lIns="91440" tIns="45720" rIns="0" bIns="45720" numCol="1" rtlCol="0" anchor="ctr">
            <a:noAutofit/>
          </a:bodyPr>
          <a:lstStyle>
            <a:lvl1pPr algn="ctr">
              <a:lnSpc>
                <a:spcPct val="100000"/>
              </a:lnSpc>
              <a:defRPr lang="en-GB" altLang="en-GB" sz="2400" b="0" i="0" spc="300" smtClean="0">
                <a:solidFill>
                  <a:srgbClr val="001E62"/>
                </a:solidFill>
                <a:latin typeface="ASICS Font 3.0" pitchFamily="2" charset="77"/>
                <a:ea typeface="+mj-ea"/>
                <a:cs typeface="+mj-cs"/>
              </a:defRPr>
            </a:lvl1pPr>
            <a:lvl2pPr>
              <a:defRPr lang="en-GB" altLang="en-GB" smtClean="0"/>
            </a:lvl2pPr>
            <a:lvl3pPr>
              <a:defRPr lang="en-GB" altLang="en-GB" smtClean="0"/>
            </a:lvl3pPr>
            <a:lvl4pPr>
              <a:defRPr lang="en-GB" altLang="en-GB" smtClean="0"/>
            </a:lvl4pPr>
            <a:lvl5pPr>
              <a:defRPr lang="en-GB" altLang="en-GB"/>
            </a:lvl5pPr>
          </a:lstStyle>
          <a:p>
            <a:pPr lvl="0" algn="r">
              <a:lnSpc>
                <a:spcPct val="130000"/>
              </a:lnSpc>
              <a:spcBef>
                <a:spcPct val="0"/>
              </a:spcBef>
            </a:pPr>
            <a:r>
              <a:rPr lang="en-GB" altLang="en-GB"/>
              <a:t>#</a:t>
            </a:r>
          </a:p>
        </p:txBody>
      </p:sp>
      <p:sp>
        <p:nvSpPr>
          <p:cNvPr id="16" name="Slide Number Placeholder 1">
            <a:extLst>
              <a:ext uri="{FF2B5EF4-FFF2-40B4-BE49-F238E27FC236}">
                <a16:creationId xmlns:a16="http://schemas.microsoft.com/office/drawing/2014/main" id="{AC1D41A5-F5E0-164B-8D8C-5DE1F5562A36}"/>
              </a:ext>
            </a:extLst>
          </p:cNvPr>
          <p:cNvSpPr>
            <a:spLocks noGrp="1"/>
          </p:cNvSpPr>
          <p:nvPr>
            <p:ph type="sldNum" sz="quarter" idx="25"/>
          </p:nvPr>
        </p:nvSpPr>
        <p:spPr>
          <a:xfrm>
            <a:off x="11080548" y="244864"/>
            <a:ext cx="753833"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C6782-A7C1-AE43-BED6-519E5FEDBE2C}" type="slidenum">
              <a:rPr kumimoji="0" lang="en-US" sz="1200" b="0" i="0" u="none" strike="noStrike" kern="1200" cap="none" spc="0" normalizeH="0" baseline="0" noProof="0" smtClean="0">
                <a:ln>
                  <a:noFill/>
                </a:ln>
                <a:solidFill>
                  <a:srgbClr val="001E61"/>
                </a:solidFill>
                <a:effectLst/>
                <a:uLnTx/>
                <a:uFillTx/>
                <a:latin typeface="ASICS Font 3.0"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1E61"/>
              </a:solidFill>
              <a:effectLst/>
              <a:uLnTx/>
              <a:uFillTx/>
              <a:latin typeface="ASICS Font 3.0" pitchFamily="2" charset="77"/>
              <a:ea typeface="+mn-ea"/>
              <a:cs typeface="+mn-cs"/>
            </a:endParaRPr>
          </a:p>
        </p:txBody>
      </p:sp>
    </p:spTree>
    <p:extLst>
      <p:ext uri="{BB962C8B-B14F-4D97-AF65-F5344CB8AC3E}">
        <p14:creationId xmlns:p14="http://schemas.microsoft.com/office/powerpoint/2010/main" val="41829291"/>
      </p:ext>
    </p:extLst>
  </p:cSld>
  <p:clrMapOvr>
    <a:masterClrMapping/>
  </p:clrMapOvr>
  <p:extLst>
    <p:ext uri="{DCECCB84-F9BA-43D5-87BE-67443E8EF086}">
      <p15:sldGuideLst xmlns:p15="http://schemas.microsoft.com/office/powerpoint/2012/main">
        <p15:guide id="5" pos="3840">
          <p15:clr>
            <a:srgbClr val="FBAE40"/>
          </p15:clr>
        </p15:guide>
        <p15:guide id="6" pos="5518">
          <p15:clr>
            <a:srgbClr val="FBAE40"/>
          </p15:clr>
        </p15:guide>
        <p15:guide id="7" pos="213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Header w/ picture – gre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913A7-1BD1-134A-BB0E-3D76124E4C6C}"/>
              </a:ext>
            </a:extLst>
          </p:cNvPr>
          <p:cNvSpPr>
            <a:spLocks noGrp="1"/>
          </p:cNvSpPr>
          <p:nvPr>
            <p:ph type="title"/>
          </p:nvPr>
        </p:nvSpPr>
        <p:spPr>
          <a:xfrm>
            <a:off x="5923312" y="2505074"/>
            <a:ext cx="6513843" cy="2852737"/>
          </a:xfrm>
        </p:spPr>
        <p:txBody>
          <a:bodyPr vert="horz" lIns="91440" tIns="45720" rIns="0" bIns="45720" rtlCol="0" anchor="t">
            <a:noAutofit/>
          </a:bodyPr>
          <a:lstStyle>
            <a:lvl1pPr>
              <a:lnSpc>
                <a:spcPct val="100000"/>
              </a:lnSpc>
              <a:defRPr lang="en-GB" sz="3600" b="1" i="0" dirty="0">
                <a:solidFill>
                  <a:sysClr val="windowText" lastClr="000000"/>
                </a:solidFill>
                <a:latin typeface="ASICS Font 3.0" pitchFamily="2" charset="77"/>
              </a:defRPr>
            </a:lvl1pPr>
          </a:lstStyle>
          <a:p>
            <a:pPr lvl="0"/>
            <a:r>
              <a:rPr lang="en-US"/>
              <a:t>Click to edit Master title style</a:t>
            </a:r>
            <a:endParaRPr lang="en-GB"/>
          </a:p>
        </p:txBody>
      </p:sp>
      <p:sp>
        <p:nvSpPr>
          <p:cNvPr id="3" name="Text Placeholder 2">
            <a:extLst>
              <a:ext uri="{FF2B5EF4-FFF2-40B4-BE49-F238E27FC236}">
                <a16:creationId xmlns:a16="http://schemas.microsoft.com/office/drawing/2014/main" id="{A70D6666-4C91-7B41-9288-855571FA41D4}"/>
              </a:ext>
            </a:extLst>
          </p:cNvPr>
          <p:cNvSpPr>
            <a:spLocks noGrp="1"/>
          </p:cNvSpPr>
          <p:nvPr>
            <p:ph type="body" idx="1"/>
          </p:nvPr>
        </p:nvSpPr>
        <p:spPr>
          <a:xfrm>
            <a:off x="5923312" y="3931442"/>
            <a:ext cx="9803659" cy="1500187"/>
          </a:xfrm>
        </p:spPr>
        <p:txBody>
          <a:bodyPr vert="horz" lIns="91440" tIns="45720" rIns="91440" bIns="45720" rtlCol="0">
            <a:normAutofit/>
          </a:bodyPr>
          <a:lstStyle>
            <a:lvl1pPr>
              <a:lnSpc>
                <a:spcPct val="100000"/>
              </a:lnSpc>
              <a:defRPr lang="en-GB" sz="1600" b="0" i="0" dirty="0" smtClean="0">
                <a:solidFill>
                  <a:sysClr val="windowText" lastClr="000000"/>
                </a:solidFill>
                <a:latin typeface="ASICS Font 3.0" pitchFamily="2" charset="77"/>
              </a:defRPr>
            </a:lvl1pPr>
          </a:lstStyle>
          <a:p>
            <a:pPr lvl="0" algn="l"/>
            <a:r>
              <a:rPr lang="en-US"/>
              <a:t>Click to edit Master text styles</a:t>
            </a:r>
          </a:p>
        </p:txBody>
      </p:sp>
      <p:sp>
        <p:nvSpPr>
          <p:cNvPr id="16" name="Picture Placeholder 15">
            <a:extLst>
              <a:ext uri="{FF2B5EF4-FFF2-40B4-BE49-F238E27FC236}">
                <a16:creationId xmlns:a16="http://schemas.microsoft.com/office/drawing/2014/main" id="{09033A48-9243-024A-B9DA-34231B0015EF}"/>
              </a:ext>
            </a:extLst>
          </p:cNvPr>
          <p:cNvSpPr>
            <a:spLocks noGrp="1"/>
          </p:cNvSpPr>
          <p:nvPr>
            <p:ph type="pic" sz="quarter" idx="10"/>
          </p:nvPr>
        </p:nvSpPr>
        <p:spPr>
          <a:xfrm>
            <a:off x="0" y="0"/>
            <a:ext cx="4668253" cy="6858000"/>
          </a:xfrm>
        </p:spPr>
        <p:txBody>
          <a:bodyPr/>
          <a:lstStyle>
            <a:lvl1pPr>
              <a:defRPr b="0" i="0">
                <a:solidFill>
                  <a:schemeClr val="tx1"/>
                </a:solidFill>
                <a:latin typeface="ASICS Font 3.0" pitchFamily="2" charset="77"/>
              </a:defRPr>
            </a:lvl1pPr>
          </a:lstStyle>
          <a:p>
            <a:r>
              <a:rPr lang="en-US"/>
              <a:t>Click icon to add picture</a:t>
            </a:r>
            <a:endParaRPr lang="en-GB"/>
          </a:p>
        </p:txBody>
      </p:sp>
      <p:cxnSp>
        <p:nvCxnSpPr>
          <p:cNvPr id="10" name="Straight Connector 9">
            <a:extLst>
              <a:ext uri="{FF2B5EF4-FFF2-40B4-BE49-F238E27FC236}">
                <a16:creationId xmlns:a16="http://schemas.microsoft.com/office/drawing/2014/main" id="{31850572-BCFF-3A43-AE14-E1EE65604BDA}"/>
              </a:ext>
            </a:extLst>
          </p:cNvPr>
          <p:cNvCxnSpPr>
            <a:cxnSpLocks/>
          </p:cNvCxnSpPr>
          <p:nvPr/>
        </p:nvCxnSpPr>
        <p:spPr>
          <a:xfrm>
            <a:off x="5812715" y="2578894"/>
            <a:ext cx="0" cy="1512668"/>
          </a:xfrm>
          <a:prstGeom prst="line">
            <a:avLst/>
          </a:prstGeom>
          <a:ln w="34925">
            <a:solidFill>
              <a:srgbClr val="000000"/>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43CBFE18-7198-D041-AFA3-C2E0C162AD4D}"/>
              </a:ext>
            </a:extLst>
          </p:cNvPr>
          <p:cNvPicPr>
            <a:picLocks noChangeAspect="1"/>
          </p:cNvPicPr>
          <p:nvPr/>
        </p:nvPicPr>
        <p:blipFill>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a:xfrm>
            <a:off x="5166563" y="2550606"/>
            <a:ext cx="496769" cy="3332610"/>
          </a:xfrm>
          <a:prstGeom prst="rect">
            <a:avLst/>
          </a:prstGeom>
        </p:spPr>
      </p:pic>
    </p:spTree>
    <p:extLst>
      <p:ext uri="{BB962C8B-B14F-4D97-AF65-F5344CB8AC3E}">
        <p14:creationId xmlns:p14="http://schemas.microsoft.com/office/powerpoint/2010/main" val="36211515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91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Section Header w/ picture – gre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913A7-1BD1-134A-BB0E-3D76124E4C6C}"/>
              </a:ext>
            </a:extLst>
          </p:cNvPr>
          <p:cNvSpPr>
            <a:spLocks noGrp="1"/>
          </p:cNvSpPr>
          <p:nvPr>
            <p:ph type="title"/>
          </p:nvPr>
        </p:nvSpPr>
        <p:spPr>
          <a:xfrm>
            <a:off x="6215413" y="2505074"/>
            <a:ext cx="5825776" cy="2852737"/>
          </a:xfrm>
        </p:spPr>
        <p:txBody>
          <a:bodyPr vert="horz" lIns="91440" tIns="45720" rIns="0" bIns="45720" rtlCol="0" anchor="t">
            <a:noAutofit/>
          </a:bodyPr>
          <a:lstStyle>
            <a:lvl1pPr>
              <a:lnSpc>
                <a:spcPct val="100000"/>
              </a:lnSpc>
              <a:defRPr lang="en-GB" sz="3600" b="1" i="0" dirty="0">
                <a:solidFill>
                  <a:sysClr val="windowText" lastClr="000000"/>
                </a:solidFill>
                <a:latin typeface="ASICS Font 3.0" pitchFamily="2" charset="77"/>
              </a:defRPr>
            </a:lvl1pPr>
          </a:lstStyle>
          <a:p>
            <a:pPr lvl="0"/>
            <a:r>
              <a:rPr lang="en-US"/>
              <a:t>Click to edit Master title style</a:t>
            </a:r>
            <a:endParaRPr lang="en-GB"/>
          </a:p>
        </p:txBody>
      </p:sp>
      <p:sp>
        <p:nvSpPr>
          <p:cNvPr id="3" name="Text Placeholder 2">
            <a:extLst>
              <a:ext uri="{FF2B5EF4-FFF2-40B4-BE49-F238E27FC236}">
                <a16:creationId xmlns:a16="http://schemas.microsoft.com/office/drawing/2014/main" id="{A70D6666-4C91-7B41-9288-855571FA41D4}"/>
              </a:ext>
            </a:extLst>
          </p:cNvPr>
          <p:cNvSpPr>
            <a:spLocks noGrp="1"/>
          </p:cNvSpPr>
          <p:nvPr>
            <p:ph type="body" idx="1"/>
          </p:nvPr>
        </p:nvSpPr>
        <p:spPr>
          <a:xfrm>
            <a:off x="6215413" y="3931442"/>
            <a:ext cx="5825776" cy="1500187"/>
          </a:xfrm>
        </p:spPr>
        <p:txBody>
          <a:bodyPr vert="horz" lIns="91440" tIns="45720" rIns="91440" bIns="45720" rtlCol="0">
            <a:normAutofit/>
          </a:bodyPr>
          <a:lstStyle>
            <a:lvl1pPr>
              <a:lnSpc>
                <a:spcPct val="100000"/>
              </a:lnSpc>
              <a:defRPr lang="en-GB" sz="1600" b="0" i="0" dirty="0" smtClean="0">
                <a:solidFill>
                  <a:sysClr val="windowText" lastClr="000000"/>
                </a:solidFill>
                <a:latin typeface="ASICS Font 3.0" pitchFamily="2" charset="77"/>
              </a:defRPr>
            </a:lvl1pPr>
          </a:lstStyle>
          <a:p>
            <a:pPr lvl="0" algn="l"/>
            <a:r>
              <a:rPr lang="en-US"/>
              <a:t>Click to edit Master text styles</a:t>
            </a:r>
          </a:p>
        </p:txBody>
      </p:sp>
      <p:sp>
        <p:nvSpPr>
          <p:cNvPr id="16" name="Picture Placeholder 15">
            <a:extLst>
              <a:ext uri="{FF2B5EF4-FFF2-40B4-BE49-F238E27FC236}">
                <a16:creationId xmlns:a16="http://schemas.microsoft.com/office/drawing/2014/main" id="{09033A48-9243-024A-B9DA-34231B0015EF}"/>
              </a:ext>
            </a:extLst>
          </p:cNvPr>
          <p:cNvSpPr>
            <a:spLocks noGrp="1"/>
          </p:cNvSpPr>
          <p:nvPr>
            <p:ph type="pic" sz="quarter" idx="10"/>
          </p:nvPr>
        </p:nvSpPr>
        <p:spPr>
          <a:xfrm>
            <a:off x="0" y="0"/>
            <a:ext cx="4668253" cy="6858000"/>
          </a:xfrm>
        </p:spPr>
        <p:txBody>
          <a:bodyPr/>
          <a:lstStyle>
            <a:lvl1pPr>
              <a:defRPr b="0" i="0">
                <a:solidFill>
                  <a:schemeClr val="tx1"/>
                </a:solidFill>
                <a:latin typeface="ASICS Font 3.0" pitchFamily="2" charset="77"/>
              </a:defRPr>
            </a:lvl1pPr>
          </a:lstStyle>
          <a:p>
            <a:r>
              <a:rPr lang="en-US"/>
              <a:t>Click icon to add picture</a:t>
            </a:r>
            <a:endParaRPr lang="en-GB"/>
          </a:p>
        </p:txBody>
      </p:sp>
      <p:cxnSp>
        <p:nvCxnSpPr>
          <p:cNvPr id="10" name="Straight Connector 9">
            <a:extLst>
              <a:ext uri="{FF2B5EF4-FFF2-40B4-BE49-F238E27FC236}">
                <a16:creationId xmlns:a16="http://schemas.microsoft.com/office/drawing/2014/main" id="{31850572-BCFF-3A43-AE14-E1EE65604BDA}"/>
              </a:ext>
            </a:extLst>
          </p:cNvPr>
          <p:cNvCxnSpPr>
            <a:cxnSpLocks/>
          </p:cNvCxnSpPr>
          <p:nvPr/>
        </p:nvCxnSpPr>
        <p:spPr>
          <a:xfrm>
            <a:off x="6104815" y="2578894"/>
            <a:ext cx="0" cy="1512668"/>
          </a:xfrm>
          <a:prstGeom prst="line">
            <a:avLst/>
          </a:prstGeom>
          <a:ln w="34925">
            <a:solidFill>
              <a:srgbClr val="000000"/>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43CBFE18-7198-D041-AFA3-C2E0C162AD4D}"/>
              </a:ext>
            </a:extLst>
          </p:cNvPr>
          <p:cNvPicPr>
            <a:picLocks noChangeAspect="1"/>
          </p:cNvPicPr>
          <p:nvPr/>
        </p:nvPicPr>
        <p:blipFill>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a:xfrm>
            <a:off x="5458663" y="2550606"/>
            <a:ext cx="496769" cy="3332610"/>
          </a:xfrm>
          <a:prstGeom prst="rect">
            <a:avLst/>
          </a:prstGeom>
        </p:spPr>
      </p:pic>
    </p:spTree>
    <p:extLst>
      <p:ext uri="{BB962C8B-B14F-4D97-AF65-F5344CB8AC3E}">
        <p14:creationId xmlns:p14="http://schemas.microsoft.com/office/powerpoint/2010/main" val="11490242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91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Content2">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851341EC-3CE8-E591-7EF8-54168455659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444176" y="5885977"/>
            <a:ext cx="1478735" cy="698400"/>
          </a:xfrm>
          <a:prstGeom prst="rect">
            <a:avLst/>
          </a:prstGeom>
        </p:spPr>
      </p:pic>
      <p:grpSp>
        <p:nvGrpSpPr>
          <p:cNvPr id="7" name="Group 6">
            <a:extLst>
              <a:ext uri="{FF2B5EF4-FFF2-40B4-BE49-F238E27FC236}">
                <a16:creationId xmlns:a16="http://schemas.microsoft.com/office/drawing/2014/main" id="{B05C9E2A-90E5-3982-994E-44A6696D8514}"/>
              </a:ext>
            </a:extLst>
          </p:cNvPr>
          <p:cNvGrpSpPr/>
          <p:nvPr/>
        </p:nvGrpSpPr>
        <p:grpSpPr>
          <a:xfrm>
            <a:off x="212312" y="210405"/>
            <a:ext cx="11775504" cy="6443171"/>
            <a:chOff x="269088" y="248111"/>
            <a:chExt cx="11652985" cy="6323867"/>
          </a:xfrm>
        </p:grpSpPr>
        <p:sp>
          <p:nvSpPr>
            <p:cNvPr id="8" name="Rectangle 10">
              <a:extLst>
                <a:ext uri="{FF2B5EF4-FFF2-40B4-BE49-F238E27FC236}">
                  <a16:creationId xmlns:a16="http://schemas.microsoft.com/office/drawing/2014/main" id="{50D65A33-D482-12F2-7A5F-EB544B9867E5}"/>
                </a:ext>
              </a:extLst>
            </p:cNvPr>
            <p:cNvSpPr/>
            <p:nvPr/>
          </p:nvSpPr>
          <p:spPr>
            <a:xfrm>
              <a:off x="269088" y="6155019"/>
              <a:ext cx="416959" cy="416959"/>
            </a:xfrm>
            <a:custGeom>
              <a:avLst/>
              <a:gdLst>
                <a:gd name="connsiteX0" fmla="*/ 0 w 416959"/>
                <a:gd name="connsiteY0" fmla="*/ 0 h 416959"/>
                <a:gd name="connsiteX1" fmla="*/ 416959 w 416959"/>
                <a:gd name="connsiteY1" fmla="*/ 0 h 416959"/>
                <a:gd name="connsiteX2" fmla="*/ 416959 w 416959"/>
                <a:gd name="connsiteY2" fmla="*/ 416959 h 416959"/>
                <a:gd name="connsiteX3" fmla="*/ 0 w 416959"/>
                <a:gd name="connsiteY3" fmla="*/ 416959 h 416959"/>
                <a:gd name="connsiteX4" fmla="*/ 0 w 416959"/>
                <a:gd name="connsiteY4" fmla="*/ 0 h 416959"/>
                <a:gd name="connsiteX0" fmla="*/ 416959 w 508399"/>
                <a:gd name="connsiteY0" fmla="*/ 0 h 416959"/>
                <a:gd name="connsiteX1" fmla="*/ 416959 w 508399"/>
                <a:gd name="connsiteY1" fmla="*/ 416959 h 416959"/>
                <a:gd name="connsiteX2" fmla="*/ 0 w 508399"/>
                <a:gd name="connsiteY2" fmla="*/ 416959 h 416959"/>
                <a:gd name="connsiteX3" fmla="*/ 0 w 508399"/>
                <a:gd name="connsiteY3" fmla="*/ 0 h 416959"/>
                <a:gd name="connsiteX4" fmla="*/ 508399 w 508399"/>
                <a:gd name="connsiteY4" fmla="*/ 91440 h 416959"/>
                <a:gd name="connsiteX0" fmla="*/ 416959 w 416959"/>
                <a:gd name="connsiteY0" fmla="*/ 0 h 416959"/>
                <a:gd name="connsiteX1" fmla="*/ 416959 w 416959"/>
                <a:gd name="connsiteY1" fmla="*/ 416959 h 416959"/>
                <a:gd name="connsiteX2" fmla="*/ 0 w 416959"/>
                <a:gd name="connsiteY2" fmla="*/ 416959 h 416959"/>
                <a:gd name="connsiteX3" fmla="*/ 0 w 416959"/>
                <a:gd name="connsiteY3" fmla="*/ 0 h 416959"/>
                <a:gd name="connsiteX0" fmla="*/ 416959 w 416959"/>
                <a:gd name="connsiteY0" fmla="*/ 416959 h 416959"/>
                <a:gd name="connsiteX1" fmla="*/ 0 w 416959"/>
                <a:gd name="connsiteY1" fmla="*/ 416959 h 416959"/>
                <a:gd name="connsiteX2" fmla="*/ 0 w 416959"/>
                <a:gd name="connsiteY2" fmla="*/ 0 h 416959"/>
              </a:gdLst>
              <a:ahLst/>
              <a:cxnLst>
                <a:cxn ang="0">
                  <a:pos x="connsiteX0" y="connsiteY0"/>
                </a:cxn>
                <a:cxn ang="0">
                  <a:pos x="connsiteX1" y="connsiteY1"/>
                </a:cxn>
                <a:cxn ang="0">
                  <a:pos x="connsiteX2" y="connsiteY2"/>
                </a:cxn>
              </a:cxnLst>
              <a:rect l="l" t="t" r="r" b="b"/>
              <a:pathLst>
                <a:path w="416959" h="416959">
                  <a:moveTo>
                    <a:pt x="416959" y="416959"/>
                  </a:moveTo>
                  <a:lnTo>
                    <a:pt x="0" y="416959"/>
                  </a:lnTo>
                  <a:lnTo>
                    <a:pt x="0" y="0"/>
                  </a:lnTo>
                </a:path>
              </a:pathLst>
            </a:cu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10">
              <a:extLst>
                <a:ext uri="{FF2B5EF4-FFF2-40B4-BE49-F238E27FC236}">
                  <a16:creationId xmlns:a16="http://schemas.microsoft.com/office/drawing/2014/main" id="{10469AD0-E02A-CF19-E91D-8676EB505F5D}"/>
                </a:ext>
              </a:extLst>
            </p:cNvPr>
            <p:cNvSpPr/>
            <p:nvPr/>
          </p:nvSpPr>
          <p:spPr>
            <a:xfrm rot="5400000">
              <a:off x="269088" y="248111"/>
              <a:ext cx="416959" cy="416959"/>
            </a:xfrm>
            <a:custGeom>
              <a:avLst/>
              <a:gdLst>
                <a:gd name="connsiteX0" fmla="*/ 0 w 416959"/>
                <a:gd name="connsiteY0" fmla="*/ 0 h 416959"/>
                <a:gd name="connsiteX1" fmla="*/ 416959 w 416959"/>
                <a:gd name="connsiteY1" fmla="*/ 0 h 416959"/>
                <a:gd name="connsiteX2" fmla="*/ 416959 w 416959"/>
                <a:gd name="connsiteY2" fmla="*/ 416959 h 416959"/>
                <a:gd name="connsiteX3" fmla="*/ 0 w 416959"/>
                <a:gd name="connsiteY3" fmla="*/ 416959 h 416959"/>
                <a:gd name="connsiteX4" fmla="*/ 0 w 416959"/>
                <a:gd name="connsiteY4" fmla="*/ 0 h 416959"/>
                <a:gd name="connsiteX0" fmla="*/ 416959 w 508399"/>
                <a:gd name="connsiteY0" fmla="*/ 0 h 416959"/>
                <a:gd name="connsiteX1" fmla="*/ 416959 w 508399"/>
                <a:gd name="connsiteY1" fmla="*/ 416959 h 416959"/>
                <a:gd name="connsiteX2" fmla="*/ 0 w 508399"/>
                <a:gd name="connsiteY2" fmla="*/ 416959 h 416959"/>
                <a:gd name="connsiteX3" fmla="*/ 0 w 508399"/>
                <a:gd name="connsiteY3" fmla="*/ 0 h 416959"/>
                <a:gd name="connsiteX4" fmla="*/ 508399 w 508399"/>
                <a:gd name="connsiteY4" fmla="*/ 91440 h 416959"/>
                <a:gd name="connsiteX0" fmla="*/ 416959 w 416959"/>
                <a:gd name="connsiteY0" fmla="*/ 0 h 416959"/>
                <a:gd name="connsiteX1" fmla="*/ 416959 w 416959"/>
                <a:gd name="connsiteY1" fmla="*/ 416959 h 416959"/>
                <a:gd name="connsiteX2" fmla="*/ 0 w 416959"/>
                <a:gd name="connsiteY2" fmla="*/ 416959 h 416959"/>
                <a:gd name="connsiteX3" fmla="*/ 0 w 416959"/>
                <a:gd name="connsiteY3" fmla="*/ 0 h 416959"/>
                <a:gd name="connsiteX0" fmla="*/ 416959 w 416959"/>
                <a:gd name="connsiteY0" fmla="*/ 416959 h 416959"/>
                <a:gd name="connsiteX1" fmla="*/ 0 w 416959"/>
                <a:gd name="connsiteY1" fmla="*/ 416959 h 416959"/>
                <a:gd name="connsiteX2" fmla="*/ 0 w 416959"/>
                <a:gd name="connsiteY2" fmla="*/ 0 h 416959"/>
              </a:gdLst>
              <a:ahLst/>
              <a:cxnLst>
                <a:cxn ang="0">
                  <a:pos x="connsiteX0" y="connsiteY0"/>
                </a:cxn>
                <a:cxn ang="0">
                  <a:pos x="connsiteX1" y="connsiteY1"/>
                </a:cxn>
                <a:cxn ang="0">
                  <a:pos x="connsiteX2" y="connsiteY2"/>
                </a:cxn>
              </a:cxnLst>
              <a:rect l="l" t="t" r="r" b="b"/>
              <a:pathLst>
                <a:path w="416959" h="416959">
                  <a:moveTo>
                    <a:pt x="416959" y="416959"/>
                  </a:moveTo>
                  <a:lnTo>
                    <a:pt x="0" y="416959"/>
                  </a:lnTo>
                  <a:lnTo>
                    <a:pt x="0" y="0"/>
                  </a:lnTo>
                </a:path>
              </a:pathLst>
            </a:cu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10">
              <a:extLst>
                <a:ext uri="{FF2B5EF4-FFF2-40B4-BE49-F238E27FC236}">
                  <a16:creationId xmlns:a16="http://schemas.microsoft.com/office/drawing/2014/main" id="{15852665-264D-F820-4AE6-9E9F2FB6A2B9}"/>
                </a:ext>
              </a:extLst>
            </p:cNvPr>
            <p:cNvSpPr/>
            <p:nvPr/>
          </p:nvSpPr>
          <p:spPr>
            <a:xfrm flipH="1">
              <a:off x="11505114" y="6155019"/>
              <a:ext cx="416959" cy="416959"/>
            </a:xfrm>
            <a:custGeom>
              <a:avLst/>
              <a:gdLst>
                <a:gd name="connsiteX0" fmla="*/ 0 w 416959"/>
                <a:gd name="connsiteY0" fmla="*/ 0 h 416959"/>
                <a:gd name="connsiteX1" fmla="*/ 416959 w 416959"/>
                <a:gd name="connsiteY1" fmla="*/ 0 h 416959"/>
                <a:gd name="connsiteX2" fmla="*/ 416959 w 416959"/>
                <a:gd name="connsiteY2" fmla="*/ 416959 h 416959"/>
                <a:gd name="connsiteX3" fmla="*/ 0 w 416959"/>
                <a:gd name="connsiteY3" fmla="*/ 416959 h 416959"/>
                <a:gd name="connsiteX4" fmla="*/ 0 w 416959"/>
                <a:gd name="connsiteY4" fmla="*/ 0 h 416959"/>
                <a:gd name="connsiteX0" fmla="*/ 416959 w 508399"/>
                <a:gd name="connsiteY0" fmla="*/ 0 h 416959"/>
                <a:gd name="connsiteX1" fmla="*/ 416959 w 508399"/>
                <a:gd name="connsiteY1" fmla="*/ 416959 h 416959"/>
                <a:gd name="connsiteX2" fmla="*/ 0 w 508399"/>
                <a:gd name="connsiteY2" fmla="*/ 416959 h 416959"/>
                <a:gd name="connsiteX3" fmla="*/ 0 w 508399"/>
                <a:gd name="connsiteY3" fmla="*/ 0 h 416959"/>
                <a:gd name="connsiteX4" fmla="*/ 508399 w 508399"/>
                <a:gd name="connsiteY4" fmla="*/ 91440 h 416959"/>
                <a:gd name="connsiteX0" fmla="*/ 416959 w 416959"/>
                <a:gd name="connsiteY0" fmla="*/ 0 h 416959"/>
                <a:gd name="connsiteX1" fmla="*/ 416959 w 416959"/>
                <a:gd name="connsiteY1" fmla="*/ 416959 h 416959"/>
                <a:gd name="connsiteX2" fmla="*/ 0 w 416959"/>
                <a:gd name="connsiteY2" fmla="*/ 416959 h 416959"/>
                <a:gd name="connsiteX3" fmla="*/ 0 w 416959"/>
                <a:gd name="connsiteY3" fmla="*/ 0 h 416959"/>
                <a:gd name="connsiteX0" fmla="*/ 416959 w 416959"/>
                <a:gd name="connsiteY0" fmla="*/ 416959 h 416959"/>
                <a:gd name="connsiteX1" fmla="*/ 0 w 416959"/>
                <a:gd name="connsiteY1" fmla="*/ 416959 h 416959"/>
                <a:gd name="connsiteX2" fmla="*/ 0 w 416959"/>
                <a:gd name="connsiteY2" fmla="*/ 0 h 416959"/>
              </a:gdLst>
              <a:ahLst/>
              <a:cxnLst>
                <a:cxn ang="0">
                  <a:pos x="connsiteX0" y="connsiteY0"/>
                </a:cxn>
                <a:cxn ang="0">
                  <a:pos x="connsiteX1" y="connsiteY1"/>
                </a:cxn>
                <a:cxn ang="0">
                  <a:pos x="connsiteX2" y="connsiteY2"/>
                </a:cxn>
              </a:cxnLst>
              <a:rect l="l" t="t" r="r" b="b"/>
              <a:pathLst>
                <a:path w="416959" h="416959">
                  <a:moveTo>
                    <a:pt x="416959" y="416959"/>
                  </a:moveTo>
                  <a:lnTo>
                    <a:pt x="0" y="416959"/>
                  </a:lnTo>
                  <a:lnTo>
                    <a:pt x="0" y="0"/>
                  </a:lnTo>
                </a:path>
              </a:pathLst>
            </a:cu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177385F7-821B-B342-A05A-6F808EEF4E1F}"/>
                </a:ext>
              </a:extLst>
            </p:cNvPr>
            <p:cNvSpPr/>
            <p:nvPr/>
          </p:nvSpPr>
          <p:spPr>
            <a:xfrm rot="16200000" flipH="1">
              <a:off x="11505114" y="248111"/>
              <a:ext cx="416959" cy="416959"/>
            </a:xfrm>
            <a:custGeom>
              <a:avLst/>
              <a:gdLst>
                <a:gd name="connsiteX0" fmla="*/ 0 w 416959"/>
                <a:gd name="connsiteY0" fmla="*/ 0 h 416959"/>
                <a:gd name="connsiteX1" fmla="*/ 416959 w 416959"/>
                <a:gd name="connsiteY1" fmla="*/ 0 h 416959"/>
                <a:gd name="connsiteX2" fmla="*/ 416959 w 416959"/>
                <a:gd name="connsiteY2" fmla="*/ 416959 h 416959"/>
                <a:gd name="connsiteX3" fmla="*/ 0 w 416959"/>
                <a:gd name="connsiteY3" fmla="*/ 416959 h 416959"/>
                <a:gd name="connsiteX4" fmla="*/ 0 w 416959"/>
                <a:gd name="connsiteY4" fmla="*/ 0 h 416959"/>
                <a:gd name="connsiteX0" fmla="*/ 416959 w 508399"/>
                <a:gd name="connsiteY0" fmla="*/ 0 h 416959"/>
                <a:gd name="connsiteX1" fmla="*/ 416959 w 508399"/>
                <a:gd name="connsiteY1" fmla="*/ 416959 h 416959"/>
                <a:gd name="connsiteX2" fmla="*/ 0 w 508399"/>
                <a:gd name="connsiteY2" fmla="*/ 416959 h 416959"/>
                <a:gd name="connsiteX3" fmla="*/ 0 w 508399"/>
                <a:gd name="connsiteY3" fmla="*/ 0 h 416959"/>
                <a:gd name="connsiteX4" fmla="*/ 508399 w 508399"/>
                <a:gd name="connsiteY4" fmla="*/ 91440 h 416959"/>
                <a:gd name="connsiteX0" fmla="*/ 416959 w 416959"/>
                <a:gd name="connsiteY0" fmla="*/ 0 h 416959"/>
                <a:gd name="connsiteX1" fmla="*/ 416959 w 416959"/>
                <a:gd name="connsiteY1" fmla="*/ 416959 h 416959"/>
                <a:gd name="connsiteX2" fmla="*/ 0 w 416959"/>
                <a:gd name="connsiteY2" fmla="*/ 416959 h 416959"/>
                <a:gd name="connsiteX3" fmla="*/ 0 w 416959"/>
                <a:gd name="connsiteY3" fmla="*/ 0 h 416959"/>
                <a:gd name="connsiteX0" fmla="*/ 416959 w 416959"/>
                <a:gd name="connsiteY0" fmla="*/ 416959 h 416959"/>
                <a:gd name="connsiteX1" fmla="*/ 0 w 416959"/>
                <a:gd name="connsiteY1" fmla="*/ 416959 h 416959"/>
                <a:gd name="connsiteX2" fmla="*/ 0 w 416959"/>
                <a:gd name="connsiteY2" fmla="*/ 0 h 416959"/>
              </a:gdLst>
              <a:ahLst/>
              <a:cxnLst>
                <a:cxn ang="0">
                  <a:pos x="connsiteX0" y="connsiteY0"/>
                </a:cxn>
                <a:cxn ang="0">
                  <a:pos x="connsiteX1" y="connsiteY1"/>
                </a:cxn>
                <a:cxn ang="0">
                  <a:pos x="connsiteX2" y="connsiteY2"/>
                </a:cxn>
              </a:cxnLst>
              <a:rect l="l" t="t" r="r" b="b"/>
              <a:pathLst>
                <a:path w="416959" h="416959">
                  <a:moveTo>
                    <a:pt x="416959" y="416959"/>
                  </a:moveTo>
                  <a:lnTo>
                    <a:pt x="0" y="416959"/>
                  </a:lnTo>
                  <a:lnTo>
                    <a:pt x="0" y="0"/>
                  </a:lnTo>
                </a:path>
              </a:pathLst>
            </a:cu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4393658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ntent Slide – yellow">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4C9D239-7E0D-D049-AEEF-E042056D79EB}"/>
              </a:ext>
            </a:extLst>
          </p:cNvPr>
          <p:cNvSpPr>
            <a:spLocks noGrp="1"/>
          </p:cNvSpPr>
          <p:nvPr>
            <p:ph type="pic" sz="quarter" idx="10"/>
          </p:nvPr>
        </p:nvSpPr>
        <p:spPr>
          <a:xfrm>
            <a:off x="4836826" y="1622352"/>
            <a:ext cx="5310050" cy="4485212"/>
          </a:xfrm>
        </p:spPr>
        <p:txBody>
          <a:bodyPr/>
          <a:lstStyle>
            <a:lvl1pPr>
              <a:defRPr sz="1400" b="0" i="0">
                <a:latin typeface="ASICS Font 3.0" pitchFamily="2" charset="77"/>
              </a:defRPr>
            </a:lvl1pPr>
          </a:lstStyle>
          <a:p>
            <a:r>
              <a:rPr lang="en-US"/>
              <a:t>Click icon to add picture</a:t>
            </a:r>
            <a:endParaRPr lang="en-GB"/>
          </a:p>
        </p:txBody>
      </p:sp>
      <p:sp>
        <p:nvSpPr>
          <p:cNvPr id="2" name="Title 1">
            <a:extLst>
              <a:ext uri="{FF2B5EF4-FFF2-40B4-BE49-F238E27FC236}">
                <a16:creationId xmlns:a16="http://schemas.microsoft.com/office/drawing/2014/main" id="{5B0BCDC7-8B5E-4745-90A4-0E5A2FEE8560}"/>
              </a:ext>
            </a:extLst>
          </p:cNvPr>
          <p:cNvSpPr>
            <a:spLocks noGrp="1"/>
          </p:cNvSpPr>
          <p:nvPr>
            <p:ph type="title"/>
          </p:nvPr>
        </p:nvSpPr>
        <p:spPr>
          <a:xfrm>
            <a:off x="766763" y="620713"/>
            <a:ext cx="10692514" cy="711697"/>
          </a:xfrm>
        </p:spPr>
        <p:txBody>
          <a:bodyPr lIns="0" tIns="0" rIns="0" bIns="0" anchor="t">
            <a:noAutofit/>
          </a:bodyPr>
          <a:lstStyle>
            <a:lvl1pPr algn="l">
              <a:lnSpc>
                <a:spcPct val="100000"/>
              </a:lnSpc>
              <a:defRPr sz="2800" b="0" i="0" spc="300">
                <a:solidFill>
                  <a:srgbClr val="000000"/>
                </a:solidFill>
                <a:latin typeface="ASICS Font 3.0" pitchFamily="2" charset="77"/>
              </a:defRPr>
            </a:lvl1pPr>
          </a:lstStyle>
          <a:p>
            <a:r>
              <a:rPr lang="en-US"/>
              <a:t>Click to edit Master title style</a:t>
            </a:r>
            <a:endParaRPr lang="en-GB"/>
          </a:p>
        </p:txBody>
      </p:sp>
      <p:sp>
        <p:nvSpPr>
          <p:cNvPr id="9" name="Content Placeholder 2">
            <a:extLst>
              <a:ext uri="{FF2B5EF4-FFF2-40B4-BE49-F238E27FC236}">
                <a16:creationId xmlns:a16="http://schemas.microsoft.com/office/drawing/2014/main" id="{C154FF11-2E6A-3D45-A9A0-EB38C086F8E0}"/>
              </a:ext>
            </a:extLst>
          </p:cNvPr>
          <p:cNvSpPr>
            <a:spLocks noGrp="1"/>
          </p:cNvSpPr>
          <p:nvPr>
            <p:ph idx="1"/>
          </p:nvPr>
        </p:nvSpPr>
        <p:spPr>
          <a:xfrm>
            <a:off x="945511" y="1656080"/>
            <a:ext cx="2450152" cy="1662457"/>
          </a:xfrm>
        </p:spPr>
        <p:txBody>
          <a:bodyPr lIns="0" tIns="0" rIns="0" bIns="0">
            <a:noAutofit/>
          </a:bodyPr>
          <a:lstStyle>
            <a:lvl1pPr marL="9525" indent="0" algn="l">
              <a:buNone/>
              <a:tabLst/>
              <a:defRPr sz="1400" b="0" i="0">
                <a:solidFill>
                  <a:srgbClr val="000000"/>
                </a:solidFill>
                <a:latin typeface="ASICS Font 3.0" pitchFamily="2" charset="77"/>
              </a:defRPr>
            </a:lvl1pPr>
            <a:lvl2pPr marL="9525" indent="0">
              <a:buNone/>
              <a:tabLst/>
              <a:defRPr sz="900">
                <a:solidFill>
                  <a:srgbClr val="1F2564"/>
                </a:solidFill>
                <a:latin typeface="Helvetica" pitchFamily="2" charset="0"/>
              </a:defRPr>
            </a:lvl2pPr>
            <a:lvl3pPr marL="9525" indent="0">
              <a:buNone/>
              <a:tabLst/>
              <a:defRPr sz="900">
                <a:solidFill>
                  <a:srgbClr val="1F2564"/>
                </a:solidFill>
                <a:latin typeface="Helvetica" pitchFamily="2" charset="0"/>
              </a:defRPr>
            </a:lvl3pPr>
            <a:lvl4pPr marL="9525" indent="0">
              <a:buNone/>
              <a:tabLst/>
              <a:defRPr sz="900">
                <a:solidFill>
                  <a:srgbClr val="1F2564"/>
                </a:solidFill>
                <a:latin typeface="Helvetica" pitchFamily="2" charset="0"/>
              </a:defRPr>
            </a:lvl4pPr>
            <a:lvl5pPr marL="9525" indent="0">
              <a:buNone/>
              <a:tabLst/>
              <a:defRPr sz="900">
                <a:solidFill>
                  <a:srgbClr val="1F2564"/>
                </a:solidFill>
                <a:latin typeface="Helvetica" pitchFamily="2" charset="0"/>
              </a:defRPr>
            </a:lvl5pPr>
          </a:lstStyle>
          <a:p>
            <a:pPr lvl="0"/>
            <a:r>
              <a:rPr lang="en-US"/>
              <a:t>Click to edit Master text styles</a:t>
            </a:r>
          </a:p>
        </p:txBody>
      </p:sp>
      <p:cxnSp>
        <p:nvCxnSpPr>
          <p:cNvPr id="11" name="Straight Connector 10">
            <a:extLst>
              <a:ext uri="{FF2B5EF4-FFF2-40B4-BE49-F238E27FC236}">
                <a16:creationId xmlns:a16="http://schemas.microsoft.com/office/drawing/2014/main" id="{EEE675DF-C7CB-F148-9BBD-59EBA64F7DD5}"/>
              </a:ext>
            </a:extLst>
          </p:cNvPr>
          <p:cNvCxnSpPr>
            <a:cxnSpLocks/>
          </p:cNvCxnSpPr>
          <p:nvPr/>
        </p:nvCxnSpPr>
        <p:spPr>
          <a:xfrm>
            <a:off x="766763" y="1646074"/>
            <a:ext cx="0" cy="1884526"/>
          </a:xfrm>
          <a:prstGeom prst="line">
            <a:avLst/>
          </a:prstGeom>
          <a:ln w="349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728074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pos="3840">
          <p15:clr>
            <a:srgbClr val="FBAE40"/>
          </p15:clr>
        </p15:guide>
        <p15:guide id="6" pos="5518">
          <p15:clr>
            <a:srgbClr val="FBAE40"/>
          </p15:clr>
        </p15:guide>
        <p15:guide id="7" pos="213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Plain Text Slide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0BCDC7-8B5E-4745-90A4-0E5A2FEE8560}"/>
              </a:ext>
            </a:extLst>
          </p:cNvPr>
          <p:cNvSpPr>
            <a:spLocks noGrp="1"/>
          </p:cNvSpPr>
          <p:nvPr>
            <p:ph type="title"/>
          </p:nvPr>
        </p:nvSpPr>
        <p:spPr>
          <a:xfrm>
            <a:off x="766761" y="620713"/>
            <a:ext cx="10612051" cy="1296578"/>
          </a:xfrm>
        </p:spPr>
        <p:txBody>
          <a:bodyPr lIns="0" tIns="0" bIns="0" anchor="t">
            <a:normAutofit/>
          </a:bodyPr>
          <a:lstStyle>
            <a:lvl1pPr algn="l">
              <a:lnSpc>
                <a:spcPct val="100000"/>
              </a:lnSpc>
              <a:defRPr sz="2800" b="0" i="0">
                <a:solidFill>
                  <a:srgbClr val="000000"/>
                </a:solidFill>
                <a:latin typeface="ASICS Font 3.0" pitchFamily="2" charset="77"/>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4C28C600-228D-E747-9DE6-8BA71F435B95}"/>
              </a:ext>
            </a:extLst>
          </p:cNvPr>
          <p:cNvSpPr>
            <a:spLocks noGrp="1"/>
          </p:cNvSpPr>
          <p:nvPr>
            <p:ph idx="1"/>
          </p:nvPr>
        </p:nvSpPr>
        <p:spPr>
          <a:xfrm>
            <a:off x="766764" y="2020472"/>
            <a:ext cx="10612048" cy="3666456"/>
          </a:xfrm>
        </p:spPr>
        <p:txBody>
          <a:bodyPr lIns="0" tIns="0" bIns="0" numCol="1" spcCol="360000"/>
          <a:lstStyle>
            <a:lvl1pPr>
              <a:lnSpc>
                <a:spcPct val="100000"/>
              </a:lnSpc>
              <a:defRPr sz="1400" b="0" i="0">
                <a:solidFill>
                  <a:srgbClr val="000000"/>
                </a:solidFill>
                <a:latin typeface="ASICS Font 3.0" pitchFamily="2" charset="77"/>
              </a:defRPr>
            </a:lvl1pPr>
          </a:lstStyle>
          <a:p>
            <a:pPr lvl="0"/>
            <a:r>
              <a:rPr lang="en-US"/>
              <a:t>Click to edit Master text styles</a:t>
            </a:r>
          </a:p>
        </p:txBody>
      </p:sp>
    </p:spTree>
    <p:extLst>
      <p:ext uri="{BB962C8B-B14F-4D97-AF65-F5344CB8AC3E}">
        <p14:creationId xmlns:p14="http://schemas.microsoft.com/office/powerpoint/2010/main" val="3016095382"/>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ntent Slide – green">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4C9D239-7E0D-D049-AEEF-E042056D79EB}"/>
              </a:ext>
            </a:extLst>
          </p:cNvPr>
          <p:cNvSpPr>
            <a:spLocks noGrp="1"/>
          </p:cNvSpPr>
          <p:nvPr>
            <p:ph type="pic" sz="quarter" idx="10"/>
          </p:nvPr>
        </p:nvSpPr>
        <p:spPr>
          <a:xfrm>
            <a:off x="4836826" y="1622352"/>
            <a:ext cx="5310050" cy="4485212"/>
          </a:xfrm>
        </p:spPr>
        <p:txBody>
          <a:bodyPr/>
          <a:lstStyle>
            <a:lvl1pPr>
              <a:defRPr sz="1400" b="0" i="0">
                <a:solidFill>
                  <a:srgbClr val="000000"/>
                </a:solidFill>
                <a:latin typeface="ASICS Font 3.0" pitchFamily="2" charset="77"/>
              </a:defRPr>
            </a:lvl1pPr>
          </a:lstStyle>
          <a:p>
            <a:r>
              <a:rPr lang="en-US"/>
              <a:t>Click icon to add picture</a:t>
            </a:r>
            <a:endParaRPr lang="en-GB"/>
          </a:p>
        </p:txBody>
      </p:sp>
      <p:sp>
        <p:nvSpPr>
          <p:cNvPr id="2" name="Title 1">
            <a:extLst>
              <a:ext uri="{FF2B5EF4-FFF2-40B4-BE49-F238E27FC236}">
                <a16:creationId xmlns:a16="http://schemas.microsoft.com/office/drawing/2014/main" id="{5B0BCDC7-8B5E-4745-90A4-0E5A2FEE8560}"/>
              </a:ext>
            </a:extLst>
          </p:cNvPr>
          <p:cNvSpPr>
            <a:spLocks noGrp="1"/>
          </p:cNvSpPr>
          <p:nvPr>
            <p:ph type="title"/>
          </p:nvPr>
        </p:nvSpPr>
        <p:spPr>
          <a:xfrm>
            <a:off x="766763" y="620713"/>
            <a:ext cx="10692514" cy="711697"/>
          </a:xfrm>
        </p:spPr>
        <p:txBody>
          <a:bodyPr lIns="0" tIns="0" rIns="0" bIns="0" anchor="t">
            <a:noAutofit/>
          </a:bodyPr>
          <a:lstStyle>
            <a:lvl1pPr algn="l">
              <a:lnSpc>
                <a:spcPct val="100000"/>
              </a:lnSpc>
              <a:defRPr sz="2800" b="0" i="0" spc="300">
                <a:solidFill>
                  <a:srgbClr val="000000"/>
                </a:solidFill>
                <a:latin typeface="ASICS Font 3.0" pitchFamily="2" charset="77"/>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4C28C600-228D-E747-9DE6-8BA71F435B95}"/>
              </a:ext>
            </a:extLst>
          </p:cNvPr>
          <p:cNvSpPr>
            <a:spLocks noGrp="1"/>
          </p:cNvSpPr>
          <p:nvPr>
            <p:ph idx="1"/>
          </p:nvPr>
        </p:nvSpPr>
        <p:spPr>
          <a:xfrm>
            <a:off x="945511" y="1656080"/>
            <a:ext cx="2450152" cy="1662457"/>
          </a:xfrm>
        </p:spPr>
        <p:txBody>
          <a:bodyPr lIns="0" tIns="0" rIns="0" bIns="0">
            <a:noAutofit/>
          </a:bodyPr>
          <a:lstStyle>
            <a:lvl1pPr marL="9525" indent="0" algn="l">
              <a:buNone/>
              <a:tabLst/>
              <a:defRPr sz="1400" b="0" i="0">
                <a:solidFill>
                  <a:srgbClr val="000000"/>
                </a:solidFill>
                <a:latin typeface="ASICS Font 3.0" pitchFamily="2" charset="77"/>
              </a:defRPr>
            </a:lvl1pPr>
            <a:lvl2pPr marL="9525" indent="0">
              <a:buNone/>
              <a:tabLst/>
              <a:defRPr sz="900">
                <a:solidFill>
                  <a:srgbClr val="1F2564"/>
                </a:solidFill>
                <a:latin typeface="Helvetica" pitchFamily="2" charset="0"/>
              </a:defRPr>
            </a:lvl2pPr>
            <a:lvl3pPr marL="9525" indent="0">
              <a:buNone/>
              <a:tabLst/>
              <a:defRPr sz="900">
                <a:solidFill>
                  <a:srgbClr val="1F2564"/>
                </a:solidFill>
                <a:latin typeface="Helvetica" pitchFamily="2" charset="0"/>
              </a:defRPr>
            </a:lvl3pPr>
            <a:lvl4pPr marL="9525" indent="0">
              <a:buNone/>
              <a:tabLst/>
              <a:defRPr sz="900">
                <a:solidFill>
                  <a:srgbClr val="1F2564"/>
                </a:solidFill>
                <a:latin typeface="Helvetica" pitchFamily="2" charset="0"/>
              </a:defRPr>
            </a:lvl4pPr>
            <a:lvl5pPr marL="9525" indent="0">
              <a:buNone/>
              <a:tabLst/>
              <a:defRPr sz="900">
                <a:solidFill>
                  <a:srgbClr val="1F2564"/>
                </a:solidFill>
                <a:latin typeface="Helvetica" pitchFamily="2" charset="0"/>
              </a:defRPr>
            </a:lvl5pPr>
          </a:lstStyle>
          <a:p>
            <a:pPr lvl="0"/>
            <a:r>
              <a:rPr lang="en-US"/>
              <a:t>Click to edit Master text styles</a:t>
            </a:r>
          </a:p>
        </p:txBody>
      </p:sp>
      <p:cxnSp>
        <p:nvCxnSpPr>
          <p:cNvPr id="10" name="Straight Connector 9">
            <a:extLst>
              <a:ext uri="{FF2B5EF4-FFF2-40B4-BE49-F238E27FC236}">
                <a16:creationId xmlns:a16="http://schemas.microsoft.com/office/drawing/2014/main" id="{714FA454-1449-5A4C-BA99-D6DFD25245B7}"/>
              </a:ext>
            </a:extLst>
          </p:cNvPr>
          <p:cNvCxnSpPr>
            <a:cxnSpLocks/>
          </p:cNvCxnSpPr>
          <p:nvPr/>
        </p:nvCxnSpPr>
        <p:spPr>
          <a:xfrm>
            <a:off x="766763" y="1646074"/>
            <a:ext cx="0" cy="1884526"/>
          </a:xfrm>
          <a:prstGeom prst="line">
            <a:avLst/>
          </a:prstGeom>
          <a:ln w="349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177371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pos="3840">
          <p15:clr>
            <a:srgbClr val="FBAE40"/>
          </p15:clr>
        </p15:guide>
        <p15:guide id="6" pos="5518">
          <p15:clr>
            <a:srgbClr val="FBAE40"/>
          </p15:clr>
        </p15:guide>
        <p15:guide id="7" pos="213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ntent Slide – blu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4C9D239-7E0D-D049-AEEF-E042056D79EB}"/>
              </a:ext>
            </a:extLst>
          </p:cNvPr>
          <p:cNvSpPr>
            <a:spLocks noGrp="1"/>
          </p:cNvSpPr>
          <p:nvPr>
            <p:ph type="pic" sz="quarter" idx="10"/>
          </p:nvPr>
        </p:nvSpPr>
        <p:spPr>
          <a:xfrm>
            <a:off x="4836826" y="1622352"/>
            <a:ext cx="5310050" cy="4485212"/>
          </a:xfrm>
        </p:spPr>
        <p:txBody>
          <a:bodyPr/>
          <a:lstStyle>
            <a:lvl1pPr>
              <a:defRPr sz="1400" b="0" i="0">
                <a:solidFill>
                  <a:srgbClr val="000000"/>
                </a:solidFill>
                <a:latin typeface="ASICS Font 3.0" pitchFamily="2" charset="77"/>
              </a:defRPr>
            </a:lvl1pPr>
          </a:lstStyle>
          <a:p>
            <a:r>
              <a:rPr lang="en-US"/>
              <a:t>Click icon to add picture</a:t>
            </a:r>
            <a:endParaRPr lang="en-GB"/>
          </a:p>
        </p:txBody>
      </p:sp>
      <p:sp>
        <p:nvSpPr>
          <p:cNvPr id="2" name="Title 1">
            <a:extLst>
              <a:ext uri="{FF2B5EF4-FFF2-40B4-BE49-F238E27FC236}">
                <a16:creationId xmlns:a16="http://schemas.microsoft.com/office/drawing/2014/main" id="{5B0BCDC7-8B5E-4745-90A4-0E5A2FEE8560}"/>
              </a:ext>
            </a:extLst>
          </p:cNvPr>
          <p:cNvSpPr>
            <a:spLocks noGrp="1"/>
          </p:cNvSpPr>
          <p:nvPr>
            <p:ph type="title"/>
          </p:nvPr>
        </p:nvSpPr>
        <p:spPr>
          <a:xfrm>
            <a:off x="766762" y="620713"/>
            <a:ext cx="10692515" cy="711697"/>
          </a:xfrm>
        </p:spPr>
        <p:txBody>
          <a:bodyPr lIns="0" tIns="0" rIns="0" bIns="0" anchor="t">
            <a:noAutofit/>
          </a:bodyPr>
          <a:lstStyle>
            <a:lvl1pPr algn="l">
              <a:lnSpc>
                <a:spcPct val="100000"/>
              </a:lnSpc>
              <a:defRPr sz="2800" b="0" i="0" spc="300">
                <a:solidFill>
                  <a:srgbClr val="000000"/>
                </a:solidFill>
                <a:latin typeface="ASICS Font 3.0" pitchFamily="2" charset="77"/>
              </a:defRPr>
            </a:lvl1pPr>
          </a:lstStyle>
          <a:p>
            <a:r>
              <a:rPr lang="en-US"/>
              <a:t>Click to edit Master title style</a:t>
            </a:r>
            <a:endParaRPr lang="en-GB"/>
          </a:p>
        </p:txBody>
      </p:sp>
      <p:sp>
        <p:nvSpPr>
          <p:cNvPr id="9" name="Content Placeholder 2">
            <a:extLst>
              <a:ext uri="{FF2B5EF4-FFF2-40B4-BE49-F238E27FC236}">
                <a16:creationId xmlns:a16="http://schemas.microsoft.com/office/drawing/2014/main" id="{4816C12F-8680-FE4D-BFDB-876DE5CEB311}"/>
              </a:ext>
            </a:extLst>
          </p:cNvPr>
          <p:cNvSpPr>
            <a:spLocks noGrp="1"/>
          </p:cNvSpPr>
          <p:nvPr>
            <p:ph idx="1"/>
          </p:nvPr>
        </p:nvSpPr>
        <p:spPr>
          <a:xfrm>
            <a:off x="945511" y="1656080"/>
            <a:ext cx="2450152" cy="1662457"/>
          </a:xfrm>
        </p:spPr>
        <p:txBody>
          <a:bodyPr lIns="0" tIns="0" rIns="0" bIns="0">
            <a:noAutofit/>
          </a:bodyPr>
          <a:lstStyle>
            <a:lvl1pPr marL="9525" indent="0" algn="l">
              <a:buNone/>
              <a:tabLst/>
              <a:defRPr sz="1400" b="0" i="0">
                <a:solidFill>
                  <a:srgbClr val="000000"/>
                </a:solidFill>
                <a:latin typeface="ASICS Font 3.0" pitchFamily="2" charset="77"/>
              </a:defRPr>
            </a:lvl1pPr>
            <a:lvl2pPr marL="9525" indent="0">
              <a:buNone/>
              <a:tabLst/>
              <a:defRPr sz="900">
                <a:solidFill>
                  <a:srgbClr val="1F2564"/>
                </a:solidFill>
                <a:latin typeface="Helvetica" pitchFamily="2" charset="0"/>
              </a:defRPr>
            </a:lvl2pPr>
            <a:lvl3pPr marL="9525" indent="0">
              <a:buNone/>
              <a:tabLst/>
              <a:defRPr sz="900">
                <a:solidFill>
                  <a:srgbClr val="1F2564"/>
                </a:solidFill>
                <a:latin typeface="Helvetica" pitchFamily="2" charset="0"/>
              </a:defRPr>
            </a:lvl3pPr>
            <a:lvl4pPr marL="9525" indent="0">
              <a:buNone/>
              <a:tabLst/>
              <a:defRPr sz="900">
                <a:solidFill>
                  <a:srgbClr val="1F2564"/>
                </a:solidFill>
                <a:latin typeface="Helvetica" pitchFamily="2" charset="0"/>
              </a:defRPr>
            </a:lvl4pPr>
            <a:lvl5pPr marL="9525" indent="0">
              <a:buNone/>
              <a:tabLst/>
              <a:defRPr sz="900">
                <a:solidFill>
                  <a:srgbClr val="1F2564"/>
                </a:solidFill>
                <a:latin typeface="Helvetica" pitchFamily="2" charset="0"/>
              </a:defRPr>
            </a:lvl5pPr>
          </a:lstStyle>
          <a:p>
            <a:pPr lvl="0"/>
            <a:r>
              <a:rPr lang="en-US"/>
              <a:t>Click to edit Master text styles</a:t>
            </a:r>
          </a:p>
        </p:txBody>
      </p:sp>
      <p:cxnSp>
        <p:nvCxnSpPr>
          <p:cNvPr id="11" name="Straight Connector 10">
            <a:extLst>
              <a:ext uri="{FF2B5EF4-FFF2-40B4-BE49-F238E27FC236}">
                <a16:creationId xmlns:a16="http://schemas.microsoft.com/office/drawing/2014/main" id="{D27D3771-DBA0-A34B-B480-996E19284B9E}"/>
              </a:ext>
            </a:extLst>
          </p:cNvPr>
          <p:cNvCxnSpPr>
            <a:cxnSpLocks/>
          </p:cNvCxnSpPr>
          <p:nvPr/>
        </p:nvCxnSpPr>
        <p:spPr>
          <a:xfrm>
            <a:off x="766763" y="1646074"/>
            <a:ext cx="0" cy="1884526"/>
          </a:xfrm>
          <a:prstGeom prst="line">
            <a:avLst/>
          </a:prstGeom>
          <a:ln w="349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45767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pos="3840">
          <p15:clr>
            <a:srgbClr val="FBAE40"/>
          </p15:clr>
        </p15:guide>
        <p15:guide id="6" pos="5518">
          <p15:clr>
            <a:srgbClr val="FBAE40"/>
          </p15:clr>
        </p15:guide>
        <p15:guide id="7" pos="213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_Plain Text Slide – blue">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7DB73483-96E4-934E-BFCC-40D38212675D}"/>
              </a:ext>
            </a:extLst>
          </p:cNvPr>
          <p:cNvSpPr>
            <a:spLocks noGrp="1"/>
          </p:cNvSpPr>
          <p:nvPr>
            <p:ph idx="1"/>
          </p:nvPr>
        </p:nvSpPr>
        <p:spPr>
          <a:xfrm>
            <a:off x="766764" y="2020472"/>
            <a:ext cx="10612048" cy="3666456"/>
          </a:xfrm>
        </p:spPr>
        <p:txBody>
          <a:bodyPr lIns="0" tIns="0" bIns="0" numCol="1" spcCol="360000"/>
          <a:lstStyle>
            <a:lvl1pPr>
              <a:lnSpc>
                <a:spcPct val="100000"/>
              </a:lnSpc>
              <a:defRPr sz="1400" b="0" i="0">
                <a:latin typeface="ASICS Font 3.0" pitchFamily="2" charset="77"/>
              </a:defRPr>
            </a:lvl1pPr>
          </a:lstStyle>
          <a:p>
            <a:pPr lvl="0"/>
            <a:r>
              <a:rPr lang="en-US" altLang="en-GB"/>
              <a:t>Click to edit Master text styles</a:t>
            </a:r>
          </a:p>
        </p:txBody>
      </p:sp>
      <p:sp>
        <p:nvSpPr>
          <p:cNvPr id="6" name="Title 1">
            <a:extLst>
              <a:ext uri="{FF2B5EF4-FFF2-40B4-BE49-F238E27FC236}">
                <a16:creationId xmlns:a16="http://schemas.microsoft.com/office/drawing/2014/main" id="{D8FDD490-B14C-644B-BFFF-B75DFEA6F2A9}"/>
              </a:ext>
            </a:extLst>
          </p:cNvPr>
          <p:cNvSpPr>
            <a:spLocks noGrp="1"/>
          </p:cNvSpPr>
          <p:nvPr>
            <p:ph type="title"/>
          </p:nvPr>
        </p:nvSpPr>
        <p:spPr>
          <a:xfrm>
            <a:off x="766761" y="620713"/>
            <a:ext cx="10612051" cy="1296578"/>
          </a:xfrm>
        </p:spPr>
        <p:txBody>
          <a:bodyPr lIns="0" tIns="0" bIns="0" numCol="1" anchor="t">
            <a:normAutofit/>
          </a:bodyPr>
          <a:lstStyle>
            <a:lvl1pPr algn="l">
              <a:lnSpc>
                <a:spcPct val="100000"/>
              </a:lnSpc>
              <a:defRPr sz="3200" b="0" i="0">
                <a:solidFill>
                  <a:schemeClr val="tx1"/>
                </a:solidFill>
                <a:latin typeface="ASICS Font 3.0" pitchFamily="2" charset="77"/>
              </a:defRPr>
            </a:lvl1pPr>
          </a:lstStyle>
          <a:p>
            <a:r>
              <a:rPr lang="en-US" altLang="en-GB"/>
              <a:t>Click to edit Master title style</a:t>
            </a:r>
            <a:endParaRPr lang="en-GB" altLang="en-GB"/>
          </a:p>
        </p:txBody>
      </p:sp>
      <p:sp>
        <p:nvSpPr>
          <p:cNvPr id="2" name="Slide Number Placeholder 1">
            <a:extLst>
              <a:ext uri="{FF2B5EF4-FFF2-40B4-BE49-F238E27FC236}">
                <a16:creationId xmlns:a16="http://schemas.microsoft.com/office/drawing/2014/main" id="{6A9B3EEA-3753-4145-BE67-A5361B720490}"/>
              </a:ext>
            </a:extLst>
          </p:cNvPr>
          <p:cNvSpPr>
            <a:spLocks noGrp="1"/>
          </p:cNvSpPr>
          <p:nvPr>
            <p:ph type="sldNum" sz="quarter" idx="10"/>
          </p:nvPr>
        </p:nvSpPr>
        <p:spPr>
          <a:xfrm>
            <a:off x="11080548" y="244864"/>
            <a:ext cx="753833" cy="365125"/>
          </a:xfrm>
          <a:prstGeom prst="rect">
            <a:avLst/>
          </a:prstGeom>
        </p:spPr>
        <p:txBody>
          <a:bodyPr vert="horz" lIns="91440" tIns="45720" rIns="91440" bIns="45720" rtlCol="0" anchor="t"/>
          <a:lstStyle>
            <a:defPPr>
              <a:defRPr lang="en-US"/>
            </a:defPPr>
            <a:lvl1pPr marL="0" algn="r" defTabSz="914400" rtl="0" eaLnBrk="1" latinLnBrk="0" hangingPunct="1">
              <a:defRPr sz="1200" b="0" i="0" kern="1200">
                <a:solidFill>
                  <a:schemeClr val="tx1"/>
                </a:solidFill>
                <a:latin typeface="ASICS Font 3.0"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CC6782-A7C1-AE43-BED6-519E5FEDBE2C}" type="slidenum">
              <a:rPr lang="en-US" smtClean="0"/>
              <a:pPr/>
              <a:t>‹#›</a:t>
            </a:fld>
            <a:endParaRPr lang="en-US"/>
          </a:p>
        </p:txBody>
      </p:sp>
    </p:spTree>
    <p:extLst>
      <p:ext uri="{BB962C8B-B14F-4D97-AF65-F5344CB8AC3E}">
        <p14:creationId xmlns:p14="http://schemas.microsoft.com/office/powerpoint/2010/main" val="2171809621"/>
      </p:ext>
    </p:extLst>
  </p:cSld>
  <p:clrMapOvr>
    <a:masterClrMapping/>
  </p:clrMapOvr>
  <p:extLst>
    <p:ext uri="{DCECCB84-F9BA-43D5-87BE-67443E8EF086}">
      <p15:sldGuideLst xmlns:p15="http://schemas.microsoft.com/office/powerpoint/2012/main">
        <p15:guide id="1" pos="7355">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1_Title Slide – grey" preserve="1">
  <p:cSld name="1_Title Slide – grey">
    <p:spTree>
      <p:nvGrpSpPr>
        <p:cNvPr id="1" name="Shape 656"/>
        <p:cNvGrpSpPr/>
        <p:nvPr/>
      </p:nvGrpSpPr>
      <p:grpSpPr>
        <a:xfrm>
          <a:off x="0" y="0"/>
          <a:ext cx="0" cy="0"/>
          <a:chOff x="0" y="0"/>
          <a:chExt cx="0" cy="0"/>
        </a:xfrm>
      </p:grpSpPr>
    </p:spTree>
    <p:extLst>
      <p:ext uri="{BB962C8B-B14F-4D97-AF65-F5344CB8AC3E}">
        <p14:creationId xmlns:p14="http://schemas.microsoft.com/office/powerpoint/2010/main" val="26212057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Image Sl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B0389A96-8F70-7442-9E35-7940ECFA30B8}"/>
              </a:ext>
            </a:extLst>
          </p:cNvPr>
          <p:cNvSpPr>
            <a:spLocks noGrp="1"/>
          </p:cNvSpPr>
          <p:nvPr>
            <p:ph type="pic" sz="quarter" idx="10"/>
          </p:nvPr>
        </p:nvSpPr>
        <p:spPr>
          <a:xfrm>
            <a:off x="0" y="0"/>
            <a:ext cx="12192000" cy="6858000"/>
          </a:xfrm>
        </p:spPr>
        <p:txBody>
          <a:bodyPr/>
          <a:lstStyle/>
          <a:p>
            <a:r>
              <a:rPr lang="en-US"/>
              <a:t>Click icon to add picture</a:t>
            </a:r>
            <a:endParaRPr lang="en-GB"/>
          </a:p>
        </p:txBody>
      </p:sp>
    </p:spTree>
    <p:extLst>
      <p:ext uri="{BB962C8B-B14F-4D97-AF65-F5344CB8AC3E}">
        <p14:creationId xmlns:p14="http://schemas.microsoft.com/office/powerpoint/2010/main" val="34113261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Only Slide">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3EBBA60-D13D-4842-BCE8-8A922BC34388}"/>
              </a:ext>
            </a:extLst>
          </p:cNvPr>
          <p:cNvSpPr>
            <a:spLocks noGrp="1"/>
          </p:cNvSpPr>
          <p:nvPr>
            <p:ph type="title"/>
          </p:nvPr>
        </p:nvSpPr>
        <p:spPr>
          <a:xfrm>
            <a:off x="447972" y="427740"/>
            <a:ext cx="4403428" cy="727960"/>
          </a:xfrm>
        </p:spPr>
        <p:txBody>
          <a:bodyPr>
            <a:normAutofit/>
          </a:bodyPr>
          <a:lstStyle/>
          <a:p>
            <a:r>
              <a:rPr lang="en-US" sz="2400"/>
              <a:t>Click to edit Master title style</a:t>
            </a:r>
            <a:endParaRPr lang="en-NL" sz="2400"/>
          </a:p>
        </p:txBody>
      </p:sp>
    </p:spTree>
    <p:extLst>
      <p:ext uri="{BB962C8B-B14F-4D97-AF65-F5344CB8AC3E}">
        <p14:creationId xmlns:p14="http://schemas.microsoft.com/office/powerpoint/2010/main" val="37129348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3_Title Slide">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6DDE63DA-77FD-E347-B047-2C2CB6C0A983}"/>
              </a:ext>
            </a:extLst>
          </p:cNvPr>
          <p:cNvSpPr/>
          <p:nvPr/>
        </p:nvSpPr>
        <p:spPr>
          <a:xfrm>
            <a:off x="0" y="0"/>
            <a:ext cx="12191999" cy="6858000"/>
          </a:xfrm>
          <a:prstGeom prst="rect">
            <a:avLst/>
          </a:prstGeom>
          <a:solidFill>
            <a:srgbClr val="202C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B7E19912-57C7-3E41-84DA-C25211DB3AA2}"/>
              </a:ext>
            </a:extLst>
          </p:cNvPr>
          <p:cNvSpPr>
            <a:spLocks noGrp="1"/>
          </p:cNvSpPr>
          <p:nvPr>
            <p:ph type="subTitle" idx="1" hasCustomPrompt="1"/>
          </p:nvPr>
        </p:nvSpPr>
        <p:spPr>
          <a:xfrm>
            <a:off x="1033589" y="3429000"/>
            <a:ext cx="10164989"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Our brands empower people to move.</a:t>
            </a:r>
          </a:p>
        </p:txBody>
      </p:sp>
      <p:sp>
        <p:nvSpPr>
          <p:cNvPr id="11" name="TextBox 10">
            <a:extLst>
              <a:ext uri="{FF2B5EF4-FFF2-40B4-BE49-F238E27FC236}">
                <a16:creationId xmlns:a16="http://schemas.microsoft.com/office/drawing/2014/main" id="{9F0B531F-129F-C341-A32F-3FDDA91FB65C}"/>
              </a:ext>
            </a:extLst>
          </p:cNvPr>
          <p:cNvSpPr txBox="1"/>
          <p:nvPr/>
        </p:nvSpPr>
        <p:spPr>
          <a:xfrm>
            <a:off x="10013587" y="6502113"/>
            <a:ext cx="1659835" cy="246221"/>
          </a:xfrm>
          <a:prstGeom prst="rect">
            <a:avLst/>
          </a:prstGeom>
          <a:noFill/>
        </p:spPr>
        <p:txBody>
          <a:bodyPr wrap="square" rtlCol="0" anchor="ctr">
            <a:spAutoFit/>
          </a:bodyPr>
          <a:lstStyle/>
          <a:p>
            <a:pPr algn="r"/>
            <a:r>
              <a:rPr lang="en-US" sz="1000">
                <a:latin typeface="ASICS Font 3.0" pitchFamily="2" charset="77"/>
              </a:rPr>
              <a:t>|   Page</a:t>
            </a:r>
          </a:p>
        </p:txBody>
      </p:sp>
      <p:sp>
        <p:nvSpPr>
          <p:cNvPr id="12" name="TextBox 11">
            <a:extLst>
              <a:ext uri="{FF2B5EF4-FFF2-40B4-BE49-F238E27FC236}">
                <a16:creationId xmlns:a16="http://schemas.microsoft.com/office/drawing/2014/main" id="{4BC78727-4BDD-D44A-A547-F3913BCEDBA8}"/>
              </a:ext>
            </a:extLst>
          </p:cNvPr>
          <p:cNvSpPr txBox="1"/>
          <p:nvPr/>
        </p:nvSpPr>
        <p:spPr>
          <a:xfrm>
            <a:off x="11415005" y="6502113"/>
            <a:ext cx="516835" cy="246221"/>
          </a:xfrm>
          <a:prstGeom prst="rect">
            <a:avLst/>
          </a:prstGeom>
          <a:noFill/>
        </p:spPr>
        <p:txBody>
          <a:bodyPr wrap="square" rtlCol="0" anchor="ctr">
            <a:spAutoFit/>
          </a:bodyPr>
          <a:lstStyle/>
          <a:p>
            <a:pPr algn="r"/>
            <a:fld id="{59064F59-7154-1C41-B2F3-CB7729B2FE66}" type="slidenum">
              <a:rPr lang="en-US" sz="1000" smtClean="0">
                <a:latin typeface="ASICS Font 3.0" pitchFamily="2" charset="77"/>
              </a:rPr>
              <a:t>‹#›</a:t>
            </a:fld>
            <a:endParaRPr lang="en-US" sz="1000">
              <a:latin typeface="ASICS Font 3.0" pitchFamily="2" charset="77"/>
            </a:endParaRPr>
          </a:p>
        </p:txBody>
      </p:sp>
      <p:pic>
        <p:nvPicPr>
          <p:cNvPr id="5" name="Graphic 3">
            <a:extLst>
              <a:ext uri="{FF2B5EF4-FFF2-40B4-BE49-F238E27FC236}">
                <a16:creationId xmlns:a16="http://schemas.microsoft.com/office/drawing/2014/main" id="{EA48DDAD-BB52-26C2-32FA-AEA5697F0B6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52975" y="0"/>
            <a:ext cx="1524060" cy="795526"/>
          </a:xfrm>
          <a:prstGeom prst="rect">
            <a:avLst/>
          </a:prstGeom>
        </p:spPr>
      </p:pic>
    </p:spTree>
    <p:extLst>
      <p:ext uri="{BB962C8B-B14F-4D97-AF65-F5344CB8AC3E}">
        <p14:creationId xmlns:p14="http://schemas.microsoft.com/office/powerpoint/2010/main" val="4144026864"/>
      </p:ext>
    </p:extLst>
  </p:cSld>
  <p:clrMapOvr>
    <a:masterClrMapping/>
  </p:clrMapOvr>
  <p:extLst>
    <p:ext uri="{DCECCB84-F9BA-43D5-87BE-67443E8EF086}">
      <p15:sldGuideLst xmlns:p15="http://schemas.microsoft.com/office/powerpoint/2012/main">
        <p15:guide id="1" orient="horz" pos="2160">
          <p15:clr>
            <a:srgbClr val="FBAE40"/>
          </p15:clr>
        </p15:guide>
        <p15:guide id="2" pos="528">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D2942FE-329F-08F3-A8C1-A31D24DFDB2E}"/>
              </a:ext>
            </a:extLst>
          </p:cNvPr>
          <p:cNvSpPr>
            <a:spLocks noGrp="1"/>
          </p:cNvSpPr>
          <p:nvPr>
            <p:ph type="dt" sz="half" idx="10"/>
          </p:nvPr>
        </p:nvSpPr>
        <p:spPr/>
        <p:txBody>
          <a:bodyPr/>
          <a:lstStyle/>
          <a:p>
            <a:fld id="{1FD53ACA-A708-4922-8456-AC2210E9124B}" type="datetimeFigureOut">
              <a:rPr lang="en-GB" smtClean="0"/>
              <a:t>27/05/2025</a:t>
            </a:fld>
            <a:endParaRPr lang="en-GB"/>
          </a:p>
        </p:txBody>
      </p:sp>
      <p:sp>
        <p:nvSpPr>
          <p:cNvPr id="3" name="Footer Placeholder 2">
            <a:extLst>
              <a:ext uri="{FF2B5EF4-FFF2-40B4-BE49-F238E27FC236}">
                <a16:creationId xmlns:a16="http://schemas.microsoft.com/office/drawing/2014/main" id="{1F4D7211-5F85-1842-2FA6-8EE77317A0B5}"/>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09FC85CC-F94C-D35D-7393-00B5D33C81F1}"/>
              </a:ext>
            </a:extLst>
          </p:cNvPr>
          <p:cNvSpPr>
            <a:spLocks noGrp="1"/>
          </p:cNvSpPr>
          <p:nvPr>
            <p:ph type="sldNum" sz="quarter" idx="12"/>
          </p:nvPr>
        </p:nvSpPr>
        <p:spPr/>
        <p:txBody>
          <a:bodyPr/>
          <a:lstStyle/>
          <a:p>
            <a:fld id="{9F782EF4-7F1A-4C65-A9F2-E70AA0AB1E0D}" type="slidenum">
              <a:rPr lang="en-GB" smtClean="0"/>
              <a:t>‹#›</a:t>
            </a:fld>
            <a:endParaRPr lang="en-GB"/>
          </a:p>
        </p:txBody>
      </p:sp>
    </p:spTree>
    <p:extLst>
      <p:ext uri="{BB962C8B-B14F-4D97-AF65-F5344CB8AC3E}">
        <p14:creationId xmlns:p14="http://schemas.microsoft.com/office/powerpoint/2010/main" val="1805501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pic>
        <p:nvPicPr>
          <p:cNvPr id="3" name="Picture 2" descr="A person carrying a bag&#10;&#10;Description automatically generated">
            <a:extLst>
              <a:ext uri="{FF2B5EF4-FFF2-40B4-BE49-F238E27FC236}">
                <a16:creationId xmlns:a16="http://schemas.microsoft.com/office/drawing/2014/main" id="{5A2239C4-E21D-A9E2-F413-15B67B1F8AB4}"/>
              </a:ext>
            </a:extLst>
          </p:cNvPr>
          <p:cNvPicPr>
            <a:picLocks noChangeAspect="1"/>
          </p:cNvPicPr>
          <p:nvPr/>
        </p:nvPicPr>
        <p:blipFill rotWithShape="1">
          <a:blip r:embed="rId2"/>
          <a:srcRect l="10359" t="16570" b="7834"/>
          <a:stretch/>
        </p:blipFill>
        <p:spPr>
          <a:xfrm flipH="1">
            <a:off x="0" y="0"/>
            <a:ext cx="12192003" cy="6858000"/>
          </a:xfrm>
          <a:prstGeom prst="rect">
            <a:avLst/>
          </a:prstGeom>
        </p:spPr>
      </p:pic>
      <p:pic>
        <p:nvPicPr>
          <p:cNvPr id="4" name="Graphic 3">
            <a:extLst>
              <a:ext uri="{FF2B5EF4-FFF2-40B4-BE49-F238E27FC236}">
                <a16:creationId xmlns:a16="http://schemas.microsoft.com/office/drawing/2014/main" id="{ECC3C141-2AD8-19B3-9FF1-7F21A2A2177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44176" y="5859188"/>
            <a:ext cx="1478735" cy="698400"/>
          </a:xfrm>
          <a:prstGeom prst="rect">
            <a:avLst/>
          </a:prstGeom>
        </p:spPr>
      </p:pic>
      <p:grpSp>
        <p:nvGrpSpPr>
          <p:cNvPr id="5" name="Group 4">
            <a:extLst>
              <a:ext uri="{FF2B5EF4-FFF2-40B4-BE49-F238E27FC236}">
                <a16:creationId xmlns:a16="http://schemas.microsoft.com/office/drawing/2014/main" id="{CA04FA18-430E-46CF-AFBA-574827E192D8}"/>
              </a:ext>
            </a:extLst>
          </p:cNvPr>
          <p:cNvGrpSpPr/>
          <p:nvPr/>
        </p:nvGrpSpPr>
        <p:grpSpPr>
          <a:xfrm>
            <a:off x="212312" y="210405"/>
            <a:ext cx="11775507" cy="6443168"/>
            <a:chOff x="269088" y="248111"/>
            <a:chExt cx="11652985" cy="6323867"/>
          </a:xfrm>
        </p:grpSpPr>
        <p:sp>
          <p:nvSpPr>
            <p:cNvPr id="6" name="Rectangle 10">
              <a:extLst>
                <a:ext uri="{FF2B5EF4-FFF2-40B4-BE49-F238E27FC236}">
                  <a16:creationId xmlns:a16="http://schemas.microsoft.com/office/drawing/2014/main" id="{7050A59A-FC1F-2AEE-CD81-294CE05902F5}"/>
                </a:ext>
              </a:extLst>
            </p:cNvPr>
            <p:cNvSpPr/>
            <p:nvPr/>
          </p:nvSpPr>
          <p:spPr>
            <a:xfrm>
              <a:off x="269088" y="6155019"/>
              <a:ext cx="416959" cy="416959"/>
            </a:xfrm>
            <a:custGeom>
              <a:avLst/>
              <a:gdLst>
                <a:gd name="connsiteX0" fmla="*/ 0 w 416959"/>
                <a:gd name="connsiteY0" fmla="*/ 0 h 416959"/>
                <a:gd name="connsiteX1" fmla="*/ 416959 w 416959"/>
                <a:gd name="connsiteY1" fmla="*/ 0 h 416959"/>
                <a:gd name="connsiteX2" fmla="*/ 416959 w 416959"/>
                <a:gd name="connsiteY2" fmla="*/ 416959 h 416959"/>
                <a:gd name="connsiteX3" fmla="*/ 0 w 416959"/>
                <a:gd name="connsiteY3" fmla="*/ 416959 h 416959"/>
                <a:gd name="connsiteX4" fmla="*/ 0 w 416959"/>
                <a:gd name="connsiteY4" fmla="*/ 0 h 416959"/>
                <a:gd name="connsiteX0" fmla="*/ 416959 w 508399"/>
                <a:gd name="connsiteY0" fmla="*/ 0 h 416959"/>
                <a:gd name="connsiteX1" fmla="*/ 416959 w 508399"/>
                <a:gd name="connsiteY1" fmla="*/ 416959 h 416959"/>
                <a:gd name="connsiteX2" fmla="*/ 0 w 508399"/>
                <a:gd name="connsiteY2" fmla="*/ 416959 h 416959"/>
                <a:gd name="connsiteX3" fmla="*/ 0 w 508399"/>
                <a:gd name="connsiteY3" fmla="*/ 0 h 416959"/>
                <a:gd name="connsiteX4" fmla="*/ 508399 w 508399"/>
                <a:gd name="connsiteY4" fmla="*/ 91440 h 416959"/>
                <a:gd name="connsiteX0" fmla="*/ 416959 w 416959"/>
                <a:gd name="connsiteY0" fmla="*/ 0 h 416959"/>
                <a:gd name="connsiteX1" fmla="*/ 416959 w 416959"/>
                <a:gd name="connsiteY1" fmla="*/ 416959 h 416959"/>
                <a:gd name="connsiteX2" fmla="*/ 0 w 416959"/>
                <a:gd name="connsiteY2" fmla="*/ 416959 h 416959"/>
                <a:gd name="connsiteX3" fmla="*/ 0 w 416959"/>
                <a:gd name="connsiteY3" fmla="*/ 0 h 416959"/>
                <a:gd name="connsiteX0" fmla="*/ 416959 w 416959"/>
                <a:gd name="connsiteY0" fmla="*/ 416959 h 416959"/>
                <a:gd name="connsiteX1" fmla="*/ 0 w 416959"/>
                <a:gd name="connsiteY1" fmla="*/ 416959 h 416959"/>
                <a:gd name="connsiteX2" fmla="*/ 0 w 416959"/>
                <a:gd name="connsiteY2" fmla="*/ 0 h 416959"/>
              </a:gdLst>
              <a:ahLst/>
              <a:cxnLst>
                <a:cxn ang="0">
                  <a:pos x="connsiteX0" y="connsiteY0"/>
                </a:cxn>
                <a:cxn ang="0">
                  <a:pos x="connsiteX1" y="connsiteY1"/>
                </a:cxn>
                <a:cxn ang="0">
                  <a:pos x="connsiteX2" y="connsiteY2"/>
                </a:cxn>
              </a:cxnLst>
              <a:rect l="l" t="t" r="r" b="b"/>
              <a:pathLst>
                <a:path w="416959" h="416959">
                  <a:moveTo>
                    <a:pt x="416959" y="416959"/>
                  </a:moveTo>
                  <a:lnTo>
                    <a:pt x="0" y="416959"/>
                  </a:lnTo>
                  <a:lnTo>
                    <a:pt x="0" y="0"/>
                  </a:lnTo>
                </a:path>
              </a:pathLst>
            </a:cu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10">
              <a:extLst>
                <a:ext uri="{FF2B5EF4-FFF2-40B4-BE49-F238E27FC236}">
                  <a16:creationId xmlns:a16="http://schemas.microsoft.com/office/drawing/2014/main" id="{FA8755E2-1F71-DB20-2BF7-6E81EF2B4E18}"/>
                </a:ext>
              </a:extLst>
            </p:cNvPr>
            <p:cNvSpPr/>
            <p:nvPr/>
          </p:nvSpPr>
          <p:spPr>
            <a:xfrm rot="5400000">
              <a:off x="269088" y="248111"/>
              <a:ext cx="416959" cy="416959"/>
            </a:xfrm>
            <a:custGeom>
              <a:avLst/>
              <a:gdLst>
                <a:gd name="connsiteX0" fmla="*/ 0 w 416959"/>
                <a:gd name="connsiteY0" fmla="*/ 0 h 416959"/>
                <a:gd name="connsiteX1" fmla="*/ 416959 w 416959"/>
                <a:gd name="connsiteY1" fmla="*/ 0 h 416959"/>
                <a:gd name="connsiteX2" fmla="*/ 416959 w 416959"/>
                <a:gd name="connsiteY2" fmla="*/ 416959 h 416959"/>
                <a:gd name="connsiteX3" fmla="*/ 0 w 416959"/>
                <a:gd name="connsiteY3" fmla="*/ 416959 h 416959"/>
                <a:gd name="connsiteX4" fmla="*/ 0 w 416959"/>
                <a:gd name="connsiteY4" fmla="*/ 0 h 416959"/>
                <a:gd name="connsiteX0" fmla="*/ 416959 w 508399"/>
                <a:gd name="connsiteY0" fmla="*/ 0 h 416959"/>
                <a:gd name="connsiteX1" fmla="*/ 416959 w 508399"/>
                <a:gd name="connsiteY1" fmla="*/ 416959 h 416959"/>
                <a:gd name="connsiteX2" fmla="*/ 0 w 508399"/>
                <a:gd name="connsiteY2" fmla="*/ 416959 h 416959"/>
                <a:gd name="connsiteX3" fmla="*/ 0 w 508399"/>
                <a:gd name="connsiteY3" fmla="*/ 0 h 416959"/>
                <a:gd name="connsiteX4" fmla="*/ 508399 w 508399"/>
                <a:gd name="connsiteY4" fmla="*/ 91440 h 416959"/>
                <a:gd name="connsiteX0" fmla="*/ 416959 w 416959"/>
                <a:gd name="connsiteY0" fmla="*/ 0 h 416959"/>
                <a:gd name="connsiteX1" fmla="*/ 416959 w 416959"/>
                <a:gd name="connsiteY1" fmla="*/ 416959 h 416959"/>
                <a:gd name="connsiteX2" fmla="*/ 0 w 416959"/>
                <a:gd name="connsiteY2" fmla="*/ 416959 h 416959"/>
                <a:gd name="connsiteX3" fmla="*/ 0 w 416959"/>
                <a:gd name="connsiteY3" fmla="*/ 0 h 416959"/>
                <a:gd name="connsiteX0" fmla="*/ 416959 w 416959"/>
                <a:gd name="connsiteY0" fmla="*/ 416959 h 416959"/>
                <a:gd name="connsiteX1" fmla="*/ 0 w 416959"/>
                <a:gd name="connsiteY1" fmla="*/ 416959 h 416959"/>
                <a:gd name="connsiteX2" fmla="*/ 0 w 416959"/>
                <a:gd name="connsiteY2" fmla="*/ 0 h 416959"/>
              </a:gdLst>
              <a:ahLst/>
              <a:cxnLst>
                <a:cxn ang="0">
                  <a:pos x="connsiteX0" y="connsiteY0"/>
                </a:cxn>
                <a:cxn ang="0">
                  <a:pos x="connsiteX1" y="connsiteY1"/>
                </a:cxn>
                <a:cxn ang="0">
                  <a:pos x="connsiteX2" y="connsiteY2"/>
                </a:cxn>
              </a:cxnLst>
              <a:rect l="l" t="t" r="r" b="b"/>
              <a:pathLst>
                <a:path w="416959" h="416959">
                  <a:moveTo>
                    <a:pt x="416959" y="416959"/>
                  </a:moveTo>
                  <a:lnTo>
                    <a:pt x="0" y="416959"/>
                  </a:lnTo>
                  <a:lnTo>
                    <a:pt x="0" y="0"/>
                  </a:lnTo>
                </a:path>
              </a:pathLst>
            </a:cu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10">
              <a:extLst>
                <a:ext uri="{FF2B5EF4-FFF2-40B4-BE49-F238E27FC236}">
                  <a16:creationId xmlns:a16="http://schemas.microsoft.com/office/drawing/2014/main" id="{A411763C-A629-F234-FC76-E513C39163A2}"/>
                </a:ext>
              </a:extLst>
            </p:cNvPr>
            <p:cNvSpPr/>
            <p:nvPr/>
          </p:nvSpPr>
          <p:spPr>
            <a:xfrm flipH="1">
              <a:off x="11505114" y="6155019"/>
              <a:ext cx="416959" cy="416959"/>
            </a:xfrm>
            <a:custGeom>
              <a:avLst/>
              <a:gdLst>
                <a:gd name="connsiteX0" fmla="*/ 0 w 416959"/>
                <a:gd name="connsiteY0" fmla="*/ 0 h 416959"/>
                <a:gd name="connsiteX1" fmla="*/ 416959 w 416959"/>
                <a:gd name="connsiteY1" fmla="*/ 0 h 416959"/>
                <a:gd name="connsiteX2" fmla="*/ 416959 w 416959"/>
                <a:gd name="connsiteY2" fmla="*/ 416959 h 416959"/>
                <a:gd name="connsiteX3" fmla="*/ 0 w 416959"/>
                <a:gd name="connsiteY3" fmla="*/ 416959 h 416959"/>
                <a:gd name="connsiteX4" fmla="*/ 0 w 416959"/>
                <a:gd name="connsiteY4" fmla="*/ 0 h 416959"/>
                <a:gd name="connsiteX0" fmla="*/ 416959 w 508399"/>
                <a:gd name="connsiteY0" fmla="*/ 0 h 416959"/>
                <a:gd name="connsiteX1" fmla="*/ 416959 w 508399"/>
                <a:gd name="connsiteY1" fmla="*/ 416959 h 416959"/>
                <a:gd name="connsiteX2" fmla="*/ 0 w 508399"/>
                <a:gd name="connsiteY2" fmla="*/ 416959 h 416959"/>
                <a:gd name="connsiteX3" fmla="*/ 0 w 508399"/>
                <a:gd name="connsiteY3" fmla="*/ 0 h 416959"/>
                <a:gd name="connsiteX4" fmla="*/ 508399 w 508399"/>
                <a:gd name="connsiteY4" fmla="*/ 91440 h 416959"/>
                <a:gd name="connsiteX0" fmla="*/ 416959 w 416959"/>
                <a:gd name="connsiteY0" fmla="*/ 0 h 416959"/>
                <a:gd name="connsiteX1" fmla="*/ 416959 w 416959"/>
                <a:gd name="connsiteY1" fmla="*/ 416959 h 416959"/>
                <a:gd name="connsiteX2" fmla="*/ 0 w 416959"/>
                <a:gd name="connsiteY2" fmla="*/ 416959 h 416959"/>
                <a:gd name="connsiteX3" fmla="*/ 0 w 416959"/>
                <a:gd name="connsiteY3" fmla="*/ 0 h 416959"/>
                <a:gd name="connsiteX0" fmla="*/ 416959 w 416959"/>
                <a:gd name="connsiteY0" fmla="*/ 416959 h 416959"/>
                <a:gd name="connsiteX1" fmla="*/ 0 w 416959"/>
                <a:gd name="connsiteY1" fmla="*/ 416959 h 416959"/>
                <a:gd name="connsiteX2" fmla="*/ 0 w 416959"/>
                <a:gd name="connsiteY2" fmla="*/ 0 h 416959"/>
              </a:gdLst>
              <a:ahLst/>
              <a:cxnLst>
                <a:cxn ang="0">
                  <a:pos x="connsiteX0" y="connsiteY0"/>
                </a:cxn>
                <a:cxn ang="0">
                  <a:pos x="connsiteX1" y="connsiteY1"/>
                </a:cxn>
                <a:cxn ang="0">
                  <a:pos x="connsiteX2" y="connsiteY2"/>
                </a:cxn>
              </a:cxnLst>
              <a:rect l="l" t="t" r="r" b="b"/>
              <a:pathLst>
                <a:path w="416959" h="416959">
                  <a:moveTo>
                    <a:pt x="416959" y="416959"/>
                  </a:moveTo>
                  <a:lnTo>
                    <a:pt x="0" y="416959"/>
                  </a:lnTo>
                  <a:lnTo>
                    <a:pt x="0" y="0"/>
                  </a:lnTo>
                </a:path>
              </a:pathLst>
            </a:cu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10">
              <a:extLst>
                <a:ext uri="{FF2B5EF4-FFF2-40B4-BE49-F238E27FC236}">
                  <a16:creationId xmlns:a16="http://schemas.microsoft.com/office/drawing/2014/main" id="{A63682CC-F008-2670-82E0-A8FC280846E9}"/>
                </a:ext>
              </a:extLst>
            </p:cNvPr>
            <p:cNvSpPr/>
            <p:nvPr/>
          </p:nvSpPr>
          <p:spPr>
            <a:xfrm rot="16200000" flipH="1">
              <a:off x="11505114" y="248111"/>
              <a:ext cx="416959" cy="416959"/>
            </a:xfrm>
            <a:custGeom>
              <a:avLst/>
              <a:gdLst>
                <a:gd name="connsiteX0" fmla="*/ 0 w 416959"/>
                <a:gd name="connsiteY0" fmla="*/ 0 h 416959"/>
                <a:gd name="connsiteX1" fmla="*/ 416959 w 416959"/>
                <a:gd name="connsiteY1" fmla="*/ 0 h 416959"/>
                <a:gd name="connsiteX2" fmla="*/ 416959 w 416959"/>
                <a:gd name="connsiteY2" fmla="*/ 416959 h 416959"/>
                <a:gd name="connsiteX3" fmla="*/ 0 w 416959"/>
                <a:gd name="connsiteY3" fmla="*/ 416959 h 416959"/>
                <a:gd name="connsiteX4" fmla="*/ 0 w 416959"/>
                <a:gd name="connsiteY4" fmla="*/ 0 h 416959"/>
                <a:gd name="connsiteX0" fmla="*/ 416959 w 508399"/>
                <a:gd name="connsiteY0" fmla="*/ 0 h 416959"/>
                <a:gd name="connsiteX1" fmla="*/ 416959 w 508399"/>
                <a:gd name="connsiteY1" fmla="*/ 416959 h 416959"/>
                <a:gd name="connsiteX2" fmla="*/ 0 w 508399"/>
                <a:gd name="connsiteY2" fmla="*/ 416959 h 416959"/>
                <a:gd name="connsiteX3" fmla="*/ 0 w 508399"/>
                <a:gd name="connsiteY3" fmla="*/ 0 h 416959"/>
                <a:gd name="connsiteX4" fmla="*/ 508399 w 508399"/>
                <a:gd name="connsiteY4" fmla="*/ 91440 h 416959"/>
                <a:gd name="connsiteX0" fmla="*/ 416959 w 416959"/>
                <a:gd name="connsiteY0" fmla="*/ 0 h 416959"/>
                <a:gd name="connsiteX1" fmla="*/ 416959 w 416959"/>
                <a:gd name="connsiteY1" fmla="*/ 416959 h 416959"/>
                <a:gd name="connsiteX2" fmla="*/ 0 w 416959"/>
                <a:gd name="connsiteY2" fmla="*/ 416959 h 416959"/>
                <a:gd name="connsiteX3" fmla="*/ 0 w 416959"/>
                <a:gd name="connsiteY3" fmla="*/ 0 h 416959"/>
                <a:gd name="connsiteX0" fmla="*/ 416959 w 416959"/>
                <a:gd name="connsiteY0" fmla="*/ 416959 h 416959"/>
                <a:gd name="connsiteX1" fmla="*/ 0 w 416959"/>
                <a:gd name="connsiteY1" fmla="*/ 416959 h 416959"/>
                <a:gd name="connsiteX2" fmla="*/ 0 w 416959"/>
                <a:gd name="connsiteY2" fmla="*/ 0 h 416959"/>
              </a:gdLst>
              <a:ahLst/>
              <a:cxnLst>
                <a:cxn ang="0">
                  <a:pos x="connsiteX0" y="connsiteY0"/>
                </a:cxn>
                <a:cxn ang="0">
                  <a:pos x="connsiteX1" y="connsiteY1"/>
                </a:cxn>
                <a:cxn ang="0">
                  <a:pos x="connsiteX2" y="connsiteY2"/>
                </a:cxn>
              </a:cxnLst>
              <a:rect l="l" t="t" r="r" b="b"/>
              <a:pathLst>
                <a:path w="416959" h="416959">
                  <a:moveTo>
                    <a:pt x="416959" y="416959"/>
                  </a:moveTo>
                  <a:lnTo>
                    <a:pt x="0" y="416959"/>
                  </a:lnTo>
                  <a:lnTo>
                    <a:pt x="0" y="0"/>
                  </a:lnTo>
                </a:path>
              </a:pathLst>
            </a:cu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16811519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 Slide - 3 Pictures - b">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24134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5_Section Header w/ picture – yellow">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913A7-1BD1-134A-BB0E-3D76124E4C6C}"/>
              </a:ext>
            </a:extLst>
          </p:cNvPr>
          <p:cNvSpPr>
            <a:spLocks noGrp="1"/>
          </p:cNvSpPr>
          <p:nvPr>
            <p:ph type="title"/>
          </p:nvPr>
        </p:nvSpPr>
        <p:spPr>
          <a:xfrm>
            <a:off x="1991596" y="3923983"/>
            <a:ext cx="5921675" cy="2852737"/>
          </a:xfrm>
        </p:spPr>
        <p:txBody>
          <a:bodyPr vert="horz" lIns="91440" tIns="45720" rIns="0" bIns="45720" numCol="1" rtlCol="0" anchor="t">
            <a:noAutofit/>
          </a:bodyPr>
          <a:lstStyle>
            <a:lvl1pPr>
              <a:lnSpc>
                <a:spcPct val="100000"/>
              </a:lnSpc>
              <a:defRPr lang="en-GB" altLang="en-GB" sz="3600" b="0" i="0" dirty="0">
                <a:solidFill>
                  <a:srgbClr val="000000"/>
                </a:solidFill>
                <a:latin typeface="ASICS Font 3.0" pitchFamily="2" charset="77"/>
              </a:defRPr>
            </a:lvl1pPr>
          </a:lstStyle>
          <a:p>
            <a:pPr lvl="0"/>
            <a:r>
              <a:rPr lang="en-US" altLang="en-GB"/>
              <a:t>Click to edit Master title style</a:t>
            </a:r>
            <a:endParaRPr lang="en-GB" altLang="en-GB"/>
          </a:p>
        </p:txBody>
      </p:sp>
      <p:sp>
        <p:nvSpPr>
          <p:cNvPr id="3" name="Text Placeholder 2">
            <a:extLst>
              <a:ext uri="{FF2B5EF4-FFF2-40B4-BE49-F238E27FC236}">
                <a16:creationId xmlns:a16="http://schemas.microsoft.com/office/drawing/2014/main" id="{A70D6666-4C91-7B41-9288-855571FA41D4}"/>
              </a:ext>
            </a:extLst>
          </p:cNvPr>
          <p:cNvSpPr>
            <a:spLocks noGrp="1"/>
          </p:cNvSpPr>
          <p:nvPr>
            <p:ph type="body" idx="1"/>
          </p:nvPr>
        </p:nvSpPr>
        <p:spPr>
          <a:xfrm>
            <a:off x="1991596" y="5210175"/>
            <a:ext cx="8912417" cy="1500187"/>
          </a:xfrm>
        </p:spPr>
        <p:txBody>
          <a:bodyPr vert="horz" lIns="91440" tIns="45720" rIns="91440" bIns="45720" numCol="1" rtlCol="0">
            <a:normAutofit/>
          </a:bodyPr>
          <a:lstStyle>
            <a:lvl1pPr>
              <a:lnSpc>
                <a:spcPct val="100000"/>
              </a:lnSpc>
              <a:defRPr lang="en-GB" altLang="en-GB" sz="1600" b="0" i="0" dirty="0" smtClean="0">
                <a:solidFill>
                  <a:srgbClr val="000000"/>
                </a:solidFill>
                <a:latin typeface="ASICS Font 3.0" pitchFamily="2" charset="77"/>
              </a:defRPr>
            </a:lvl1pPr>
          </a:lstStyle>
          <a:p>
            <a:pPr lvl="0" algn="l"/>
            <a:r>
              <a:rPr lang="en-US" altLang="en-GB"/>
              <a:t>Click to edit Master text styles</a:t>
            </a:r>
          </a:p>
        </p:txBody>
      </p:sp>
      <p:sp>
        <p:nvSpPr>
          <p:cNvPr id="16" name="Picture Placeholder 15">
            <a:extLst>
              <a:ext uri="{FF2B5EF4-FFF2-40B4-BE49-F238E27FC236}">
                <a16:creationId xmlns:a16="http://schemas.microsoft.com/office/drawing/2014/main" id="{09033A48-9243-024A-B9DA-34231B0015EF}"/>
              </a:ext>
            </a:extLst>
          </p:cNvPr>
          <p:cNvSpPr>
            <a:spLocks noGrp="1"/>
          </p:cNvSpPr>
          <p:nvPr>
            <p:ph type="pic" sz="quarter" idx="10"/>
          </p:nvPr>
        </p:nvSpPr>
        <p:spPr>
          <a:xfrm>
            <a:off x="0" y="0"/>
            <a:ext cx="12192000" cy="3633788"/>
          </a:xfrm>
        </p:spPr>
        <p:txBody>
          <a:bodyPr numCol="1"/>
          <a:lstStyle>
            <a:lvl1pPr>
              <a:defRPr b="0" i="0">
                <a:solidFill>
                  <a:srgbClr val="000000"/>
                </a:solidFill>
                <a:latin typeface="ASICS Font 3.0" pitchFamily="2" charset="77"/>
              </a:defRPr>
            </a:lvl1pPr>
          </a:lstStyle>
          <a:p>
            <a:r>
              <a:rPr lang="en-US" altLang="en-GB"/>
              <a:t>Click icon to add picture</a:t>
            </a:r>
            <a:endParaRPr lang="en-GB" altLang="en-GB"/>
          </a:p>
        </p:txBody>
      </p:sp>
      <p:pic>
        <p:nvPicPr>
          <p:cNvPr id="9" name="Picture 8">
            <a:extLst>
              <a:ext uri="{FF2B5EF4-FFF2-40B4-BE49-F238E27FC236}">
                <a16:creationId xmlns:a16="http://schemas.microsoft.com/office/drawing/2014/main" id="{7244BE98-2662-5146-A6B9-2EA200C86F36}"/>
              </a:ext>
            </a:extLst>
          </p:cNvPr>
          <p:cNvPicPr>
            <a:picLocks noChangeAspect="1"/>
          </p:cNvPicPr>
          <p:nvPr/>
        </p:nvPicPr>
        <p:blipFill>
          <a:blip r:embed="rId2"/>
          <a:stretch>
            <a:fillRect/>
          </a:stretch>
        </p:blipFill>
        <p:spPr>
          <a:xfrm>
            <a:off x="1115932" y="3976974"/>
            <a:ext cx="496769" cy="3332612"/>
          </a:xfrm>
          <a:prstGeom prst="rect">
            <a:avLst/>
          </a:prstGeom>
        </p:spPr>
      </p:pic>
      <p:cxnSp>
        <p:nvCxnSpPr>
          <p:cNvPr id="10" name="Straight Connector 9">
            <a:extLst>
              <a:ext uri="{FF2B5EF4-FFF2-40B4-BE49-F238E27FC236}">
                <a16:creationId xmlns:a16="http://schemas.microsoft.com/office/drawing/2014/main" id="{A3AEE1F1-0CC0-B24F-8F41-54C413F97760}"/>
              </a:ext>
            </a:extLst>
          </p:cNvPr>
          <p:cNvCxnSpPr>
            <a:cxnSpLocks/>
          </p:cNvCxnSpPr>
          <p:nvPr/>
        </p:nvCxnSpPr>
        <p:spPr>
          <a:xfrm>
            <a:off x="1762084" y="4005263"/>
            <a:ext cx="0" cy="1512668"/>
          </a:xfrm>
          <a:prstGeom prst="line">
            <a:avLst/>
          </a:prstGeom>
          <a:ln w="25400">
            <a:solidFill>
              <a:srgbClr val="1F256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0741407"/>
      </p:ext>
    </p:extLst>
  </p:cSld>
  <p:clrMapOvr>
    <a:masterClrMapping/>
  </p:clrMapOvr>
  <p:extLst>
    <p:ext uri="{DCECCB84-F9BA-43D5-87BE-67443E8EF086}">
      <p15:sldGuideLst xmlns:p15="http://schemas.microsoft.com/office/powerpoint/2012/main">
        <p15:guide id="1" pos="91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ection Header w/ picture – yellow">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913A7-1BD1-134A-BB0E-3D76124E4C6C}"/>
              </a:ext>
            </a:extLst>
          </p:cNvPr>
          <p:cNvSpPr>
            <a:spLocks noGrp="1"/>
          </p:cNvSpPr>
          <p:nvPr>
            <p:ph type="title"/>
          </p:nvPr>
        </p:nvSpPr>
        <p:spPr>
          <a:xfrm>
            <a:off x="1991596" y="3923983"/>
            <a:ext cx="5921675" cy="2852737"/>
          </a:xfrm>
        </p:spPr>
        <p:txBody>
          <a:bodyPr vert="horz" lIns="91440" tIns="45720" rIns="0" bIns="45720" numCol="1" rtlCol="0" anchor="t">
            <a:noAutofit/>
          </a:bodyPr>
          <a:lstStyle>
            <a:lvl1pPr>
              <a:lnSpc>
                <a:spcPct val="100000"/>
              </a:lnSpc>
              <a:defRPr lang="en-GB" altLang="en-GB" sz="3600" b="0" i="0" dirty="0">
                <a:solidFill>
                  <a:srgbClr val="000000"/>
                </a:solidFill>
                <a:latin typeface="ASICS Font 3.0" pitchFamily="2" charset="77"/>
              </a:defRPr>
            </a:lvl1pPr>
          </a:lstStyle>
          <a:p>
            <a:pPr lvl="0"/>
            <a:r>
              <a:rPr lang="en-US" altLang="en-GB"/>
              <a:t>Click to edit Master title style</a:t>
            </a:r>
            <a:endParaRPr lang="en-GB" altLang="en-GB"/>
          </a:p>
        </p:txBody>
      </p:sp>
      <p:sp>
        <p:nvSpPr>
          <p:cNvPr id="3" name="Text Placeholder 2">
            <a:extLst>
              <a:ext uri="{FF2B5EF4-FFF2-40B4-BE49-F238E27FC236}">
                <a16:creationId xmlns:a16="http://schemas.microsoft.com/office/drawing/2014/main" id="{A70D6666-4C91-7B41-9288-855571FA41D4}"/>
              </a:ext>
            </a:extLst>
          </p:cNvPr>
          <p:cNvSpPr>
            <a:spLocks noGrp="1"/>
          </p:cNvSpPr>
          <p:nvPr>
            <p:ph type="body" idx="1"/>
          </p:nvPr>
        </p:nvSpPr>
        <p:spPr>
          <a:xfrm>
            <a:off x="1991596" y="5210175"/>
            <a:ext cx="8630775" cy="1500187"/>
          </a:xfrm>
        </p:spPr>
        <p:txBody>
          <a:bodyPr vert="horz" lIns="91440" tIns="45720" rIns="91440" bIns="45720" numCol="1" rtlCol="0">
            <a:normAutofit/>
          </a:bodyPr>
          <a:lstStyle>
            <a:lvl1pPr>
              <a:lnSpc>
                <a:spcPct val="100000"/>
              </a:lnSpc>
              <a:defRPr lang="en-GB" altLang="en-GB" sz="1600" b="0" i="0" dirty="0" smtClean="0">
                <a:solidFill>
                  <a:srgbClr val="000000"/>
                </a:solidFill>
                <a:latin typeface="ASICS Font 3.0" pitchFamily="2" charset="77"/>
              </a:defRPr>
            </a:lvl1pPr>
          </a:lstStyle>
          <a:p>
            <a:pPr lvl="0" algn="l"/>
            <a:r>
              <a:rPr lang="en-US" altLang="en-GB"/>
              <a:t>Click to edit Master text styles</a:t>
            </a:r>
          </a:p>
        </p:txBody>
      </p:sp>
      <p:sp>
        <p:nvSpPr>
          <p:cNvPr id="16" name="Picture Placeholder 15">
            <a:extLst>
              <a:ext uri="{FF2B5EF4-FFF2-40B4-BE49-F238E27FC236}">
                <a16:creationId xmlns:a16="http://schemas.microsoft.com/office/drawing/2014/main" id="{09033A48-9243-024A-B9DA-34231B0015EF}"/>
              </a:ext>
            </a:extLst>
          </p:cNvPr>
          <p:cNvSpPr>
            <a:spLocks noGrp="1"/>
          </p:cNvSpPr>
          <p:nvPr>
            <p:ph type="pic" sz="quarter" idx="10"/>
          </p:nvPr>
        </p:nvSpPr>
        <p:spPr>
          <a:xfrm>
            <a:off x="0" y="0"/>
            <a:ext cx="12192000" cy="3633788"/>
          </a:xfrm>
        </p:spPr>
        <p:txBody>
          <a:bodyPr numCol="1"/>
          <a:lstStyle>
            <a:lvl1pPr>
              <a:defRPr b="0" i="0">
                <a:solidFill>
                  <a:srgbClr val="000000"/>
                </a:solidFill>
                <a:latin typeface="ASICS Font 3.0" pitchFamily="2" charset="77"/>
              </a:defRPr>
            </a:lvl1pPr>
          </a:lstStyle>
          <a:p>
            <a:r>
              <a:rPr lang="en-US" altLang="en-GB"/>
              <a:t>Click icon to add picture</a:t>
            </a:r>
            <a:endParaRPr lang="en-GB" altLang="en-GB"/>
          </a:p>
        </p:txBody>
      </p:sp>
      <p:pic>
        <p:nvPicPr>
          <p:cNvPr id="9" name="Picture 8">
            <a:extLst>
              <a:ext uri="{FF2B5EF4-FFF2-40B4-BE49-F238E27FC236}">
                <a16:creationId xmlns:a16="http://schemas.microsoft.com/office/drawing/2014/main" id="{7244BE98-2662-5146-A6B9-2EA200C86F36}"/>
              </a:ext>
            </a:extLst>
          </p:cNvPr>
          <p:cNvPicPr>
            <a:picLocks noChangeAspect="1"/>
          </p:cNvPicPr>
          <p:nvPr/>
        </p:nvPicPr>
        <p:blipFill>
          <a:blip r:embed="rId2"/>
          <a:stretch>
            <a:fillRect/>
          </a:stretch>
        </p:blipFill>
        <p:spPr>
          <a:xfrm>
            <a:off x="1115932" y="3976974"/>
            <a:ext cx="496769" cy="3332612"/>
          </a:xfrm>
          <a:prstGeom prst="rect">
            <a:avLst/>
          </a:prstGeom>
        </p:spPr>
      </p:pic>
      <p:cxnSp>
        <p:nvCxnSpPr>
          <p:cNvPr id="10" name="Straight Connector 9">
            <a:extLst>
              <a:ext uri="{FF2B5EF4-FFF2-40B4-BE49-F238E27FC236}">
                <a16:creationId xmlns:a16="http://schemas.microsoft.com/office/drawing/2014/main" id="{A3AEE1F1-0CC0-B24F-8F41-54C413F97760}"/>
              </a:ext>
            </a:extLst>
          </p:cNvPr>
          <p:cNvCxnSpPr>
            <a:cxnSpLocks/>
          </p:cNvCxnSpPr>
          <p:nvPr/>
        </p:nvCxnSpPr>
        <p:spPr>
          <a:xfrm>
            <a:off x="1762084" y="4005263"/>
            <a:ext cx="0" cy="1512668"/>
          </a:xfrm>
          <a:prstGeom prst="line">
            <a:avLst/>
          </a:prstGeom>
          <a:ln w="25400">
            <a:solidFill>
              <a:srgbClr val="1F256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1165310"/>
      </p:ext>
    </p:extLst>
  </p:cSld>
  <p:clrMapOvr>
    <a:masterClrMapping/>
  </p:clrMapOvr>
  <p:extLst>
    <p:ext uri="{DCECCB84-F9BA-43D5-87BE-67443E8EF086}">
      <p15:sldGuideLst xmlns:p15="http://schemas.microsoft.com/office/powerpoint/2012/main">
        <p15:guide id="1" pos="914">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4_Section Header w/ picture – yellow">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913A7-1BD1-134A-BB0E-3D76124E4C6C}"/>
              </a:ext>
            </a:extLst>
          </p:cNvPr>
          <p:cNvSpPr>
            <a:spLocks noGrp="1"/>
          </p:cNvSpPr>
          <p:nvPr>
            <p:ph type="title"/>
          </p:nvPr>
        </p:nvSpPr>
        <p:spPr>
          <a:xfrm>
            <a:off x="1991596" y="3923983"/>
            <a:ext cx="5921675" cy="2852737"/>
          </a:xfrm>
        </p:spPr>
        <p:txBody>
          <a:bodyPr vert="horz" lIns="91440" tIns="45720" rIns="0" bIns="45720" numCol="1" rtlCol="0" anchor="t">
            <a:noAutofit/>
          </a:bodyPr>
          <a:lstStyle>
            <a:lvl1pPr>
              <a:lnSpc>
                <a:spcPct val="100000"/>
              </a:lnSpc>
              <a:defRPr lang="en-GB" altLang="en-GB" sz="3600" b="0" i="0" dirty="0">
                <a:solidFill>
                  <a:srgbClr val="000000"/>
                </a:solidFill>
                <a:latin typeface="ASICS Font 3.0" pitchFamily="2" charset="77"/>
              </a:defRPr>
            </a:lvl1pPr>
          </a:lstStyle>
          <a:p>
            <a:pPr lvl="0"/>
            <a:r>
              <a:rPr lang="en-US" altLang="en-GB"/>
              <a:t>Click to edit Master title style</a:t>
            </a:r>
            <a:endParaRPr lang="en-GB" altLang="en-GB"/>
          </a:p>
        </p:txBody>
      </p:sp>
      <p:sp>
        <p:nvSpPr>
          <p:cNvPr id="3" name="Text Placeholder 2">
            <a:extLst>
              <a:ext uri="{FF2B5EF4-FFF2-40B4-BE49-F238E27FC236}">
                <a16:creationId xmlns:a16="http://schemas.microsoft.com/office/drawing/2014/main" id="{A70D6666-4C91-7B41-9288-855571FA41D4}"/>
              </a:ext>
            </a:extLst>
          </p:cNvPr>
          <p:cNvSpPr>
            <a:spLocks noGrp="1"/>
          </p:cNvSpPr>
          <p:nvPr>
            <p:ph type="body" idx="1"/>
          </p:nvPr>
        </p:nvSpPr>
        <p:spPr>
          <a:xfrm>
            <a:off x="1991597" y="5210175"/>
            <a:ext cx="8641725" cy="1500187"/>
          </a:xfrm>
        </p:spPr>
        <p:txBody>
          <a:bodyPr vert="horz" lIns="91440" tIns="45720" rIns="91440" bIns="45720" numCol="1" rtlCol="0">
            <a:normAutofit/>
          </a:bodyPr>
          <a:lstStyle>
            <a:lvl1pPr>
              <a:lnSpc>
                <a:spcPct val="100000"/>
              </a:lnSpc>
              <a:defRPr lang="en-GB" altLang="en-GB" sz="1600" b="0" i="0" dirty="0" smtClean="0">
                <a:solidFill>
                  <a:srgbClr val="000000"/>
                </a:solidFill>
                <a:latin typeface="ASICS Font 3.0" pitchFamily="2" charset="77"/>
              </a:defRPr>
            </a:lvl1pPr>
          </a:lstStyle>
          <a:p>
            <a:pPr lvl="0" algn="l"/>
            <a:r>
              <a:rPr lang="en-US" altLang="en-GB"/>
              <a:t>Click to edit Master text styles</a:t>
            </a:r>
          </a:p>
        </p:txBody>
      </p:sp>
      <p:sp>
        <p:nvSpPr>
          <p:cNvPr id="16" name="Picture Placeholder 15">
            <a:extLst>
              <a:ext uri="{FF2B5EF4-FFF2-40B4-BE49-F238E27FC236}">
                <a16:creationId xmlns:a16="http://schemas.microsoft.com/office/drawing/2014/main" id="{09033A48-9243-024A-B9DA-34231B0015EF}"/>
              </a:ext>
            </a:extLst>
          </p:cNvPr>
          <p:cNvSpPr>
            <a:spLocks noGrp="1"/>
          </p:cNvSpPr>
          <p:nvPr>
            <p:ph type="pic" sz="quarter" idx="10"/>
          </p:nvPr>
        </p:nvSpPr>
        <p:spPr>
          <a:xfrm>
            <a:off x="0" y="-1070"/>
            <a:ext cx="12192000" cy="3633788"/>
          </a:xfrm>
        </p:spPr>
        <p:txBody>
          <a:bodyPr numCol="1"/>
          <a:lstStyle>
            <a:lvl1pPr>
              <a:defRPr b="0" i="0">
                <a:solidFill>
                  <a:srgbClr val="000000"/>
                </a:solidFill>
                <a:latin typeface="ASICS Font 3.0" pitchFamily="2" charset="77"/>
              </a:defRPr>
            </a:lvl1pPr>
          </a:lstStyle>
          <a:p>
            <a:r>
              <a:rPr lang="en-US" altLang="en-GB"/>
              <a:t>Click icon to add picture</a:t>
            </a:r>
            <a:endParaRPr lang="en-GB" altLang="en-GB"/>
          </a:p>
        </p:txBody>
      </p:sp>
      <p:pic>
        <p:nvPicPr>
          <p:cNvPr id="9" name="Picture 8">
            <a:extLst>
              <a:ext uri="{FF2B5EF4-FFF2-40B4-BE49-F238E27FC236}">
                <a16:creationId xmlns:a16="http://schemas.microsoft.com/office/drawing/2014/main" id="{7244BE98-2662-5146-A6B9-2EA200C86F36}"/>
              </a:ext>
            </a:extLst>
          </p:cNvPr>
          <p:cNvPicPr>
            <a:picLocks noChangeAspect="1"/>
          </p:cNvPicPr>
          <p:nvPr/>
        </p:nvPicPr>
        <p:blipFill>
          <a:blip r:embed="rId2"/>
          <a:stretch>
            <a:fillRect/>
          </a:stretch>
        </p:blipFill>
        <p:spPr>
          <a:xfrm>
            <a:off x="1115932" y="3976974"/>
            <a:ext cx="496769" cy="3332612"/>
          </a:xfrm>
          <a:prstGeom prst="rect">
            <a:avLst/>
          </a:prstGeom>
        </p:spPr>
      </p:pic>
      <p:cxnSp>
        <p:nvCxnSpPr>
          <p:cNvPr id="10" name="Straight Connector 9">
            <a:extLst>
              <a:ext uri="{FF2B5EF4-FFF2-40B4-BE49-F238E27FC236}">
                <a16:creationId xmlns:a16="http://schemas.microsoft.com/office/drawing/2014/main" id="{A3AEE1F1-0CC0-B24F-8F41-54C413F97760}"/>
              </a:ext>
            </a:extLst>
          </p:cNvPr>
          <p:cNvCxnSpPr>
            <a:cxnSpLocks/>
          </p:cNvCxnSpPr>
          <p:nvPr/>
        </p:nvCxnSpPr>
        <p:spPr>
          <a:xfrm>
            <a:off x="1762084" y="4005263"/>
            <a:ext cx="0" cy="1512668"/>
          </a:xfrm>
          <a:prstGeom prst="line">
            <a:avLst/>
          </a:prstGeom>
          <a:ln w="25400">
            <a:solidFill>
              <a:srgbClr val="1F256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0027807"/>
      </p:ext>
    </p:extLst>
  </p:cSld>
  <p:clrMapOvr>
    <a:masterClrMapping/>
  </p:clrMapOvr>
  <p:extLst>
    <p:ext uri="{DCECCB84-F9BA-43D5-87BE-67443E8EF086}">
      <p15:sldGuideLst xmlns:p15="http://schemas.microsoft.com/office/powerpoint/2012/main">
        <p15:guide id="1" pos="914">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Plain Text Slide – blue">
    <p:bg>
      <p:bgPr>
        <a:solidFill>
          <a:schemeClr val="accent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08CC947-545E-B54A-8257-28D2939B6D8E}"/>
              </a:ext>
            </a:extLst>
          </p:cNvPr>
          <p:cNvSpPr>
            <a:spLocks noGrp="1"/>
          </p:cNvSpPr>
          <p:nvPr>
            <p:ph type="title"/>
          </p:nvPr>
        </p:nvSpPr>
        <p:spPr>
          <a:xfrm>
            <a:off x="766761" y="620713"/>
            <a:ext cx="10612051" cy="1296578"/>
          </a:xfrm>
        </p:spPr>
        <p:txBody>
          <a:bodyPr lIns="0" tIns="0" bIns="0" numCol="1" anchor="t">
            <a:normAutofit/>
          </a:bodyPr>
          <a:lstStyle>
            <a:lvl1pPr algn="l">
              <a:lnSpc>
                <a:spcPct val="100000"/>
              </a:lnSpc>
              <a:defRPr sz="3200" b="0" i="0">
                <a:solidFill>
                  <a:srgbClr val="000000"/>
                </a:solidFill>
                <a:latin typeface="ASICS Font 3.0" pitchFamily="2" charset="77"/>
              </a:defRPr>
            </a:lvl1pPr>
          </a:lstStyle>
          <a:p>
            <a:r>
              <a:rPr lang="en-US" altLang="en-GB"/>
              <a:t>Click to edit Master title style</a:t>
            </a:r>
            <a:endParaRPr lang="en-GB" altLang="en-GB"/>
          </a:p>
        </p:txBody>
      </p:sp>
      <p:sp>
        <p:nvSpPr>
          <p:cNvPr id="10" name="Content Placeholder 2">
            <a:extLst>
              <a:ext uri="{FF2B5EF4-FFF2-40B4-BE49-F238E27FC236}">
                <a16:creationId xmlns:a16="http://schemas.microsoft.com/office/drawing/2014/main" id="{C7EB6B74-E252-0748-95A7-47C8F5D9E92E}"/>
              </a:ext>
            </a:extLst>
          </p:cNvPr>
          <p:cNvSpPr>
            <a:spLocks noGrp="1"/>
          </p:cNvSpPr>
          <p:nvPr>
            <p:ph idx="1"/>
          </p:nvPr>
        </p:nvSpPr>
        <p:spPr>
          <a:xfrm>
            <a:off x="766764" y="2020472"/>
            <a:ext cx="10612048" cy="3666456"/>
          </a:xfrm>
        </p:spPr>
        <p:txBody>
          <a:bodyPr lIns="0" tIns="0" bIns="0" numCol="1" spcCol="360000"/>
          <a:lstStyle>
            <a:lvl1pPr>
              <a:lnSpc>
                <a:spcPct val="100000"/>
              </a:lnSpc>
              <a:defRPr sz="1400" b="0" i="0">
                <a:solidFill>
                  <a:srgbClr val="000000"/>
                </a:solidFill>
                <a:latin typeface="ASICS Font 3.0" pitchFamily="2" charset="77"/>
              </a:defRPr>
            </a:lvl1pPr>
          </a:lstStyle>
          <a:p>
            <a:pPr lvl="0"/>
            <a:r>
              <a:rPr lang="en-US" altLang="en-GB"/>
              <a:t>Click to edit Master text styles</a:t>
            </a:r>
          </a:p>
        </p:txBody>
      </p:sp>
      <p:sp>
        <p:nvSpPr>
          <p:cNvPr id="2" name="Slide Number Placeholder 1">
            <a:extLst>
              <a:ext uri="{FF2B5EF4-FFF2-40B4-BE49-F238E27FC236}">
                <a16:creationId xmlns:a16="http://schemas.microsoft.com/office/drawing/2014/main" id="{245A934F-F722-8641-B5AB-5363AC011527}"/>
              </a:ext>
            </a:extLst>
          </p:cNvPr>
          <p:cNvSpPr>
            <a:spLocks noGrp="1"/>
          </p:cNvSpPr>
          <p:nvPr>
            <p:ph type="sldNum" sz="quarter" idx="10"/>
          </p:nvPr>
        </p:nvSpPr>
        <p:spPr/>
        <p:txBody>
          <a:bodyPr/>
          <a:lstStyle>
            <a:lvl1pPr>
              <a:defRPr>
                <a:solidFill>
                  <a:srgbClr val="000000"/>
                </a:solidFill>
              </a:defRPr>
            </a:lvl1pPr>
          </a:lstStyle>
          <a:p>
            <a:fld id="{30CC6782-A7C1-AE43-BED6-519E5FEDBE2C}" type="slidenum">
              <a:rPr lang="en-US" smtClean="0"/>
              <a:pPr/>
              <a:t>‹#›</a:t>
            </a:fld>
            <a:endParaRPr lang="en-US"/>
          </a:p>
        </p:txBody>
      </p:sp>
    </p:spTree>
    <p:extLst>
      <p:ext uri="{BB962C8B-B14F-4D97-AF65-F5344CB8AC3E}">
        <p14:creationId xmlns:p14="http://schemas.microsoft.com/office/powerpoint/2010/main" val="3942614194"/>
      </p:ext>
    </p:extLst>
  </p:cSld>
  <p:clrMapOvr>
    <a:masterClrMapping/>
  </p:clrMapOvr>
  <p:extLst>
    <p:ext uri="{DCECCB84-F9BA-43D5-87BE-67443E8EF086}">
      <p15:sldGuideLst xmlns:p15="http://schemas.microsoft.com/office/powerpoint/2012/main">
        <p15:guide id="1" pos="735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Plain Text Slide – green">
    <p:bg>
      <p:bgPr>
        <a:solidFill>
          <a:schemeClr val="accent2"/>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A7BB818-CFF7-9F47-9700-FA0307092373}"/>
              </a:ext>
            </a:extLst>
          </p:cNvPr>
          <p:cNvSpPr>
            <a:spLocks noGrp="1"/>
          </p:cNvSpPr>
          <p:nvPr>
            <p:ph idx="1"/>
          </p:nvPr>
        </p:nvSpPr>
        <p:spPr>
          <a:xfrm>
            <a:off x="766764" y="2020472"/>
            <a:ext cx="10612048" cy="3666456"/>
          </a:xfrm>
        </p:spPr>
        <p:txBody>
          <a:bodyPr lIns="0" tIns="0" bIns="0" numCol="1" spcCol="360000"/>
          <a:lstStyle>
            <a:lvl1pPr>
              <a:lnSpc>
                <a:spcPct val="100000"/>
              </a:lnSpc>
              <a:defRPr sz="1400" b="0" i="0">
                <a:solidFill>
                  <a:srgbClr val="000000"/>
                </a:solidFill>
                <a:latin typeface="ASICS Font 3.0" pitchFamily="2" charset="77"/>
              </a:defRPr>
            </a:lvl1pPr>
          </a:lstStyle>
          <a:p>
            <a:pPr lvl="0"/>
            <a:r>
              <a:rPr lang="en-US" altLang="en-GB"/>
              <a:t>Click to edit Master text styles</a:t>
            </a:r>
          </a:p>
        </p:txBody>
      </p:sp>
      <p:sp>
        <p:nvSpPr>
          <p:cNvPr id="8" name="Title 1">
            <a:extLst>
              <a:ext uri="{FF2B5EF4-FFF2-40B4-BE49-F238E27FC236}">
                <a16:creationId xmlns:a16="http://schemas.microsoft.com/office/drawing/2014/main" id="{ACC3A03B-7A97-4846-81BC-FFF8FA858B1F}"/>
              </a:ext>
            </a:extLst>
          </p:cNvPr>
          <p:cNvSpPr>
            <a:spLocks noGrp="1"/>
          </p:cNvSpPr>
          <p:nvPr>
            <p:ph type="title"/>
          </p:nvPr>
        </p:nvSpPr>
        <p:spPr>
          <a:xfrm>
            <a:off x="766761" y="620713"/>
            <a:ext cx="10612051" cy="1296578"/>
          </a:xfrm>
        </p:spPr>
        <p:txBody>
          <a:bodyPr lIns="0" tIns="0" bIns="0" numCol="1" anchor="t">
            <a:normAutofit/>
          </a:bodyPr>
          <a:lstStyle>
            <a:lvl1pPr algn="l">
              <a:lnSpc>
                <a:spcPct val="100000"/>
              </a:lnSpc>
              <a:defRPr sz="3200" b="0" i="0">
                <a:solidFill>
                  <a:srgbClr val="000000"/>
                </a:solidFill>
                <a:latin typeface="ASICS Font 3.0" pitchFamily="2" charset="77"/>
              </a:defRPr>
            </a:lvl1pPr>
          </a:lstStyle>
          <a:p>
            <a:r>
              <a:rPr lang="en-US" altLang="en-GB"/>
              <a:t>Click to edit Master title style</a:t>
            </a:r>
            <a:endParaRPr lang="en-GB" altLang="en-GB"/>
          </a:p>
        </p:txBody>
      </p:sp>
      <p:sp>
        <p:nvSpPr>
          <p:cNvPr id="2" name="Slide Number Placeholder 1">
            <a:extLst>
              <a:ext uri="{FF2B5EF4-FFF2-40B4-BE49-F238E27FC236}">
                <a16:creationId xmlns:a16="http://schemas.microsoft.com/office/drawing/2014/main" id="{D29B6950-02FB-C14C-B293-A3437357A404}"/>
              </a:ext>
            </a:extLst>
          </p:cNvPr>
          <p:cNvSpPr>
            <a:spLocks noGrp="1"/>
          </p:cNvSpPr>
          <p:nvPr>
            <p:ph type="sldNum" sz="quarter" idx="10"/>
          </p:nvPr>
        </p:nvSpPr>
        <p:spPr/>
        <p:txBody>
          <a:bodyPr/>
          <a:lstStyle>
            <a:lvl1pPr>
              <a:defRPr>
                <a:solidFill>
                  <a:srgbClr val="000000"/>
                </a:solidFill>
              </a:defRPr>
            </a:lvl1pPr>
          </a:lstStyle>
          <a:p>
            <a:fld id="{30CC6782-A7C1-AE43-BED6-519E5FEDBE2C}" type="slidenum">
              <a:rPr lang="en-US" smtClean="0"/>
              <a:pPr/>
              <a:t>‹#›</a:t>
            </a:fld>
            <a:endParaRPr lang="en-US"/>
          </a:p>
        </p:txBody>
      </p:sp>
    </p:spTree>
    <p:extLst>
      <p:ext uri="{BB962C8B-B14F-4D97-AF65-F5344CB8AC3E}">
        <p14:creationId xmlns:p14="http://schemas.microsoft.com/office/powerpoint/2010/main" val="434874229"/>
      </p:ext>
    </p:extLst>
  </p:cSld>
  <p:clrMapOvr>
    <a:masterClrMapping/>
  </p:clrMapOvr>
  <p:extLst>
    <p:ext uri="{DCECCB84-F9BA-43D5-87BE-67443E8EF086}">
      <p15:sldGuideLst xmlns:p15="http://schemas.microsoft.com/office/powerpoint/2012/main">
        <p15:guide id="1" pos="7355">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Plain Text Slide – blue">
    <p:bg>
      <p:bgPr>
        <a:solidFill>
          <a:schemeClr val="bg1"/>
        </a:solidFill>
        <a:effectLst/>
      </p:bgPr>
    </p:bg>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7DB73483-96E4-934E-BFCC-40D38212675D}"/>
              </a:ext>
            </a:extLst>
          </p:cNvPr>
          <p:cNvSpPr>
            <a:spLocks noGrp="1"/>
          </p:cNvSpPr>
          <p:nvPr>
            <p:ph idx="1"/>
          </p:nvPr>
        </p:nvSpPr>
        <p:spPr>
          <a:xfrm>
            <a:off x="766764" y="2020472"/>
            <a:ext cx="10612048" cy="3666456"/>
          </a:xfrm>
        </p:spPr>
        <p:txBody>
          <a:bodyPr lIns="0" tIns="0" bIns="0" numCol="1" spcCol="360000"/>
          <a:lstStyle>
            <a:lvl1pPr>
              <a:lnSpc>
                <a:spcPct val="100000"/>
              </a:lnSpc>
              <a:defRPr sz="1400" b="0" i="0">
                <a:solidFill>
                  <a:srgbClr val="000000"/>
                </a:solidFill>
                <a:latin typeface="ASICS Font 3.0" pitchFamily="2" charset="77"/>
              </a:defRPr>
            </a:lvl1pPr>
          </a:lstStyle>
          <a:p>
            <a:pPr lvl="0"/>
            <a:r>
              <a:rPr lang="en-US" altLang="en-GB"/>
              <a:t>Click to edit Master text styles</a:t>
            </a:r>
          </a:p>
        </p:txBody>
      </p:sp>
      <p:sp>
        <p:nvSpPr>
          <p:cNvPr id="6" name="Title 1">
            <a:extLst>
              <a:ext uri="{FF2B5EF4-FFF2-40B4-BE49-F238E27FC236}">
                <a16:creationId xmlns:a16="http://schemas.microsoft.com/office/drawing/2014/main" id="{D8FDD490-B14C-644B-BFFF-B75DFEA6F2A9}"/>
              </a:ext>
            </a:extLst>
          </p:cNvPr>
          <p:cNvSpPr>
            <a:spLocks noGrp="1"/>
          </p:cNvSpPr>
          <p:nvPr>
            <p:ph type="title"/>
          </p:nvPr>
        </p:nvSpPr>
        <p:spPr>
          <a:xfrm>
            <a:off x="766761" y="620713"/>
            <a:ext cx="10612051" cy="1296578"/>
          </a:xfrm>
        </p:spPr>
        <p:txBody>
          <a:bodyPr lIns="0" tIns="0" bIns="0" numCol="1" anchor="t">
            <a:normAutofit/>
          </a:bodyPr>
          <a:lstStyle>
            <a:lvl1pPr algn="l">
              <a:lnSpc>
                <a:spcPct val="100000"/>
              </a:lnSpc>
              <a:defRPr sz="3200" b="0" i="0">
                <a:solidFill>
                  <a:srgbClr val="000000"/>
                </a:solidFill>
                <a:latin typeface="ASICS Font 3.0" pitchFamily="2" charset="77"/>
              </a:defRPr>
            </a:lvl1pPr>
          </a:lstStyle>
          <a:p>
            <a:r>
              <a:rPr lang="en-US" altLang="en-GB"/>
              <a:t>Click to edit Master title style</a:t>
            </a:r>
            <a:endParaRPr lang="en-GB" altLang="en-GB"/>
          </a:p>
        </p:txBody>
      </p:sp>
      <p:sp>
        <p:nvSpPr>
          <p:cNvPr id="2" name="Slide Number Placeholder 1">
            <a:extLst>
              <a:ext uri="{FF2B5EF4-FFF2-40B4-BE49-F238E27FC236}">
                <a16:creationId xmlns:a16="http://schemas.microsoft.com/office/drawing/2014/main" id="{6A9B3EEA-3753-4145-BE67-A5361B720490}"/>
              </a:ext>
            </a:extLst>
          </p:cNvPr>
          <p:cNvSpPr>
            <a:spLocks noGrp="1"/>
          </p:cNvSpPr>
          <p:nvPr>
            <p:ph type="sldNum" sz="quarter" idx="10"/>
          </p:nvPr>
        </p:nvSpPr>
        <p:spPr/>
        <p:txBody>
          <a:bodyPr/>
          <a:lstStyle>
            <a:lvl1pPr>
              <a:defRPr>
                <a:solidFill>
                  <a:srgbClr val="000000"/>
                </a:solidFill>
              </a:defRPr>
            </a:lvl1pPr>
          </a:lstStyle>
          <a:p>
            <a:fld id="{30CC6782-A7C1-AE43-BED6-519E5FEDBE2C}" type="slidenum">
              <a:rPr lang="en-US" smtClean="0"/>
              <a:pPr/>
              <a:t>‹#›</a:t>
            </a:fld>
            <a:endParaRPr lang="en-US"/>
          </a:p>
        </p:txBody>
      </p:sp>
    </p:spTree>
    <p:extLst>
      <p:ext uri="{BB962C8B-B14F-4D97-AF65-F5344CB8AC3E}">
        <p14:creationId xmlns:p14="http://schemas.microsoft.com/office/powerpoint/2010/main" val="958110380"/>
      </p:ext>
    </p:extLst>
  </p:cSld>
  <p:clrMapOvr>
    <a:masterClrMapping/>
  </p:clrMapOvr>
  <p:extLst>
    <p:ext uri="{DCECCB84-F9BA-43D5-87BE-67443E8EF086}">
      <p15:sldGuideLst xmlns:p15="http://schemas.microsoft.com/office/powerpoint/2012/main">
        <p15:guide id="1" pos="7355">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タイトルとテキスト">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288B6EC4-1719-AF4F-9B4F-FB51C765D35D}"/>
              </a:ext>
            </a:extLst>
          </p:cNvPr>
          <p:cNvSpPr>
            <a:spLocks noGrp="1"/>
          </p:cNvSpPr>
          <p:nvPr>
            <p:ph type="title" hasCustomPrompt="1"/>
          </p:nvPr>
        </p:nvSpPr>
        <p:spPr>
          <a:xfrm>
            <a:off x="331678" y="324874"/>
            <a:ext cx="5764322" cy="1603931"/>
          </a:xfrm>
        </p:spPr>
        <p:txBody>
          <a:bodyPr anchor="t"/>
          <a:lstStyle>
            <a:lvl1pPr>
              <a:defRPr sz="3200" b="0" i="0" cap="none" baseline="0">
                <a:solidFill>
                  <a:srgbClr val="000000"/>
                </a:solidFill>
                <a:latin typeface="ASICS Font 3.0" pitchFamily="2" charset="77"/>
              </a:defRPr>
            </a:lvl1pPr>
          </a:lstStyle>
          <a:p>
            <a:r>
              <a:rPr lang="en-US"/>
              <a:t>Content title here</a:t>
            </a:r>
          </a:p>
        </p:txBody>
      </p:sp>
      <p:sp>
        <p:nvSpPr>
          <p:cNvPr id="6" name="Text Placeholder 12">
            <a:extLst>
              <a:ext uri="{FF2B5EF4-FFF2-40B4-BE49-F238E27FC236}">
                <a16:creationId xmlns:a16="http://schemas.microsoft.com/office/drawing/2014/main" id="{161E4BD9-3690-1143-B57E-7B178C7EE111}"/>
              </a:ext>
            </a:extLst>
          </p:cNvPr>
          <p:cNvSpPr>
            <a:spLocks noGrp="1"/>
          </p:cNvSpPr>
          <p:nvPr>
            <p:ph type="body" sz="quarter" idx="15" hasCustomPrompt="1"/>
          </p:nvPr>
        </p:nvSpPr>
        <p:spPr>
          <a:xfrm>
            <a:off x="331787" y="2142778"/>
            <a:ext cx="5764213" cy="4238972"/>
          </a:xfrm>
        </p:spPr>
        <p:txBody>
          <a:bodyPr>
            <a:noAutofit/>
          </a:bodyPr>
          <a:lstStyle>
            <a:lvl1pPr>
              <a:buNone/>
              <a:defRPr b="0" i="0">
                <a:solidFill>
                  <a:srgbClr val="000000"/>
                </a:solidFill>
                <a:latin typeface="ASICS Font 3.0" pitchFamily="2" charset="77"/>
              </a:defRPr>
            </a:lvl1pPr>
            <a:lvl2pPr>
              <a:buNone/>
              <a:defRPr/>
            </a:lvl2pPr>
            <a:lvl3pPr>
              <a:buNone/>
              <a:defRPr/>
            </a:lvl3pPr>
            <a:lvl4pPr>
              <a:buNone/>
              <a:defRPr/>
            </a:lvl4pPr>
            <a:lvl5pPr>
              <a:buNone/>
              <a:defRPr/>
            </a:lvl5pPr>
          </a:lstStyle>
          <a:p>
            <a:pPr lvl="0"/>
            <a:r>
              <a:rPr lang="en-GB" altLang="ja-JP"/>
              <a:t>Click to edit master text styles</a:t>
            </a:r>
          </a:p>
        </p:txBody>
      </p:sp>
      <p:sp>
        <p:nvSpPr>
          <p:cNvPr id="2" name="Slide Number Placeholder 1">
            <a:extLst>
              <a:ext uri="{FF2B5EF4-FFF2-40B4-BE49-F238E27FC236}">
                <a16:creationId xmlns:a16="http://schemas.microsoft.com/office/drawing/2014/main" id="{B8FBF4C3-CDA1-114A-AACD-6690F523D37B}"/>
              </a:ext>
            </a:extLst>
          </p:cNvPr>
          <p:cNvSpPr>
            <a:spLocks noGrp="1"/>
          </p:cNvSpPr>
          <p:nvPr>
            <p:ph type="sldNum" sz="quarter" idx="16"/>
          </p:nvPr>
        </p:nvSpPr>
        <p:spPr/>
        <p:txBody>
          <a:bodyPr/>
          <a:lstStyle>
            <a:lvl1pPr>
              <a:defRPr>
                <a:solidFill>
                  <a:srgbClr val="000000"/>
                </a:solidFill>
              </a:defRPr>
            </a:lvl1pPr>
          </a:lstStyle>
          <a:p>
            <a:fld id="{30CC6782-A7C1-AE43-BED6-519E5FEDBE2C}" type="slidenum">
              <a:rPr lang="en-US" smtClean="0"/>
              <a:pPr/>
              <a:t>‹#›</a:t>
            </a:fld>
            <a:endParaRPr lang="en-US"/>
          </a:p>
        </p:txBody>
      </p:sp>
    </p:spTree>
    <p:extLst>
      <p:ext uri="{BB962C8B-B14F-4D97-AF65-F5344CB8AC3E}">
        <p14:creationId xmlns:p14="http://schemas.microsoft.com/office/powerpoint/2010/main" val="23056910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タイトルのみ">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288B6EC4-1719-AF4F-9B4F-FB51C765D35D}"/>
              </a:ext>
            </a:extLst>
          </p:cNvPr>
          <p:cNvSpPr>
            <a:spLocks noGrp="1"/>
          </p:cNvSpPr>
          <p:nvPr>
            <p:ph type="title" hasCustomPrompt="1"/>
          </p:nvPr>
        </p:nvSpPr>
        <p:spPr>
          <a:xfrm>
            <a:off x="331678" y="324874"/>
            <a:ext cx="5764322" cy="1603931"/>
          </a:xfrm>
        </p:spPr>
        <p:txBody>
          <a:bodyPr anchor="t"/>
          <a:lstStyle>
            <a:lvl1pPr>
              <a:defRPr sz="3200" b="0" i="0" cap="none" baseline="0">
                <a:solidFill>
                  <a:srgbClr val="000000"/>
                </a:solidFill>
                <a:latin typeface="ASICS Font 3.0" pitchFamily="2" charset="77"/>
              </a:defRPr>
            </a:lvl1pPr>
          </a:lstStyle>
          <a:p>
            <a:r>
              <a:rPr lang="en-US"/>
              <a:t>Content title here</a:t>
            </a:r>
          </a:p>
        </p:txBody>
      </p:sp>
      <p:sp>
        <p:nvSpPr>
          <p:cNvPr id="2" name="Slide Number Placeholder 1">
            <a:extLst>
              <a:ext uri="{FF2B5EF4-FFF2-40B4-BE49-F238E27FC236}">
                <a16:creationId xmlns:a16="http://schemas.microsoft.com/office/drawing/2014/main" id="{8F3A8861-2968-6F46-871A-02C3D1D73A14}"/>
              </a:ext>
            </a:extLst>
          </p:cNvPr>
          <p:cNvSpPr>
            <a:spLocks noGrp="1"/>
          </p:cNvSpPr>
          <p:nvPr>
            <p:ph type="sldNum" sz="quarter" idx="10"/>
          </p:nvPr>
        </p:nvSpPr>
        <p:spPr/>
        <p:txBody>
          <a:bodyPr/>
          <a:lstStyle>
            <a:lvl1pPr>
              <a:defRPr>
                <a:solidFill>
                  <a:srgbClr val="000000"/>
                </a:solidFill>
              </a:defRPr>
            </a:lvl1pPr>
          </a:lstStyle>
          <a:p>
            <a:fld id="{30CC6782-A7C1-AE43-BED6-519E5FEDBE2C}" type="slidenum">
              <a:rPr lang="en-US" smtClean="0"/>
              <a:pPr/>
              <a:t>‹#›</a:t>
            </a:fld>
            <a:endParaRPr lang="en-US"/>
          </a:p>
        </p:txBody>
      </p:sp>
    </p:spTree>
    <p:extLst>
      <p:ext uri="{BB962C8B-B14F-4D97-AF65-F5344CB8AC3E}">
        <p14:creationId xmlns:p14="http://schemas.microsoft.com/office/powerpoint/2010/main" val="16008485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E5E5F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0569B6-AB26-DD4D-8FDE-9684CEBAF991}"/>
              </a:ext>
            </a:extLst>
          </p:cNvPr>
          <p:cNvSpPr>
            <a:spLocks noGrp="1"/>
          </p:cNvSpPr>
          <p:nvPr>
            <p:ph type="title" hasCustomPrompt="1"/>
          </p:nvPr>
        </p:nvSpPr>
        <p:spPr>
          <a:xfrm>
            <a:off x="318218" y="283876"/>
            <a:ext cx="5777782" cy="1962936"/>
          </a:xfrm>
        </p:spPr>
        <p:txBody>
          <a:bodyPr anchor="t"/>
          <a:lstStyle>
            <a:lvl1pPr>
              <a:defRPr sz="5400" b="0" i="0" cap="none" baseline="0">
                <a:solidFill>
                  <a:srgbClr val="000000"/>
                </a:solidFill>
                <a:latin typeface="ASICS Font 3.0" pitchFamily="2" charset="77"/>
              </a:defRPr>
            </a:lvl1pPr>
          </a:lstStyle>
          <a:p>
            <a:r>
              <a:rPr lang="en-US"/>
              <a:t>Divider title here</a:t>
            </a:r>
          </a:p>
        </p:txBody>
      </p:sp>
      <p:sp>
        <p:nvSpPr>
          <p:cNvPr id="6" name="Slide Number Placeholder 5">
            <a:extLst>
              <a:ext uri="{FF2B5EF4-FFF2-40B4-BE49-F238E27FC236}">
                <a16:creationId xmlns:a16="http://schemas.microsoft.com/office/drawing/2014/main" id="{7578056D-12D4-4747-A63E-85C10A5EEDDB}"/>
              </a:ext>
            </a:extLst>
          </p:cNvPr>
          <p:cNvSpPr>
            <a:spLocks noGrp="1"/>
          </p:cNvSpPr>
          <p:nvPr>
            <p:ph type="sldNum" sz="quarter" idx="12"/>
          </p:nvPr>
        </p:nvSpPr>
        <p:spPr>
          <a:xfrm>
            <a:off x="11080548" y="244864"/>
            <a:ext cx="753833" cy="365125"/>
          </a:xfrm>
          <a:prstGeom prst="rect">
            <a:avLst/>
          </a:prstGeom>
        </p:spPr>
        <p:txBody>
          <a:bodyPr/>
          <a:lstStyle>
            <a:lvl1pPr>
              <a:defRPr b="0" i="0">
                <a:solidFill>
                  <a:srgbClr val="000000"/>
                </a:solidFill>
                <a:latin typeface="ASICS Font 3.0" pitchFamily="2" charset="77"/>
              </a:defRPr>
            </a:lvl1pPr>
          </a:lstStyle>
          <a:p>
            <a:fld id="{30CC6782-A7C1-AE43-BED6-519E5FEDBE2C}" type="slidenum">
              <a:rPr lang="en-US" smtClean="0"/>
              <a:pPr/>
              <a:t>‹#›</a:t>
            </a:fld>
            <a:endParaRPr lang="en-US"/>
          </a:p>
        </p:txBody>
      </p:sp>
    </p:spTree>
    <p:extLst>
      <p:ext uri="{BB962C8B-B14F-4D97-AF65-F5344CB8AC3E}">
        <p14:creationId xmlns:p14="http://schemas.microsoft.com/office/powerpoint/2010/main" val="41838073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Slide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FE0AAB-6F12-4F3C-98D4-2996A041A736}"/>
              </a:ext>
            </a:extLst>
          </p:cNvPr>
          <p:cNvSpPr>
            <a:spLocks noGrp="1"/>
          </p:cNvSpPr>
          <p:nvPr>
            <p:ph type="title" hasCustomPrompt="1"/>
          </p:nvPr>
        </p:nvSpPr>
        <p:spPr>
          <a:xfrm>
            <a:off x="228600" y="213343"/>
            <a:ext cx="4625975" cy="2534596"/>
          </a:xfrm>
        </p:spPr>
        <p:txBody>
          <a:bodyPr/>
          <a:lstStyle>
            <a:lvl1pPr>
              <a:lnSpc>
                <a:spcPct val="85000"/>
              </a:lnSpc>
              <a:defRPr sz="6000" cap="all" spc="-140" baseline="0">
                <a:solidFill>
                  <a:schemeClr val="bg1"/>
                </a:solidFill>
              </a:defRPr>
            </a:lvl1pPr>
          </a:lstStyle>
          <a:p>
            <a:r>
              <a:rPr lang="en-US"/>
              <a:t>Presentation title here</a:t>
            </a:r>
          </a:p>
        </p:txBody>
      </p:sp>
      <p:sp>
        <p:nvSpPr>
          <p:cNvPr id="10" name="Text Placeholder 9">
            <a:extLst>
              <a:ext uri="{FF2B5EF4-FFF2-40B4-BE49-F238E27FC236}">
                <a16:creationId xmlns:a16="http://schemas.microsoft.com/office/drawing/2014/main" id="{F6A3B4C8-AEB1-40DF-9DCB-A32C0B1662CB}"/>
              </a:ext>
            </a:extLst>
          </p:cNvPr>
          <p:cNvSpPr>
            <a:spLocks noGrp="1"/>
          </p:cNvSpPr>
          <p:nvPr>
            <p:ph type="body" sz="quarter" idx="13" hasCustomPrompt="1"/>
          </p:nvPr>
        </p:nvSpPr>
        <p:spPr>
          <a:xfrm>
            <a:off x="228599" y="6248603"/>
            <a:ext cx="4625975" cy="467410"/>
          </a:xfrm>
        </p:spPr>
        <p:txBody>
          <a:bodyPr lIns="0" tIns="0" rIns="0" bIns="0" anchor="b" anchorCtr="0">
            <a:noAutofit/>
          </a:bodyPr>
          <a:lstStyle>
            <a:lvl1pPr marL="0" indent="0">
              <a:buNone/>
              <a:defRPr sz="2500" b="1" i="0">
                <a:solidFill>
                  <a:schemeClr val="bg1"/>
                </a:solidFill>
                <a:latin typeface="Calibri" panose="020F0502020204030204" pitchFamily="34" charset="0"/>
                <a:cs typeface="Calibri" panose="020F0502020204030204" pitchFamily="34" charset="0"/>
              </a:defRPr>
            </a:lvl1pPr>
          </a:lstStyle>
          <a:p>
            <a:pPr lvl="0"/>
            <a:r>
              <a:rPr lang="en-US"/>
              <a:t>Author Name Here</a:t>
            </a:r>
          </a:p>
        </p:txBody>
      </p:sp>
    </p:spTree>
    <p:extLst>
      <p:ext uri="{BB962C8B-B14F-4D97-AF65-F5344CB8AC3E}">
        <p14:creationId xmlns:p14="http://schemas.microsoft.com/office/powerpoint/2010/main" val="407068859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2_Divider Slide">
    <p:bg>
      <p:bgPr>
        <a:solidFill>
          <a:srgbClr val="EBF5E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0569B6-AB26-DD4D-8FDE-9684CEBAF991}"/>
              </a:ext>
            </a:extLst>
          </p:cNvPr>
          <p:cNvSpPr>
            <a:spLocks noGrp="1"/>
          </p:cNvSpPr>
          <p:nvPr>
            <p:ph type="title" hasCustomPrompt="1"/>
          </p:nvPr>
        </p:nvSpPr>
        <p:spPr>
          <a:xfrm>
            <a:off x="318218" y="283876"/>
            <a:ext cx="5777782" cy="1962936"/>
          </a:xfrm>
        </p:spPr>
        <p:txBody>
          <a:bodyPr anchor="t"/>
          <a:lstStyle>
            <a:lvl1pPr>
              <a:defRPr sz="5400" b="0" i="0" cap="none" baseline="0">
                <a:solidFill>
                  <a:srgbClr val="000000"/>
                </a:solidFill>
                <a:latin typeface="ASICS Font 3.0" pitchFamily="2" charset="77"/>
              </a:defRPr>
            </a:lvl1pPr>
          </a:lstStyle>
          <a:p>
            <a:r>
              <a:rPr lang="en-US"/>
              <a:t>Divider title here</a:t>
            </a:r>
          </a:p>
        </p:txBody>
      </p:sp>
      <p:sp>
        <p:nvSpPr>
          <p:cNvPr id="6" name="Slide Number Placeholder 5">
            <a:extLst>
              <a:ext uri="{FF2B5EF4-FFF2-40B4-BE49-F238E27FC236}">
                <a16:creationId xmlns:a16="http://schemas.microsoft.com/office/drawing/2014/main" id="{7578056D-12D4-4747-A63E-85C10A5EEDDB}"/>
              </a:ext>
            </a:extLst>
          </p:cNvPr>
          <p:cNvSpPr>
            <a:spLocks noGrp="1"/>
          </p:cNvSpPr>
          <p:nvPr>
            <p:ph type="sldNum" sz="quarter" idx="12"/>
          </p:nvPr>
        </p:nvSpPr>
        <p:spPr>
          <a:xfrm>
            <a:off x="11080548" y="244864"/>
            <a:ext cx="753833" cy="365125"/>
          </a:xfrm>
          <a:prstGeom prst="rect">
            <a:avLst/>
          </a:prstGeom>
        </p:spPr>
        <p:txBody>
          <a:bodyPr/>
          <a:lstStyle>
            <a:lvl1pPr>
              <a:defRPr b="0" i="0">
                <a:solidFill>
                  <a:srgbClr val="000000"/>
                </a:solidFill>
                <a:latin typeface="ASICS Font 3.0" pitchFamily="2" charset="77"/>
              </a:defRPr>
            </a:lvl1pPr>
          </a:lstStyle>
          <a:p>
            <a:fld id="{30CC6782-A7C1-AE43-BED6-519E5FEDBE2C}" type="slidenum">
              <a:rPr lang="en-US" smtClean="0"/>
              <a:pPr/>
              <a:t>‹#›</a:t>
            </a:fld>
            <a:endParaRPr lang="en-US"/>
          </a:p>
        </p:txBody>
      </p:sp>
    </p:spTree>
    <p:extLst>
      <p:ext uri="{BB962C8B-B14F-4D97-AF65-F5344CB8AC3E}">
        <p14:creationId xmlns:p14="http://schemas.microsoft.com/office/powerpoint/2010/main" val="388826880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3 Images and Captions">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860EF19-DDF1-3D49-97C7-6227A94EBBD5}"/>
              </a:ext>
            </a:extLst>
          </p:cNvPr>
          <p:cNvSpPr>
            <a:spLocks noGrp="1"/>
          </p:cNvSpPr>
          <p:nvPr>
            <p:ph type="sldNum" sz="quarter" idx="12"/>
          </p:nvPr>
        </p:nvSpPr>
        <p:spPr>
          <a:xfrm>
            <a:off x="11080548" y="244864"/>
            <a:ext cx="753833" cy="365125"/>
          </a:xfrm>
          <a:prstGeom prst="rect">
            <a:avLst/>
          </a:prstGeom>
        </p:spPr>
        <p:txBody>
          <a:bodyPr/>
          <a:lstStyle>
            <a:lvl1pPr>
              <a:defRPr b="0" i="0">
                <a:solidFill>
                  <a:srgbClr val="000000"/>
                </a:solidFill>
                <a:latin typeface="ASICS Font 3.0" pitchFamily="2" charset="77"/>
              </a:defRPr>
            </a:lvl1pPr>
          </a:lstStyle>
          <a:p>
            <a:fld id="{30CC6782-A7C1-AE43-BED6-519E5FEDBE2C}" type="slidenum">
              <a:rPr lang="en-US" smtClean="0"/>
              <a:pPr/>
              <a:t>‹#›</a:t>
            </a:fld>
            <a:endParaRPr lang="en-US"/>
          </a:p>
        </p:txBody>
      </p:sp>
      <p:sp>
        <p:nvSpPr>
          <p:cNvPr id="2" name="Title 1">
            <a:extLst>
              <a:ext uri="{FF2B5EF4-FFF2-40B4-BE49-F238E27FC236}">
                <a16:creationId xmlns:a16="http://schemas.microsoft.com/office/drawing/2014/main" id="{CB9DB1D9-5AEF-FF4E-AAC6-57369D760B23}"/>
              </a:ext>
            </a:extLst>
          </p:cNvPr>
          <p:cNvSpPr>
            <a:spLocks noGrp="1"/>
          </p:cNvSpPr>
          <p:nvPr>
            <p:ph type="title" hasCustomPrompt="1"/>
          </p:nvPr>
        </p:nvSpPr>
        <p:spPr>
          <a:xfrm>
            <a:off x="331678" y="324874"/>
            <a:ext cx="5764322" cy="1603931"/>
          </a:xfrm>
        </p:spPr>
        <p:txBody>
          <a:bodyPr anchor="t"/>
          <a:lstStyle>
            <a:lvl1pPr>
              <a:defRPr sz="3200" b="0" i="0" cap="none" baseline="0">
                <a:solidFill>
                  <a:srgbClr val="000000"/>
                </a:solidFill>
                <a:latin typeface="ASICS Font 3.0" pitchFamily="2" charset="77"/>
              </a:defRPr>
            </a:lvl1pPr>
          </a:lstStyle>
          <a:p>
            <a:r>
              <a:rPr lang="en-US"/>
              <a:t>Content title here</a:t>
            </a:r>
          </a:p>
        </p:txBody>
      </p:sp>
      <p:sp>
        <p:nvSpPr>
          <p:cNvPr id="13" name="Text Placeholder 12">
            <a:extLst>
              <a:ext uri="{FF2B5EF4-FFF2-40B4-BE49-F238E27FC236}">
                <a16:creationId xmlns:a16="http://schemas.microsoft.com/office/drawing/2014/main" id="{8A2A437A-8C9D-E240-BFC0-087B6BA6A341}"/>
              </a:ext>
            </a:extLst>
          </p:cNvPr>
          <p:cNvSpPr>
            <a:spLocks noGrp="1"/>
          </p:cNvSpPr>
          <p:nvPr>
            <p:ph type="body" sz="quarter" idx="15"/>
          </p:nvPr>
        </p:nvSpPr>
        <p:spPr>
          <a:xfrm>
            <a:off x="331788" y="5032713"/>
            <a:ext cx="3440112" cy="647335"/>
          </a:xfrm>
        </p:spPr>
        <p:txBody>
          <a:bodyPr>
            <a:noAutofit/>
          </a:bodyPr>
          <a:lstStyle>
            <a:lvl1pPr>
              <a:buNone/>
              <a:defRPr b="0" i="0">
                <a:solidFill>
                  <a:srgbClr val="000000"/>
                </a:solidFill>
                <a:latin typeface="ASICS Font 3.0" pitchFamily="2" charset="77"/>
              </a:defRPr>
            </a:lvl1pPr>
            <a:lvl2pPr>
              <a:buNone/>
              <a:defRPr/>
            </a:lvl2pPr>
            <a:lvl3pPr>
              <a:buNone/>
              <a:defRPr/>
            </a:lvl3pPr>
            <a:lvl4pPr>
              <a:buNone/>
              <a:defRPr/>
            </a:lvl4pPr>
            <a:lvl5pPr>
              <a:buNone/>
              <a:defRPr/>
            </a:lvl5pPr>
          </a:lstStyle>
          <a:p>
            <a:pPr lvl="0"/>
            <a:r>
              <a:rPr lang="en-US" altLang="ja-JP"/>
              <a:t>Click to edit Master text styles</a:t>
            </a:r>
          </a:p>
        </p:txBody>
      </p:sp>
      <p:sp>
        <p:nvSpPr>
          <p:cNvPr id="9" name="Picture Placeholder 8">
            <a:extLst>
              <a:ext uri="{FF2B5EF4-FFF2-40B4-BE49-F238E27FC236}">
                <a16:creationId xmlns:a16="http://schemas.microsoft.com/office/drawing/2014/main" id="{BA1A0A70-0185-0744-8591-93709018F555}"/>
              </a:ext>
            </a:extLst>
          </p:cNvPr>
          <p:cNvSpPr>
            <a:spLocks noGrp="1"/>
          </p:cNvSpPr>
          <p:nvPr>
            <p:ph type="pic" sz="quarter" idx="18"/>
          </p:nvPr>
        </p:nvSpPr>
        <p:spPr>
          <a:xfrm>
            <a:off x="472183" y="2143125"/>
            <a:ext cx="3299718" cy="2786063"/>
          </a:xfrm>
        </p:spPr>
        <p:txBody>
          <a:bodyPr/>
          <a:lstStyle>
            <a:lvl1pPr>
              <a:defRPr b="0" i="0">
                <a:solidFill>
                  <a:srgbClr val="000000"/>
                </a:solidFill>
                <a:latin typeface="ASICS Font 3.0" pitchFamily="2" charset="77"/>
              </a:defRPr>
            </a:lvl1pPr>
          </a:lstStyle>
          <a:p>
            <a:r>
              <a:rPr lang="en-US" altLang="ja-JP"/>
              <a:t>Click icon to add picture</a:t>
            </a:r>
            <a:endParaRPr lang="en-US"/>
          </a:p>
        </p:txBody>
      </p:sp>
      <p:sp>
        <p:nvSpPr>
          <p:cNvPr id="21" name="Text Placeholder 12">
            <a:extLst>
              <a:ext uri="{FF2B5EF4-FFF2-40B4-BE49-F238E27FC236}">
                <a16:creationId xmlns:a16="http://schemas.microsoft.com/office/drawing/2014/main" id="{8DE1A6D3-25CF-0247-9682-983397AD8F98}"/>
              </a:ext>
            </a:extLst>
          </p:cNvPr>
          <p:cNvSpPr>
            <a:spLocks noGrp="1"/>
          </p:cNvSpPr>
          <p:nvPr>
            <p:ph type="body" sz="quarter" idx="19"/>
          </p:nvPr>
        </p:nvSpPr>
        <p:spPr>
          <a:xfrm>
            <a:off x="3783648" y="5032713"/>
            <a:ext cx="3440112" cy="647335"/>
          </a:xfrm>
        </p:spPr>
        <p:txBody>
          <a:bodyPr>
            <a:noAutofit/>
          </a:bodyPr>
          <a:lstStyle>
            <a:lvl1pPr>
              <a:buNone/>
              <a:defRPr b="0" i="0">
                <a:solidFill>
                  <a:srgbClr val="000000"/>
                </a:solidFill>
                <a:latin typeface="ASICS Font 3.0" pitchFamily="2" charset="77"/>
              </a:defRPr>
            </a:lvl1pPr>
            <a:lvl2pPr>
              <a:buNone/>
              <a:defRPr/>
            </a:lvl2pPr>
            <a:lvl3pPr>
              <a:buNone/>
              <a:defRPr/>
            </a:lvl3pPr>
            <a:lvl4pPr>
              <a:buNone/>
              <a:defRPr/>
            </a:lvl4pPr>
            <a:lvl5pPr>
              <a:buNone/>
              <a:defRPr/>
            </a:lvl5pPr>
          </a:lstStyle>
          <a:p>
            <a:pPr lvl="0"/>
            <a:r>
              <a:rPr lang="en-US" altLang="ja-JP"/>
              <a:t>Click to edit Master text styles</a:t>
            </a:r>
          </a:p>
        </p:txBody>
      </p:sp>
      <p:sp>
        <p:nvSpPr>
          <p:cNvPr id="22" name="Picture Placeholder 8">
            <a:extLst>
              <a:ext uri="{FF2B5EF4-FFF2-40B4-BE49-F238E27FC236}">
                <a16:creationId xmlns:a16="http://schemas.microsoft.com/office/drawing/2014/main" id="{967BF878-6320-324F-9886-158044E0E755}"/>
              </a:ext>
            </a:extLst>
          </p:cNvPr>
          <p:cNvSpPr>
            <a:spLocks noGrp="1"/>
          </p:cNvSpPr>
          <p:nvPr>
            <p:ph type="pic" sz="quarter" idx="20"/>
          </p:nvPr>
        </p:nvSpPr>
        <p:spPr>
          <a:xfrm>
            <a:off x="3924043" y="2143125"/>
            <a:ext cx="3299718" cy="2786063"/>
          </a:xfrm>
        </p:spPr>
        <p:txBody>
          <a:bodyPr/>
          <a:lstStyle>
            <a:lvl1pPr>
              <a:defRPr b="0" i="0">
                <a:solidFill>
                  <a:srgbClr val="000000"/>
                </a:solidFill>
                <a:latin typeface="ASICS Font 3.0" pitchFamily="2" charset="77"/>
              </a:defRPr>
            </a:lvl1pPr>
          </a:lstStyle>
          <a:p>
            <a:r>
              <a:rPr lang="en-US" altLang="ja-JP"/>
              <a:t>Click icon to add picture</a:t>
            </a:r>
            <a:endParaRPr lang="en-US"/>
          </a:p>
        </p:txBody>
      </p:sp>
      <p:sp>
        <p:nvSpPr>
          <p:cNvPr id="23" name="Text Placeholder 12">
            <a:extLst>
              <a:ext uri="{FF2B5EF4-FFF2-40B4-BE49-F238E27FC236}">
                <a16:creationId xmlns:a16="http://schemas.microsoft.com/office/drawing/2014/main" id="{26AFD3AC-9A49-074B-B742-36530F70AE4F}"/>
              </a:ext>
            </a:extLst>
          </p:cNvPr>
          <p:cNvSpPr>
            <a:spLocks noGrp="1"/>
          </p:cNvSpPr>
          <p:nvPr>
            <p:ph type="body" sz="quarter" idx="21"/>
          </p:nvPr>
        </p:nvSpPr>
        <p:spPr>
          <a:xfrm>
            <a:off x="7224078" y="5032713"/>
            <a:ext cx="3440112" cy="647335"/>
          </a:xfrm>
        </p:spPr>
        <p:txBody>
          <a:bodyPr>
            <a:noAutofit/>
          </a:bodyPr>
          <a:lstStyle>
            <a:lvl1pPr>
              <a:buNone/>
              <a:defRPr b="0" i="0">
                <a:solidFill>
                  <a:srgbClr val="000000"/>
                </a:solidFill>
                <a:latin typeface="ASICS Font 3.0" pitchFamily="2" charset="77"/>
              </a:defRPr>
            </a:lvl1pPr>
            <a:lvl2pPr>
              <a:buNone/>
              <a:defRPr/>
            </a:lvl2pPr>
            <a:lvl3pPr>
              <a:buNone/>
              <a:defRPr/>
            </a:lvl3pPr>
            <a:lvl4pPr>
              <a:buNone/>
              <a:defRPr/>
            </a:lvl4pPr>
            <a:lvl5pPr>
              <a:buNone/>
              <a:defRPr/>
            </a:lvl5pPr>
          </a:lstStyle>
          <a:p>
            <a:pPr lvl="0"/>
            <a:r>
              <a:rPr lang="en-US" altLang="ja-JP"/>
              <a:t>Click to edit Master text styles</a:t>
            </a:r>
          </a:p>
        </p:txBody>
      </p:sp>
      <p:sp>
        <p:nvSpPr>
          <p:cNvPr id="24" name="Picture Placeholder 8">
            <a:extLst>
              <a:ext uri="{FF2B5EF4-FFF2-40B4-BE49-F238E27FC236}">
                <a16:creationId xmlns:a16="http://schemas.microsoft.com/office/drawing/2014/main" id="{D0BE64D5-3258-EE4B-B582-E3526FFD9952}"/>
              </a:ext>
            </a:extLst>
          </p:cNvPr>
          <p:cNvSpPr>
            <a:spLocks noGrp="1"/>
          </p:cNvSpPr>
          <p:nvPr>
            <p:ph type="pic" sz="quarter" idx="22"/>
          </p:nvPr>
        </p:nvSpPr>
        <p:spPr>
          <a:xfrm>
            <a:off x="7364473" y="2143125"/>
            <a:ext cx="3299718" cy="2786063"/>
          </a:xfrm>
        </p:spPr>
        <p:txBody>
          <a:bodyPr/>
          <a:lstStyle>
            <a:lvl1pPr>
              <a:defRPr b="0" i="0">
                <a:solidFill>
                  <a:srgbClr val="000000"/>
                </a:solidFill>
                <a:latin typeface="ASICS Font 3.0" pitchFamily="2" charset="77"/>
              </a:defRPr>
            </a:lvl1pPr>
          </a:lstStyle>
          <a:p>
            <a:r>
              <a:rPr lang="en-US" altLang="ja-JP"/>
              <a:t>Click icon to add picture</a:t>
            </a:r>
            <a:endParaRPr lang="en-US"/>
          </a:p>
        </p:txBody>
      </p:sp>
    </p:spTree>
    <p:extLst>
      <p:ext uri="{BB962C8B-B14F-4D97-AF65-F5344CB8AC3E}">
        <p14:creationId xmlns:p14="http://schemas.microsoft.com/office/powerpoint/2010/main" val="229959523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4_3 Images and Captions">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860EF19-DDF1-3D49-97C7-6227A94EBBD5}"/>
              </a:ext>
            </a:extLst>
          </p:cNvPr>
          <p:cNvSpPr>
            <a:spLocks noGrp="1"/>
          </p:cNvSpPr>
          <p:nvPr>
            <p:ph type="sldNum" sz="quarter" idx="12"/>
          </p:nvPr>
        </p:nvSpPr>
        <p:spPr>
          <a:xfrm>
            <a:off x="11080548" y="244864"/>
            <a:ext cx="753833" cy="365125"/>
          </a:xfrm>
          <a:prstGeom prst="rect">
            <a:avLst/>
          </a:prstGeom>
        </p:spPr>
        <p:txBody>
          <a:bodyPr/>
          <a:lstStyle>
            <a:lvl1pPr>
              <a:defRPr b="0" i="0">
                <a:solidFill>
                  <a:srgbClr val="000000"/>
                </a:solidFill>
                <a:latin typeface="ASICS Font 3.0" pitchFamily="2" charset="77"/>
              </a:defRPr>
            </a:lvl1pPr>
          </a:lstStyle>
          <a:p>
            <a:fld id="{30CC6782-A7C1-AE43-BED6-519E5FEDBE2C}" type="slidenum">
              <a:rPr lang="en-US" smtClean="0"/>
              <a:pPr/>
              <a:t>‹#›</a:t>
            </a:fld>
            <a:endParaRPr lang="en-US"/>
          </a:p>
        </p:txBody>
      </p:sp>
      <p:sp>
        <p:nvSpPr>
          <p:cNvPr id="2" name="Title 1">
            <a:extLst>
              <a:ext uri="{FF2B5EF4-FFF2-40B4-BE49-F238E27FC236}">
                <a16:creationId xmlns:a16="http://schemas.microsoft.com/office/drawing/2014/main" id="{CB9DB1D9-5AEF-FF4E-AAC6-57369D760B23}"/>
              </a:ext>
            </a:extLst>
          </p:cNvPr>
          <p:cNvSpPr>
            <a:spLocks noGrp="1"/>
          </p:cNvSpPr>
          <p:nvPr>
            <p:ph type="title" hasCustomPrompt="1"/>
          </p:nvPr>
        </p:nvSpPr>
        <p:spPr>
          <a:xfrm>
            <a:off x="331678" y="324874"/>
            <a:ext cx="5764322" cy="1603931"/>
          </a:xfrm>
        </p:spPr>
        <p:txBody>
          <a:bodyPr anchor="t"/>
          <a:lstStyle>
            <a:lvl1pPr>
              <a:defRPr sz="3200" b="0" i="0" cap="none" baseline="0">
                <a:solidFill>
                  <a:srgbClr val="000000"/>
                </a:solidFill>
                <a:latin typeface="ASICS Font 3.0" pitchFamily="2" charset="77"/>
              </a:defRPr>
            </a:lvl1pPr>
          </a:lstStyle>
          <a:p>
            <a:r>
              <a:rPr lang="en-US"/>
              <a:t>Content title here</a:t>
            </a:r>
          </a:p>
        </p:txBody>
      </p:sp>
      <p:sp>
        <p:nvSpPr>
          <p:cNvPr id="13" name="Text Placeholder 12">
            <a:extLst>
              <a:ext uri="{FF2B5EF4-FFF2-40B4-BE49-F238E27FC236}">
                <a16:creationId xmlns:a16="http://schemas.microsoft.com/office/drawing/2014/main" id="{8A2A437A-8C9D-E240-BFC0-087B6BA6A341}"/>
              </a:ext>
            </a:extLst>
          </p:cNvPr>
          <p:cNvSpPr>
            <a:spLocks noGrp="1"/>
          </p:cNvSpPr>
          <p:nvPr>
            <p:ph type="body" sz="quarter" idx="15"/>
          </p:nvPr>
        </p:nvSpPr>
        <p:spPr>
          <a:xfrm>
            <a:off x="331677" y="2143125"/>
            <a:ext cx="5764321" cy="1603931"/>
          </a:xfrm>
        </p:spPr>
        <p:txBody>
          <a:bodyPr>
            <a:noAutofit/>
          </a:bodyPr>
          <a:lstStyle>
            <a:lvl1pPr>
              <a:buNone/>
              <a:defRPr b="0" i="0">
                <a:solidFill>
                  <a:srgbClr val="000000"/>
                </a:solidFill>
                <a:latin typeface="ASICS Font 3.0" pitchFamily="2" charset="77"/>
              </a:defRPr>
            </a:lvl1pPr>
            <a:lvl2pPr>
              <a:buNone/>
              <a:defRPr/>
            </a:lvl2pPr>
            <a:lvl3pPr>
              <a:buNone/>
              <a:defRPr/>
            </a:lvl3pPr>
            <a:lvl4pPr>
              <a:buNone/>
              <a:defRPr/>
            </a:lvl4pPr>
            <a:lvl5pPr>
              <a:buNone/>
              <a:defRPr/>
            </a:lvl5pPr>
          </a:lstStyle>
          <a:p>
            <a:pPr lvl="0"/>
            <a:r>
              <a:rPr lang="en-US" altLang="ja-JP"/>
              <a:t>Click to edit Master text styles</a:t>
            </a:r>
          </a:p>
        </p:txBody>
      </p:sp>
      <p:sp>
        <p:nvSpPr>
          <p:cNvPr id="24" name="Picture Placeholder 8">
            <a:extLst>
              <a:ext uri="{FF2B5EF4-FFF2-40B4-BE49-F238E27FC236}">
                <a16:creationId xmlns:a16="http://schemas.microsoft.com/office/drawing/2014/main" id="{D0BE64D5-3258-EE4B-B582-E3526FFD9952}"/>
              </a:ext>
            </a:extLst>
          </p:cNvPr>
          <p:cNvSpPr>
            <a:spLocks noGrp="1"/>
          </p:cNvSpPr>
          <p:nvPr>
            <p:ph type="pic" sz="quarter" idx="22"/>
          </p:nvPr>
        </p:nvSpPr>
        <p:spPr>
          <a:xfrm>
            <a:off x="6259572" y="324874"/>
            <a:ext cx="4433827" cy="5682226"/>
          </a:xfrm>
        </p:spPr>
        <p:txBody>
          <a:bodyPr/>
          <a:lstStyle>
            <a:lvl1pPr>
              <a:defRPr b="0" i="0">
                <a:solidFill>
                  <a:srgbClr val="000000"/>
                </a:solidFill>
                <a:latin typeface="ASICS Font 3.0" pitchFamily="2" charset="77"/>
              </a:defRPr>
            </a:lvl1pPr>
          </a:lstStyle>
          <a:p>
            <a:r>
              <a:rPr lang="en-US" altLang="ja-JP"/>
              <a:t>Click icon to add picture</a:t>
            </a:r>
            <a:endParaRPr lang="en-US"/>
          </a:p>
        </p:txBody>
      </p:sp>
      <p:sp>
        <p:nvSpPr>
          <p:cNvPr id="11" name="Text Placeholder 12">
            <a:extLst>
              <a:ext uri="{FF2B5EF4-FFF2-40B4-BE49-F238E27FC236}">
                <a16:creationId xmlns:a16="http://schemas.microsoft.com/office/drawing/2014/main" id="{FD0C3383-9160-4137-AB41-5AF4699DF3D2}"/>
              </a:ext>
            </a:extLst>
          </p:cNvPr>
          <p:cNvSpPr>
            <a:spLocks noGrp="1"/>
          </p:cNvSpPr>
          <p:nvPr>
            <p:ph type="body" sz="quarter" idx="23"/>
          </p:nvPr>
        </p:nvSpPr>
        <p:spPr>
          <a:xfrm>
            <a:off x="331677" y="4403169"/>
            <a:ext cx="5764321" cy="1603931"/>
          </a:xfrm>
        </p:spPr>
        <p:txBody>
          <a:bodyPr>
            <a:noAutofit/>
          </a:bodyPr>
          <a:lstStyle>
            <a:lvl1pPr>
              <a:buNone/>
              <a:defRPr b="0" i="0">
                <a:solidFill>
                  <a:srgbClr val="000000"/>
                </a:solidFill>
                <a:latin typeface="ASICS Font 3.0" pitchFamily="2" charset="77"/>
              </a:defRPr>
            </a:lvl1pPr>
            <a:lvl2pPr>
              <a:buNone/>
              <a:defRPr/>
            </a:lvl2pPr>
            <a:lvl3pPr>
              <a:buNone/>
              <a:defRPr/>
            </a:lvl3pPr>
            <a:lvl4pPr>
              <a:buNone/>
              <a:defRPr/>
            </a:lvl4pPr>
            <a:lvl5pPr>
              <a:buNone/>
              <a:defRPr/>
            </a:lvl5pPr>
          </a:lstStyle>
          <a:p>
            <a:pPr lvl="0"/>
            <a:r>
              <a:rPr lang="en-US" altLang="ja-JP"/>
              <a:t>Click to edit Master text styles</a:t>
            </a:r>
          </a:p>
        </p:txBody>
      </p:sp>
    </p:spTree>
    <p:extLst>
      <p:ext uri="{BB962C8B-B14F-4D97-AF65-F5344CB8AC3E}">
        <p14:creationId xmlns:p14="http://schemas.microsoft.com/office/powerpoint/2010/main" val="29353720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3_3 Images and Captions">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860EF19-DDF1-3D49-97C7-6227A94EBBD5}"/>
              </a:ext>
            </a:extLst>
          </p:cNvPr>
          <p:cNvSpPr>
            <a:spLocks noGrp="1"/>
          </p:cNvSpPr>
          <p:nvPr>
            <p:ph type="sldNum" sz="quarter" idx="12"/>
          </p:nvPr>
        </p:nvSpPr>
        <p:spPr>
          <a:xfrm>
            <a:off x="11080548" y="244864"/>
            <a:ext cx="753833" cy="365125"/>
          </a:xfrm>
          <a:prstGeom prst="rect">
            <a:avLst/>
          </a:prstGeom>
        </p:spPr>
        <p:txBody>
          <a:bodyPr/>
          <a:lstStyle>
            <a:lvl1pPr>
              <a:defRPr b="0" i="0">
                <a:solidFill>
                  <a:srgbClr val="000000"/>
                </a:solidFill>
                <a:latin typeface="ASICS Font 3.0" pitchFamily="2" charset="77"/>
              </a:defRPr>
            </a:lvl1pPr>
          </a:lstStyle>
          <a:p>
            <a:fld id="{30CC6782-A7C1-AE43-BED6-519E5FEDBE2C}" type="slidenum">
              <a:rPr lang="en-US" smtClean="0"/>
              <a:pPr/>
              <a:t>‹#›</a:t>
            </a:fld>
            <a:endParaRPr lang="en-US"/>
          </a:p>
        </p:txBody>
      </p:sp>
      <p:sp>
        <p:nvSpPr>
          <p:cNvPr id="2" name="Title 1">
            <a:extLst>
              <a:ext uri="{FF2B5EF4-FFF2-40B4-BE49-F238E27FC236}">
                <a16:creationId xmlns:a16="http://schemas.microsoft.com/office/drawing/2014/main" id="{CB9DB1D9-5AEF-FF4E-AAC6-57369D760B23}"/>
              </a:ext>
            </a:extLst>
          </p:cNvPr>
          <p:cNvSpPr>
            <a:spLocks noGrp="1"/>
          </p:cNvSpPr>
          <p:nvPr>
            <p:ph type="title" hasCustomPrompt="1"/>
          </p:nvPr>
        </p:nvSpPr>
        <p:spPr>
          <a:xfrm>
            <a:off x="2040478" y="1092200"/>
            <a:ext cx="3706128" cy="1295399"/>
          </a:xfrm>
        </p:spPr>
        <p:txBody>
          <a:bodyPr anchor="t"/>
          <a:lstStyle>
            <a:lvl1pPr>
              <a:defRPr sz="3200" b="0" i="0" cap="none" baseline="0">
                <a:solidFill>
                  <a:srgbClr val="000000"/>
                </a:solidFill>
                <a:latin typeface="ASICS Font 3.0" pitchFamily="2" charset="77"/>
              </a:defRPr>
            </a:lvl1pPr>
          </a:lstStyle>
          <a:p>
            <a:r>
              <a:rPr lang="en-US"/>
              <a:t>Content title here</a:t>
            </a:r>
          </a:p>
        </p:txBody>
      </p:sp>
      <p:sp>
        <p:nvSpPr>
          <p:cNvPr id="22" name="Picture Placeholder 8">
            <a:extLst>
              <a:ext uri="{FF2B5EF4-FFF2-40B4-BE49-F238E27FC236}">
                <a16:creationId xmlns:a16="http://schemas.microsoft.com/office/drawing/2014/main" id="{967BF878-6320-324F-9886-158044E0E755}"/>
              </a:ext>
            </a:extLst>
          </p:cNvPr>
          <p:cNvSpPr>
            <a:spLocks noGrp="1"/>
          </p:cNvSpPr>
          <p:nvPr>
            <p:ph type="pic" sz="quarter" idx="20"/>
          </p:nvPr>
        </p:nvSpPr>
        <p:spPr>
          <a:xfrm>
            <a:off x="2040478" y="2627285"/>
            <a:ext cx="3706128" cy="3129209"/>
          </a:xfrm>
        </p:spPr>
        <p:txBody>
          <a:bodyPr/>
          <a:lstStyle>
            <a:lvl1pPr>
              <a:defRPr b="0" i="0">
                <a:solidFill>
                  <a:srgbClr val="000000"/>
                </a:solidFill>
                <a:latin typeface="ASICS Font 3.0" pitchFamily="2" charset="77"/>
              </a:defRPr>
            </a:lvl1pPr>
          </a:lstStyle>
          <a:p>
            <a:r>
              <a:rPr lang="en-US" altLang="ja-JP"/>
              <a:t>Click icon to add picture</a:t>
            </a:r>
            <a:endParaRPr lang="en-US"/>
          </a:p>
        </p:txBody>
      </p:sp>
      <p:sp>
        <p:nvSpPr>
          <p:cNvPr id="23" name="Text Placeholder 12">
            <a:extLst>
              <a:ext uri="{FF2B5EF4-FFF2-40B4-BE49-F238E27FC236}">
                <a16:creationId xmlns:a16="http://schemas.microsoft.com/office/drawing/2014/main" id="{26AFD3AC-9A49-074B-B742-36530F70AE4F}"/>
              </a:ext>
            </a:extLst>
          </p:cNvPr>
          <p:cNvSpPr>
            <a:spLocks noGrp="1"/>
          </p:cNvSpPr>
          <p:nvPr>
            <p:ph type="body" sz="quarter" idx="21"/>
          </p:nvPr>
        </p:nvSpPr>
        <p:spPr>
          <a:xfrm>
            <a:off x="6096000" y="4365090"/>
            <a:ext cx="3706127" cy="1391404"/>
          </a:xfrm>
        </p:spPr>
        <p:txBody>
          <a:bodyPr>
            <a:noAutofit/>
          </a:bodyPr>
          <a:lstStyle>
            <a:lvl1pPr>
              <a:buNone/>
              <a:defRPr b="0" i="0">
                <a:solidFill>
                  <a:srgbClr val="000000"/>
                </a:solidFill>
                <a:latin typeface="ASICS Font 3.0" pitchFamily="2" charset="77"/>
              </a:defRPr>
            </a:lvl1pPr>
            <a:lvl2pPr>
              <a:buNone/>
              <a:defRPr/>
            </a:lvl2pPr>
            <a:lvl3pPr>
              <a:buNone/>
              <a:defRPr/>
            </a:lvl3pPr>
            <a:lvl4pPr>
              <a:buNone/>
              <a:defRPr/>
            </a:lvl4pPr>
            <a:lvl5pPr>
              <a:buNone/>
              <a:defRPr/>
            </a:lvl5pPr>
          </a:lstStyle>
          <a:p>
            <a:pPr lvl="0"/>
            <a:r>
              <a:rPr lang="en-US" altLang="ja-JP"/>
              <a:t>Click to edit Master text styles</a:t>
            </a:r>
          </a:p>
        </p:txBody>
      </p:sp>
      <p:sp>
        <p:nvSpPr>
          <p:cNvPr id="24" name="Picture Placeholder 8">
            <a:extLst>
              <a:ext uri="{FF2B5EF4-FFF2-40B4-BE49-F238E27FC236}">
                <a16:creationId xmlns:a16="http://schemas.microsoft.com/office/drawing/2014/main" id="{D0BE64D5-3258-EE4B-B582-E3526FFD9952}"/>
              </a:ext>
            </a:extLst>
          </p:cNvPr>
          <p:cNvSpPr>
            <a:spLocks noGrp="1"/>
          </p:cNvSpPr>
          <p:nvPr>
            <p:ph type="pic" sz="quarter" idx="22"/>
          </p:nvPr>
        </p:nvSpPr>
        <p:spPr>
          <a:xfrm>
            <a:off x="6096001" y="1096181"/>
            <a:ext cx="3706128" cy="3129209"/>
          </a:xfrm>
        </p:spPr>
        <p:txBody>
          <a:bodyPr/>
          <a:lstStyle>
            <a:lvl1pPr>
              <a:defRPr b="0" i="0">
                <a:solidFill>
                  <a:srgbClr val="000000"/>
                </a:solidFill>
                <a:latin typeface="ASICS Font 3.0" pitchFamily="2" charset="77"/>
              </a:defRPr>
            </a:lvl1pPr>
          </a:lstStyle>
          <a:p>
            <a:r>
              <a:rPr lang="en-US" altLang="ja-JP"/>
              <a:t>Click icon to add picture</a:t>
            </a:r>
            <a:endParaRPr lang="en-US"/>
          </a:p>
        </p:txBody>
      </p:sp>
    </p:spTree>
    <p:extLst>
      <p:ext uri="{BB962C8B-B14F-4D97-AF65-F5344CB8AC3E}">
        <p14:creationId xmlns:p14="http://schemas.microsoft.com/office/powerpoint/2010/main" val="11221125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Pul-out Stats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631A0D-7ECD-9D4B-801F-F92EF4AF9A14}"/>
              </a:ext>
            </a:extLst>
          </p:cNvPr>
          <p:cNvSpPr>
            <a:spLocks noGrp="1"/>
          </p:cNvSpPr>
          <p:nvPr>
            <p:ph type="title"/>
          </p:nvPr>
        </p:nvSpPr>
        <p:spPr>
          <a:xfrm>
            <a:off x="766763" y="620713"/>
            <a:ext cx="10587037" cy="1069975"/>
          </a:xfrm>
        </p:spPr>
        <p:txBody>
          <a:bodyPr lIns="0" tIns="0" bIns="0" numCol="1"/>
          <a:lstStyle>
            <a:lvl1pPr algn="l">
              <a:lnSpc>
                <a:spcPct val="100000"/>
              </a:lnSpc>
              <a:defRPr b="0" i="0">
                <a:solidFill>
                  <a:srgbClr val="000000"/>
                </a:solidFill>
                <a:latin typeface="ASICS Font 3.0" pitchFamily="2" charset="77"/>
              </a:defRPr>
            </a:lvl1pPr>
          </a:lstStyle>
          <a:p>
            <a:r>
              <a:rPr lang="en-US" altLang="en-GB"/>
              <a:t>Click to edit Master title style</a:t>
            </a:r>
            <a:endParaRPr lang="en-GB" altLang="en-GB"/>
          </a:p>
        </p:txBody>
      </p:sp>
      <p:sp>
        <p:nvSpPr>
          <p:cNvPr id="3" name="Content Placeholder 2">
            <a:extLst>
              <a:ext uri="{FF2B5EF4-FFF2-40B4-BE49-F238E27FC236}">
                <a16:creationId xmlns:a16="http://schemas.microsoft.com/office/drawing/2014/main" id="{8F42A732-66EA-314C-B6E2-3B9DA8CCDCF1}"/>
              </a:ext>
            </a:extLst>
          </p:cNvPr>
          <p:cNvSpPr>
            <a:spLocks noGrp="1"/>
          </p:cNvSpPr>
          <p:nvPr>
            <p:ph sz="half" idx="1"/>
          </p:nvPr>
        </p:nvSpPr>
        <p:spPr>
          <a:xfrm>
            <a:off x="766763" y="2003561"/>
            <a:ext cx="3076303" cy="2850878"/>
          </a:xfrm>
          <a:solidFill>
            <a:srgbClr val="EBF5EC"/>
          </a:solidFill>
        </p:spPr>
        <p:txBody>
          <a:bodyPr vert="horz" lIns="432000" tIns="144000" rIns="91440" bIns="45720" numCol="1" rtlCol="0">
            <a:noAutofit/>
          </a:bodyPr>
          <a:lstStyle>
            <a:lvl1pPr algn="l">
              <a:defRPr lang="en-GB" altLang="en-GB" b="0" i="0" spc="300" dirty="0" smtClean="0">
                <a:solidFill>
                  <a:srgbClr val="000000"/>
                </a:solidFill>
                <a:latin typeface="ASICS Font 3.0" pitchFamily="2" charset="77"/>
              </a:defRPr>
            </a:lvl1pPr>
          </a:lstStyle>
          <a:p>
            <a:pPr lvl="0">
              <a:lnSpc>
                <a:spcPct val="130000"/>
              </a:lnSpc>
            </a:pPr>
            <a:r>
              <a:rPr lang="en-US" altLang="en-GB"/>
              <a:t>Click to edit Master text styles</a:t>
            </a:r>
          </a:p>
        </p:txBody>
      </p:sp>
      <p:sp>
        <p:nvSpPr>
          <p:cNvPr id="4" name="Content Placeholder 3">
            <a:extLst>
              <a:ext uri="{FF2B5EF4-FFF2-40B4-BE49-F238E27FC236}">
                <a16:creationId xmlns:a16="http://schemas.microsoft.com/office/drawing/2014/main" id="{33D9FAEF-7BD0-BE4D-BFD2-52E3CB229D03}"/>
              </a:ext>
            </a:extLst>
          </p:cNvPr>
          <p:cNvSpPr>
            <a:spLocks noGrp="1"/>
          </p:cNvSpPr>
          <p:nvPr>
            <p:ph sz="half" idx="2"/>
          </p:nvPr>
        </p:nvSpPr>
        <p:spPr>
          <a:xfrm>
            <a:off x="8348935" y="2003561"/>
            <a:ext cx="3076303" cy="2850878"/>
          </a:xfrm>
          <a:solidFill>
            <a:srgbClr val="D5E3F4"/>
          </a:solidFill>
        </p:spPr>
        <p:txBody>
          <a:bodyPr lIns="432000" tIns="144000" numCol="1"/>
          <a:lstStyle>
            <a:lvl1pPr algn="l">
              <a:lnSpc>
                <a:spcPct val="130000"/>
              </a:lnSpc>
              <a:defRPr b="0" i="0" spc="300">
                <a:solidFill>
                  <a:srgbClr val="000000"/>
                </a:solidFill>
                <a:latin typeface="ASICS Font 3.0" pitchFamily="2" charset="77"/>
              </a:defRPr>
            </a:lvl1pPr>
          </a:lstStyle>
          <a:p>
            <a:pPr lvl="0"/>
            <a:r>
              <a:rPr lang="en-US" altLang="en-GB"/>
              <a:t>Click to edit Master text styles</a:t>
            </a:r>
          </a:p>
        </p:txBody>
      </p:sp>
      <p:sp>
        <p:nvSpPr>
          <p:cNvPr id="8" name="Content Placeholder 3">
            <a:extLst>
              <a:ext uri="{FF2B5EF4-FFF2-40B4-BE49-F238E27FC236}">
                <a16:creationId xmlns:a16="http://schemas.microsoft.com/office/drawing/2014/main" id="{118A4C69-C056-B744-B050-4455773E7021}"/>
              </a:ext>
            </a:extLst>
          </p:cNvPr>
          <p:cNvSpPr>
            <a:spLocks noGrp="1"/>
          </p:cNvSpPr>
          <p:nvPr>
            <p:ph sz="half" idx="10"/>
          </p:nvPr>
        </p:nvSpPr>
        <p:spPr>
          <a:xfrm>
            <a:off x="4557848" y="2003561"/>
            <a:ext cx="3076303" cy="2850878"/>
          </a:xfrm>
          <a:solidFill>
            <a:schemeClr val="accent1"/>
          </a:solidFill>
          <a:ln>
            <a:noFill/>
          </a:ln>
        </p:spPr>
        <p:txBody>
          <a:bodyPr vert="horz" lIns="432000" tIns="144000" rIns="432000" bIns="45720" numCol="1" rtlCol="0">
            <a:noAutofit/>
          </a:bodyPr>
          <a:lstStyle>
            <a:lvl1pPr algn="l">
              <a:defRPr lang="en-GB" altLang="en-GB" b="0" i="0" spc="300" dirty="0" smtClean="0">
                <a:solidFill>
                  <a:srgbClr val="000000"/>
                </a:solidFill>
                <a:latin typeface="ASICS Font 3.0" pitchFamily="2" charset="77"/>
              </a:defRPr>
            </a:lvl1pPr>
          </a:lstStyle>
          <a:p>
            <a:pPr lvl="0">
              <a:lnSpc>
                <a:spcPct val="130000"/>
              </a:lnSpc>
            </a:pPr>
            <a:r>
              <a:rPr lang="en-US" altLang="en-GB"/>
              <a:t>Click to edit Master text styles</a:t>
            </a:r>
          </a:p>
        </p:txBody>
      </p:sp>
      <p:cxnSp>
        <p:nvCxnSpPr>
          <p:cNvPr id="9" name="Straight Connector 8">
            <a:extLst>
              <a:ext uri="{FF2B5EF4-FFF2-40B4-BE49-F238E27FC236}">
                <a16:creationId xmlns:a16="http://schemas.microsoft.com/office/drawing/2014/main" id="{2D9064B8-291E-1A4B-96B4-A429BC0B52C3}"/>
              </a:ext>
            </a:extLst>
          </p:cNvPr>
          <p:cNvCxnSpPr>
            <a:cxnSpLocks/>
          </p:cNvCxnSpPr>
          <p:nvPr/>
        </p:nvCxnSpPr>
        <p:spPr>
          <a:xfrm>
            <a:off x="8616724" y="2158429"/>
            <a:ext cx="0" cy="1407731"/>
          </a:xfrm>
          <a:prstGeom prst="line">
            <a:avLst/>
          </a:prstGeom>
          <a:ln w="25400">
            <a:solidFill>
              <a:srgbClr val="1F256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1F24A0E-A00D-064B-9A54-41A7BE9B83FB}"/>
              </a:ext>
            </a:extLst>
          </p:cNvPr>
          <p:cNvCxnSpPr>
            <a:cxnSpLocks/>
          </p:cNvCxnSpPr>
          <p:nvPr/>
        </p:nvCxnSpPr>
        <p:spPr>
          <a:xfrm>
            <a:off x="4856905" y="2158429"/>
            <a:ext cx="0" cy="1407731"/>
          </a:xfrm>
          <a:prstGeom prst="line">
            <a:avLst/>
          </a:prstGeom>
          <a:ln w="25400">
            <a:solidFill>
              <a:srgbClr val="1F2564"/>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67CB591-51A8-5940-90F1-6CAD243A69E3}"/>
              </a:ext>
            </a:extLst>
          </p:cNvPr>
          <p:cNvCxnSpPr>
            <a:cxnSpLocks/>
          </p:cNvCxnSpPr>
          <p:nvPr/>
        </p:nvCxnSpPr>
        <p:spPr>
          <a:xfrm>
            <a:off x="1062038" y="2158429"/>
            <a:ext cx="0" cy="1407731"/>
          </a:xfrm>
          <a:prstGeom prst="line">
            <a:avLst/>
          </a:prstGeom>
          <a:ln w="25400">
            <a:solidFill>
              <a:srgbClr val="1F2564"/>
            </a:solidFill>
          </a:ln>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BD1CA660-8F7F-784E-B0BC-30DFA7677188}"/>
              </a:ext>
            </a:extLst>
          </p:cNvPr>
          <p:cNvSpPr>
            <a:spLocks noGrp="1"/>
          </p:cNvSpPr>
          <p:nvPr>
            <p:ph type="sldNum" sz="quarter" idx="11"/>
          </p:nvPr>
        </p:nvSpPr>
        <p:spPr/>
        <p:txBody>
          <a:bodyPr/>
          <a:lstStyle>
            <a:lvl1pPr>
              <a:defRPr>
                <a:solidFill>
                  <a:srgbClr val="000000"/>
                </a:solidFill>
              </a:defRPr>
            </a:lvl1pPr>
          </a:lstStyle>
          <a:p>
            <a:fld id="{30CC6782-A7C1-AE43-BED6-519E5FEDBE2C}" type="slidenum">
              <a:rPr lang="en-US" smtClean="0"/>
              <a:pPr/>
              <a:t>‹#›</a:t>
            </a:fld>
            <a:endParaRPr lang="en-US"/>
          </a:p>
        </p:txBody>
      </p:sp>
    </p:spTree>
    <p:extLst>
      <p:ext uri="{BB962C8B-B14F-4D97-AF65-F5344CB8AC3E}">
        <p14:creationId xmlns:p14="http://schemas.microsoft.com/office/powerpoint/2010/main" val="852673429"/>
      </p:ext>
    </p:extLst>
  </p:cSld>
  <p:clrMapOvr>
    <a:masterClrMapping/>
  </p:clrMapOvr>
  <p:extLst>
    <p:ext uri="{DCECCB84-F9BA-43D5-87BE-67443E8EF086}">
      <p15:sldGuideLst xmlns:p15="http://schemas.microsoft.com/office/powerpoint/2012/main">
        <p15:guide id="1" orient="horz" pos="1366">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ntent 3 column">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860EF19-DDF1-3D49-97C7-6227A94EBBD5}"/>
              </a:ext>
            </a:extLst>
          </p:cNvPr>
          <p:cNvSpPr>
            <a:spLocks noGrp="1"/>
          </p:cNvSpPr>
          <p:nvPr>
            <p:ph type="sldNum" sz="quarter" idx="12"/>
          </p:nvPr>
        </p:nvSpPr>
        <p:spPr>
          <a:xfrm>
            <a:off x="11080548" y="244864"/>
            <a:ext cx="753833" cy="365125"/>
          </a:xfrm>
          <a:prstGeom prst="rect">
            <a:avLst/>
          </a:prstGeom>
        </p:spPr>
        <p:txBody>
          <a:bodyPr/>
          <a:lstStyle>
            <a:lvl1pPr>
              <a:defRPr b="0" i="0">
                <a:solidFill>
                  <a:srgbClr val="000000"/>
                </a:solidFill>
                <a:latin typeface="ASICS Font 3.0" pitchFamily="2" charset="77"/>
              </a:defRPr>
            </a:lvl1pPr>
          </a:lstStyle>
          <a:p>
            <a:fld id="{30CC6782-A7C1-AE43-BED6-519E5FEDBE2C}" type="slidenum">
              <a:rPr lang="en-US" smtClean="0"/>
              <a:pPr/>
              <a:t>‹#›</a:t>
            </a:fld>
            <a:endParaRPr lang="en-US"/>
          </a:p>
        </p:txBody>
      </p:sp>
      <p:sp>
        <p:nvSpPr>
          <p:cNvPr id="2" name="Title 1">
            <a:extLst>
              <a:ext uri="{FF2B5EF4-FFF2-40B4-BE49-F238E27FC236}">
                <a16:creationId xmlns:a16="http://schemas.microsoft.com/office/drawing/2014/main" id="{CB9DB1D9-5AEF-FF4E-AAC6-57369D760B23}"/>
              </a:ext>
            </a:extLst>
          </p:cNvPr>
          <p:cNvSpPr>
            <a:spLocks noGrp="1"/>
          </p:cNvSpPr>
          <p:nvPr>
            <p:ph type="title" hasCustomPrompt="1"/>
          </p:nvPr>
        </p:nvSpPr>
        <p:spPr>
          <a:xfrm>
            <a:off x="331678" y="324874"/>
            <a:ext cx="5764322" cy="1603931"/>
          </a:xfrm>
        </p:spPr>
        <p:txBody>
          <a:bodyPr anchor="t"/>
          <a:lstStyle>
            <a:lvl1pPr>
              <a:defRPr sz="3200" b="0" i="0" cap="none" baseline="0">
                <a:solidFill>
                  <a:srgbClr val="000000"/>
                </a:solidFill>
                <a:latin typeface="ASICS Font 3.0" pitchFamily="2" charset="77"/>
              </a:defRPr>
            </a:lvl1pPr>
          </a:lstStyle>
          <a:p>
            <a:r>
              <a:rPr lang="en-US"/>
              <a:t>Content title here</a:t>
            </a:r>
          </a:p>
        </p:txBody>
      </p:sp>
      <p:sp>
        <p:nvSpPr>
          <p:cNvPr id="4" name="Content Placeholder 3">
            <a:extLst>
              <a:ext uri="{FF2B5EF4-FFF2-40B4-BE49-F238E27FC236}">
                <a16:creationId xmlns:a16="http://schemas.microsoft.com/office/drawing/2014/main" id="{692035E7-8687-A743-AF5A-F72B7FEA32DD}"/>
              </a:ext>
            </a:extLst>
          </p:cNvPr>
          <p:cNvSpPr>
            <a:spLocks noGrp="1"/>
          </p:cNvSpPr>
          <p:nvPr>
            <p:ph sz="quarter" idx="23"/>
          </p:nvPr>
        </p:nvSpPr>
        <p:spPr>
          <a:xfrm>
            <a:off x="442913" y="2142778"/>
            <a:ext cx="3328987" cy="4238625"/>
          </a:xfrm>
        </p:spPr>
        <p:txBody>
          <a:bodyPr>
            <a:noAutofit/>
          </a:bodyPr>
          <a:lstStyle>
            <a:lvl1pPr>
              <a:defRPr b="0" i="0">
                <a:solidFill>
                  <a:srgbClr val="000000"/>
                </a:solidFill>
                <a:latin typeface="ASICS Font 3.0" pitchFamily="2" charset="77"/>
              </a:defRPr>
            </a:lvl1pPr>
            <a:lvl2pPr>
              <a:defRPr b="0" i="0">
                <a:solidFill>
                  <a:srgbClr val="000000"/>
                </a:solidFill>
                <a:latin typeface="ASICS Font 3.0" pitchFamily="2" charset="77"/>
              </a:defRPr>
            </a:lvl2pPr>
            <a:lvl3pPr>
              <a:defRPr b="0" i="0">
                <a:solidFill>
                  <a:srgbClr val="000000"/>
                </a:solidFill>
                <a:latin typeface="ASICS Font 3.0" pitchFamily="2" charset="77"/>
              </a:defRPr>
            </a:lvl3pPr>
            <a:lvl4pPr>
              <a:defRPr b="0" i="0">
                <a:solidFill>
                  <a:srgbClr val="000000"/>
                </a:solidFill>
                <a:latin typeface="ASICS Font 3.0" pitchFamily="2" charset="77"/>
              </a:defRPr>
            </a:lvl4pPr>
            <a:lvl5pPr>
              <a:defRPr b="0" i="0">
                <a:solidFill>
                  <a:srgbClr val="000000"/>
                </a:solidFill>
                <a:latin typeface="ASICS Font 3.0" pitchFamily="2" charset="77"/>
              </a:defRPr>
            </a:lvl5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US"/>
          </a:p>
        </p:txBody>
      </p:sp>
      <p:sp>
        <p:nvSpPr>
          <p:cNvPr id="14" name="Content Placeholder 3">
            <a:extLst>
              <a:ext uri="{FF2B5EF4-FFF2-40B4-BE49-F238E27FC236}">
                <a16:creationId xmlns:a16="http://schemas.microsoft.com/office/drawing/2014/main" id="{E838AE71-1318-DB4D-B41E-C55B11C4EAA5}"/>
              </a:ext>
            </a:extLst>
          </p:cNvPr>
          <p:cNvSpPr>
            <a:spLocks noGrp="1"/>
          </p:cNvSpPr>
          <p:nvPr>
            <p:ph sz="quarter" idx="24"/>
          </p:nvPr>
        </p:nvSpPr>
        <p:spPr>
          <a:xfrm>
            <a:off x="3915318" y="2142777"/>
            <a:ext cx="3328987" cy="4238625"/>
          </a:xfrm>
        </p:spPr>
        <p:txBody>
          <a:bodyPr>
            <a:noAutofit/>
          </a:bodyPr>
          <a:lstStyle>
            <a:lvl1pPr>
              <a:defRPr b="0" i="0">
                <a:solidFill>
                  <a:srgbClr val="000000"/>
                </a:solidFill>
                <a:latin typeface="ASICS Font 3.0" pitchFamily="2" charset="77"/>
              </a:defRPr>
            </a:lvl1pPr>
            <a:lvl2pPr>
              <a:defRPr b="0" i="0">
                <a:solidFill>
                  <a:srgbClr val="000000"/>
                </a:solidFill>
                <a:latin typeface="ASICS Font 3.0" pitchFamily="2" charset="77"/>
              </a:defRPr>
            </a:lvl2pPr>
            <a:lvl3pPr>
              <a:defRPr b="0" i="0">
                <a:solidFill>
                  <a:srgbClr val="000000"/>
                </a:solidFill>
                <a:latin typeface="ASICS Font 3.0" pitchFamily="2" charset="77"/>
              </a:defRPr>
            </a:lvl3pPr>
            <a:lvl4pPr>
              <a:defRPr b="0" i="0">
                <a:solidFill>
                  <a:srgbClr val="000000"/>
                </a:solidFill>
                <a:latin typeface="ASICS Font 3.0" pitchFamily="2" charset="77"/>
              </a:defRPr>
            </a:lvl4pPr>
            <a:lvl5pPr>
              <a:defRPr b="0" i="0">
                <a:solidFill>
                  <a:srgbClr val="000000"/>
                </a:solidFill>
                <a:latin typeface="ASICS Font 3.0" pitchFamily="2" charset="77"/>
              </a:defRPr>
            </a:lvl5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US"/>
          </a:p>
        </p:txBody>
      </p:sp>
      <p:sp>
        <p:nvSpPr>
          <p:cNvPr id="15" name="Content Placeholder 3">
            <a:extLst>
              <a:ext uri="{FF2B5EF4-FFF2-40B4-BE49-F238E27FC236}">
                <a16:creationId xmlns:a16="http://schemas.microsoft.com/office/drawing/2014/main" id="{752B24F4-0256-7744-8B3E-6B66972CE761}"/>
              </a:ext>
            </a:extLst>
          </p:cNvPr>
          <p:cNvSpPr>
            <a:spLocks noGrp="1"/>
          </p:cNvSpPr>
          <p:nvPr>
            <p:ph sz="quarter" idx="25"/>
          </p:nvPr>
        </p:nvSpPr>
        <p:spPr>
          <a:xfrm>
            <a:off x="7387724" y="2142776"/>
            <a:ext cx="3328987" cy="4238625"/>
          </a:xfrm>
        </p:spPr>
        <p:txBody>
          <a:bodyPr>
            <a:noAutofit/>
          </a:bodyPr>
          <a:lstStyle>
            <a:lvl1pPr>
              <a:defRPr b="0" i="0">
                <a:solidFill>
                  <a:srgbClr val="000000"/>
                </a:solidFill>
                <a:latin typeface="ASICS Font 3.0" pitchFamily="2" charset="77"/>
              </a:defRPr>
            </a:lvl1pPr>
            <a:lvl2pPr>
              <a:defRPr b="0" i="0">
                <a:solidFill>
                  <a:srgbClr val="000000"/>
                </a:solidFill>
                <a:latin typeface="ASICS Font 3.0" pitchFamily="2" charset="77"/>
              </a:defRPr>
            </a:lvl2pPr>
            <a:lvl3pPr>
              <a:defRPr b="0" i="0">
                <a:solidFill>
                  <a:srgbClr val="000000"/>
                </a:solidFill>
                <a:latin typeface="ASICS Font 3.0" pitchFamily="2" charset="77"/>
              </a:defRPr>
            </a:lvl3pPr>
            <a:lvl4pPr>
              <a:defRPr b="0" i="0">
                <a:solidFill>
                  <a:srgbClr val="000000"/>
                </a:solidFill>
                <a:latin typeface="ASICS Font 3.0" pitchFamily="2" charset="77"/>
              </a:defRPr>
            </a:lvl4pPr>
            <a:lvl5pPr>
              <a:defRPr b="0" i="0">
                <a:solidFill>
                  <a:srgbClr val="000000"/>
                </a:solidFill>
                <a:latin typeface="ASICS Font 3.0" pitchFamily="2" charset="77"/>
              </a:defRPr>
            </a:lvl5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US"/>
          </a:p>
        </p:txBody>
      </p:sp>
    </p:spTree>
    <p:extLst>
      <p:ext uri="{BB962C8B-B14F-4D97-AF65-F5344CB8AC3E}">
        <p14:creationId xmlns:p14="http://schemas.microsoft.com/office/powerpoint/2010/main" val="9349607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Quote and Image">
    <p:bg>
      <p:bgPr>
        <a:solidFill>
          <a:srgbClr val="E5E5F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27A931-6CAA-E448-9F6D-68EA147AA735}"/>
              </a:ext>
            </a:extLst>
          </p:cNvPr>
          <p:cNvSpPr>
            <a:spLocks noGrp="1"/>
          </p:cNvSpPr>
          <p:nvPr>
            <p:ph type="title" hasCustomPrompt="1"/>
          </p:nvPr>
        </p:nvSpPr>
        <p:spPr>
          <a:xfrm>
            <a:off x="331678" y="244864"/>
            <a:ext cx="5620453" cy="6136886"/>
          </a:xfrm>
        </p:spPr>
        <p:txBody>
          <a:bodyPr/>
          <a:lstStyle>
            <a:lvl1pPr>
              <a:defRPr sz="5400" b="0" i="0">
                <a:latin typeface="ASICS Font 3.0" pitchFamily="2" charset="77"/>
              </a:defRPr>
            </a:lvl1pPr>
          </a:lstStyle>
          <a:p>
            <a:r>
              <a:rPr lang="en-US"/>
              <a:t>Quote Here</a:t>
            </a:r>
          </a:p>
        </p:txBody>
      </p:sp>
      <p:sp>
        <p:nvSpPr>
          <p:cNvPr id="7" name="Slide Number Placeholder 6">
            <a:extLst>
              <a:ext uri="{FF2B5EF4-FFF2-40B4-BE49-F238E27FC236}">
                <a16:creationId xmlns:a16="http://schemas.microsoft.com/office/drawing/2014/main" id="{02DECC1A-6F23-5248-8780-35ABAED4FD27}"/>
              </a:ext>
            </a:extLst>
          </p:cNvPr>
          <p:cNvSpPr>
            <a:spLocks noGrp="1"/>
          </p:cNvSpPr>
          <p:nvPr>
            <p:ph type="sldNum" sz="quarter" idx="12"/>
          </p:nvPr>
        </p:nvSpPr>
        <p:spPr>
          <a:xfrm>
            <a:off x="11080548" y="244864"/>
            <a:ext cx="753833" cy="365125"/>
          </a:xfrm>
          <a:prstGeom prst="rect">
            <a:avLst/>
          </a:prstGeom>
        </p:spPr>
        <p:txBody>
          <a:bodyPr/>
          <a:lstStyle>
            <a:lvl1pPr>
              <a:defRPr b="0" i="0">
                <a:latin typeface="ASICS Font 3.0" pitchFamily="2" charset="77"/>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0CC6782-A7C1-AE43-BED6-519E5FEDBE2C}" type="slidenum">
              <a:rPr kumimoji="0" lang="en-US" sz="1200" b="0" i="0" u="none" strike="noStrike" kern="1200" cap="none" spc="0" normalizeH="0" baseline="0" noProof="0" smtClean="0">
                <a:ln>
                  <a:noFill/>
                </a:ln>
                <a:solidFill>
                  <a:srgbClr val="001E61"/>
                </a:solidFill>
                <a:effectLst/>
                <a:uLnTx/>
                <a:uFillTx/>
                <a:latin typeface="ASICS Font 3.0"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1E61"/>
              </a:solidFill>
              <a:effectLst/>
              <a:uLnTx/>
              <a:uFillTx/>
              <a:latin typeface="ASICS Font 3.0" pitchFamily="2" charset="77"/>
              <a:ea typeface="+mn-ea"/>
              <a:cs typeface="+mn-cs"/>
            </a:endParaRPr>
          </a:p>
        </p:txBody>
      </p:sp>
      <p:sp>
        <p:nvSpPr>
          <p:cNvPr id="9" name="Picture Placeholder 8">
            <a:extLst>
              <a:ext uri="{FF2B5EF4-FFF2-40B4-BE49-F238E27FC236}">
                <a16:creationId xmlns:a16="http://schemas.microsoft.com/office/drawing/2014/main" id="{58B77372-1FDF-E14F-92C8-9C3D03F6D2BE}"/>
              </a:ext>
            </a:extLst>
          </p:cNvPr>
          <p:cNvSpPr>
            <a:spLocks noGrp="1"/>
          </p:cNvSpPr>
          <p:nvPr>
            <p:ph type="pic" sz="quarter" idx="20"/>
          </p:nvPr>
        </p:nvSpPr>
        <p:spPr>
          <a:xfrm>
            <a:off x="6104272" y="441326"/>
            <a:ext cx="4887577" cy="5548816"/>
          </a:xfrm>
        </p:spPr>
        <p:txBody>
          <a:bodyPr>
            <a:noAutofit/>
          </a:bodyPr>
          <a:lstStyle>
            <a:lvl1pPr>
              <a:defRPr b="0" i="0">
                <a:latin typeface="ASICS Font 3.0" pitchFamily="2" charset="77"/>
              </a:defRPr>
            </a:lvl1pPr>
          </a:lstStyle>
          <a:p>
            <a:r>
              <a:rPr lang="en-US" altLang="ja-JP"/>
              <a:t>Click icon to add picture</a:t>
            </a:r>
            <a:endParaRPr lang="en-US"/>
          </a:p>
        </p:txBody>
      </p:sp>
    </p:spTree>
    <p:extLst>
      <p:ext uri="{BB962C8B-B14F-4D97-AF65-F5344CB8AC3E}">
        <p14:creationId xmlns:p14="http://schemas.microsoft.com/office/powerpoint/2010/main" val="18924236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Quote and Image">
    <p:bg>
      <p:bgPr>
        <a:solidFill>
          <a:srgbClr val="EBF5E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27A931-6CAA-E448-9F6D-68EA147AA735}"/>
              </a:ext>
            </a:extLst>
          </p:cNvPr>
          <p:cNvSpPr>
            <a:spLocks noGrp="1"/>
          </p:cNvSpPr>
          <p:nvPr>
            <p:ph type="title" hasCustomPrompt="1"/>
          </p:nvPr>
        </p:nvSpPr>
        <p:spPr>
          <a:xfrm>
            <a:off x="331678" y="244864"/>
            <a:ext cx="5620453" cy="6136886"/>
          </a:xfrm>
        </p:spPr>
        <p:txBody>
          <a:bodyPr/>
          <a:lstStyle>
            <a:lvl1pPr>
              <a:defRPr sz="5400" b="0" i="0">
                <a:latin typeface="ASICS Font 3.0" pitchFamily="2" charset="77"/>
              </a:defRPr>
            </a:lvl1pPr>
          </a:lstStyle>
          <a:p>
            <a:r>
              <a:rPr lang="en-US"/>
              <a:t>Quote Here</a:t>
            </a:r>
          </a:p>
        </p:txBody>
      </p:sp>
      <p:sp>
        <p:nvSpPr>
          <p:cNvPr id="7" name="Slide Number Placeholder 6">
            <a:extLst>
              <a:ext uri="{FF2B5EF4-FFF2-40B4-BE49-F238E27FC236}">
                <a16:creationId xmlns:a16="http://schemas.microsoft.com/office/drawing/2014/main" id="{02DECC1A-6F23-5248-8780-35ABAED4FD27}"/>
              </a:ext>
            </a:extLst>
          </p:cNvPr>
          <p:cNvSpPr>
            <a:spLocks noGrp="1"/>
          </p:cNvSpPr>
          <p:nvPr>
            <p:ph type="sldNum" sz="quarter" idx="12"/>
          </p:nvPr>
        </p:nvSpPr>
        <p:spPr>
          <a:xfrm>
            <a:off x="11080548" y="244864"/>
            <a:ext cx="753833" cy="365125"/>
          </a:xfrm>
          <a:prstGeom prst="rect">
            <a:avLst/>
          </a:prstGeom>
        </p:spPr>
        <p:txBody>
          <a:bodyPr/>
          <a:lstStyle>
            <a:lvl1pPr>
              <a:defRPr b="0" i="0">
                <a:latin typeface="ASICS Font 3.0" pitchFamily="2" charset="77"/>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0CC6782-A7C1-AE43-BED6-519E5FEDBE2C}" type="slidenum">
              <a:rPr kumimoji="0" lang="en-US" sz="1200" b="0" i="0" u="none" strike="noStrike" kern="1200" cap="none" spc="0" normalizeH="0" baseline="0" noProof="0" smtClean="0">
                <a:ln>
                  <a:noFill/>
                </a:ln>
                <a:solidFill>
                  <a:srgbClr val="001E61"/>
                </a:solidFill>
                <a:effectLst/>
                <a:uLnTx/>
                <a:uFillTx/>
                <a:latin typeface="ASICS Font 3.0"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1E61"/>
              </a:solidFill>
              <a:effectLst/>
              <a:uLnTx/>
              <a:uFillTx/>
              <a:latin typeface="ASICS Font 3.0" pitchFamily="2" charset="77"/>
              <a:ea typeface="+mn-ea"/>
              <a:cs typeface="+mn-cs"/>
            </a:endParaRPr>
          </a:p>
        </p:txBody>
      </p:sp>
      <p:sp>
        <p:nvSpPr>
          <p:cNvPr id="9" name="Picture Placeholder 8">
            <a:extLst>
              <a:ext uri="{FF2B5EF4-FFF2-40B4-BE49-F238E27FC236}">
                <a16:creationId xmlns:a16="http://schemas.microsoft.com/office/drawing/2014/main" id="{58B77372-1FDF-E14F-92C8-9C3D03F6D2BE}"/>
              </a:ext>
            </a:extLst>
          </p:cNvPr>
          <p:cNvSpPr>
            <a:spLocks noGrp="1"/>
          </p:cNvSpPr>
          <p:nvPr>
            <p:ph type="pic" sz="quarter" idx="20"/>
          </p:nvPr>
        </p:nvSpPr>
        <p:spPr>
          <a:xfrm>
            <a:off x="6104272" y="441327"/>
            <a:ext cx="4887577" cy="5554290"/>
          </a:xfrm>
        </p:spPr>
        <p:txBody>
          <a:bodyPr>
            <a:noAutofit/>
          </a:bodyPr>
          <a:lstStyle>
            <a:lvl1pPr>
              <a:defRPr b="0" i="0">
                <a:latin typeface="ASICS Font 3.0" pitchFamily="2" charset="77"/>
              </a:defRPr>
            </a:lvl1pPr>
          </a:lstStyle>
          <a:p>
            <a:r>
              <a:rPr lang="en-US" altLang="ja-JP"/>
              <a:t>Click icon to add picture</a:t>
            </a:r>
            <a:endParaRPr lang="en-US"/>
          </a:p>
        </p:txBody>
      </p:sp>
    </p:spTree>
    <p:extLst>
      <p:ext uri="{BB962C8B-B14F-4D97-AF65-F5344CB8AC3E}">
        <p14:creationId xmlns:p14="http://schemas.microsoft.com/office/powerpoint/2010/main" val="374027722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Agenda – pink">
    <p:bg>
      <p:bgPr>
        <a:solidFill>
          <a:schemeClr val="bg2"/>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28C600-228D-E747-9DE6-8BA71F435B95}"/>
              </a:ext>
            </a:extLst>
          </p:cNvPr>
          <p:cNvSpPr>
            <a:spLocks noGrp="1"/>
          </p:cNvSpPr>
          <p:nvPr>
            <p:ph idx="1"/>
          </p:nvPr>
        </p:nvSpPr>
        <p:spPr>
          <a:xfrm>
            <a:off x="4956723" y="1782752"/>
            <a:ext cx="5373688" cy="375899"/>
          </a:xfrm>
        </p:spPr>
        <p:txBody>
          <a:bodyPr lIns="0" rIns="0" numCol="1" anchor="ctr">
            <a:noAutofit/>
          </a:bodyPr>
          <a:lstStyle>
            <a:lvl1pPr marL="9525" indent="0" algn="l">
              <a:lnSpc>
                <a:spcPct val="100000"/>
              </a:lnSpc>
              <a:buNone/>
              <a:tabLst/>
              <a:defRPr sz="1400" b="0" i="0">
                <a:solidFill>
                  <a:srgbClr val="1F2564"/>
                </a:solidFill>
                <a:latin typeface="ASICS Font 3.0" pitchFamily="2" charset="77"/>
              </a:defRPr>
            </a:lvl1pPr>
            <a:lvl2pPr marL="9525" indent="0">
              <a:buNone/>
              <a:tabLst/>
              <a:defRPr sz="900">
                <a:solidFill>
                  <a:srgbClr val="1F2564"/>
                </a:solidFill>
                <a:latin typeface="Helvetica" pitchFamily="2" charset="0"/>
              </a:defRPr>
            </a:lvl2pPr>
            <a:lvl3pPr marL="9525" indent="0">
              <a:buNone/>
              <a:tabLst/>
              <a:defRPr sz="900">
                <a:solidFill>
                  <a:srgbClr val="1F2564"/>
                </a:solidFill>
                <a:latin typeface="Helvetica" pitchFamily="2" charset="0"/>
              </a:defRPr>
            </a:lvl3pPr>
            <a:lvl4pPr marL="9525" indent="0">
              <a:buNone/>
              <a:tabLst/>
              <a:defRPr sz="900">
                <a:solidFill>
                  <a:srgbClr val="1F2564"/>
                </a:solidFill>
                <a:latin typeface="Helvetica" pitchFamily="2" charset="0"/>
              </a:defRPr>
            </a:lvl4pPr>
            <a:lvl5pPr marL="9525" indent="0">
              <a:buNone/>
              <a:tabLst/>
              <a:defRPr sz="900">
                <a:solidFill>
                  <a:srgbClr val="1F2564"/>
                </a:solidFill>
                <a:latin typeface="Helvetica" pitchFamily="2" charset="0"/>
              </a:defRPr>
            </a:lvl5pPr>
          </a:lstStyle>
          <a:p>
            <a:pPr lvl="0"/>
            <a:r>
              <a:rPr lang="en-US" altLang="en-GB"/>
              <a:t>Click to edit Master text styles</a:t>
            </a:r>
          </a:p>
        </p:txBody>
      </p:sp>
      <p:cxnSp>
        <p:nvCxnSpPr>
          <p:cNvPr id="10" name="Straight Connector 9">
            <a:extLst>
              <a:ext uri="{FF2B5EF4-FFF2-40B4-BE49-F238E27FC236}">
                <a16:creationId xmlns:a16="http://schemas.microsoft.com/office/drawing/2014/main" id="{714FA454-1449-5A4C-BA99-D6DFD25245B7}"/>
              </a:ext>
            </a:extLst>
          </p:cNvPr>
          <p:cNvCxnSpPr>
            <a:cxnSpLocks/>
          </p:cNvCxnSpPr>
          <p:nvPr/>
        </p:nvCxnSpPr>
        <p:spPr>
          <a:xfrm>
            <a:off x="3921747" y="1812560"/>
            <a:ext cx="0" cy="3275035"/>
          </a:xfrm>
          <a:prstGeom prst="line">
            <a:avLst/>
          </a:prstGeom>
          <a:ln w="25400">
            <a:solidFill>
              <a:srgbClr val="1F2564"/>
            </a:solidFill>
          </a:ln>
        </p:spPr>
        <p:style>
          <a:lnRef idx="1">
            <a:schemeClr val="accent1"/>
          </a:lnRef>
          <a:fillRef idx="0">
            <a:schemeClr val="accent1"/>
          </a:fillRef>
          <a:effectRef idx="0">
            <a:schemeClr val="accent1"/>
          </a:effectRef>
          <a:fontRef idx="minor">
            <a:schemeClr val="tx1"/>
          </a:fontRef>
        </p:style>
      </p:cxnSp>
      <p:sp>
        <p:nvSpPr>
          <p:cNvPr id="8" name="Content Placeholder 2">
            <a:extLst>
              <a:ext uri="{FF2B5EF4-FFF2-40B4-BE49-F238E27FC236}">
                <a16:creationId xmlns:a16="http://schemas.microsoft.com/office/drawing/2014/main" id="{E214B8AF-2309-E14F-9F24-4242811D5265}"/>
              </a:ext>
            </a:extLst>
          </p:cNvPr>
          <p:cNvSpPr>
            <a:spLocks noGrp="1"/>
          </p:cNvSpPr>
          <p:nvPr>
            <p:ph idx="10"/>
          </p:nvPr>
        </p:nvSpPr>
        <p:spPr>
          <a:xfrm>
            <a:off x="4969564" y="2378550"/>
            <a:ext cx="5373688" cy="375899"/>
          </a:xfrm>
        </p:spPr>
        <p:txBody>
          <a:bodyPr lIns="0" rIns="0" numCol="1" anchor="ctr">
            <a:noAutofit/>
          </a:bodyPr>
          <a:lstStyle>
            <a:lvl1pPr marL="9525" indent="0" algn="l">
              <a:lnSpc>
                <a:spcPct val="100000"/>
              </a:lnSpc>
              <a:buNone/>
              <a:tabLst/>
              <a:defRPr sz="1400" b="0" i="0">
                <a:solidFill>
                  <a:srgbClr val="1F2564"/>
                </a:solidFill>
                <a:latin typeface="ASICS Font 3.0" pitchFamily="2" charset="77"/>
              </a:defRPr>
            </a:lvl1pPr>
            <a:lvl2pPr marL="9525" indent="0">
              <a:buNone/>
              <a:tabLst/>
              <a:defRPr sz="900">
                <a:solidFill>
                  <a:srgbClr val="1F2564"/>
                </a:solidFill>
                <a:latin typeface="Helvetica" pitchFamily="2" charset="0"/>
              </a:defRPr>
            </a:lvl2pPr>
            <a:lvl3pPr marL="9525" indent="0">
              <a:buNone/>
              <a:tabLst/>
              <a:defRPr sz="900">
                <a:solidFill>
                  <a:srgbClr val="1F2564"/>
                </a:solidFill>
                <a:latin typeface="Helvetica" pitchFamily="2" charset="0"/>
              </a:defRPr>
            </a:lvl3pPr>
            <a:lvl4pPr marL="9525" indent="0">
              <a:buNone/>
              <a:tabLst/>
              <a:defRPr sz="900">
                <a:solidFill>
                  <a:srgbClr val="1F2564"/>
                </a:solidFill>
                <a:latin typeface="Helvetica" pitchFamily="2" charset="0"/>
              </a:defRPr>
            </a:lvl4pPr>
            <a:lvl5pPr marL="9525" indent="0">
              <a:buNone/>
              <a:tabLst/>
              <a:defRPr sz="900">
                <a:solidFill>
                  <a:srgbClr val="1F2564"/>
                </a:solidFill>
                <a:latin typeface="Helvetica" pitchFamily="2" charset="0"/>
              </a:defRPr>
            </a:lvl5pPr>
          </a:lstStyle>
          <a:p>
            <a:pPr lvl="0"/>
            <a:r>
              <a:rPr lang="en-US" altLang="en-GB"/>
              <a:t>Click to edit Master text styles</a:t>
            </a:r>
          </a:p>
        </p:txBody>
      </p:sp>
      <p:sp>
        <p:nvSpPr>
          <p:cNvPr id="11" name="Content Placeholder 2">
            <a:extLst>
              <a:ext uri="{FF2B5EF4-FFF2-40B4-BE49-F238E27FC236}">
                <a16:creationId xmlns:a16="http://schemas.microsoft.com/office/drawing/2014/main" id="{D9AA992A-A0A7-0445-A755-6655984A5B3D}"/>
              </a:ext>
            </a:extLst>
          </p:cNvPr>
          <p:cNvSpPr>
            <a:spLocks noGrp="1"/>
          </p:cNvSpPr>
          <p:nvPr>
            <p:ph idx="11"/>
          </p:nvPr>
        </p:nvSpPr>
        <p:spPr>
          <a:xfrm>
            <a:off x="4969564" y="2974348"/>
            <a:ext cx="5373688" cy="375899"/>
          </a:xfrm>
        </p:spPr>
        <p:txBody>
          <a:bodyPr lIns="0" rIns="0" numCol="1" anchor="ctr">
            <a:noAutofit/>
          </a:bodyPr>
          <a:lstStyle>
            <a:lvl1pPr marL="9525" indent="0" algn="l">
              <a:lnSpc>
                <a:spcPct val="100000"/>
              </a:lnSpc>
              <a:buNone/>
              <a:tabLst/>
              <a:defRPr sz="1400" b="0" i="0">
                <a:solidFill>
                  <a:srgbClr val="1F2564"/>
                </a:solidFill>
                <a:latin typeface="ASICS Font 3.0" pitchFamily="2" charset="77"/>
              </a:defRPr>
            </a:lvl1pPr>
            <a:lvl2pPr marL="9525" indent="0">
              <a:buNone/>
              <a:tabLst/>
              <a:defRPr sz="900">
                <a:solidFill>
                  <a:srgbClr val="1F2564"/>
                </a:solidFill>
                <a:latin typeface="Helvetica" pitchFamily="2" charset="0"/>
              </a:defRPr>
            </a:lvl2pPr>
            <a:lvl3pPr marL="9525" indent="0">
              <a:buNone/>
              <a:tabLst/>
              <a:defRPr sz="900">
                <a:solidFill>
                  <a:srgbClr val="1F2564"/>
                </a:solidFill>
                <a:latin typeface="Helvetica" pitchFamily="2" charset="0"/>
              </a:defRPr>
            </a:lvl3pPr>
            <a:lvl4pPr marL="9525" indent="0">
              <a:buNone/>
              <a:tabLst/>
              <a:defRPr sz="900">
                <a:solidFill>
                  <a:srgbClr val="1F2564"/>
                </a:solidFill>
                <a:latin typeface="Helvetica" pitchFamily="2" charset="0"/>
              </a:defRPr>
            </a:lvl4pPr>
            <a:lvl5pPr marL="9525" indent="0">
              <a:buNone/>
              <a:tabLst/>
              <a:defRPr sz="900">
                <a:solidFill>
                  <a:srgbClr val="1F2564"/>
                </a:solidFill>
                <a:latin typeface="Helvetica" pitchFamily="2" charset="0"/>
              </a:defRPr>
            </a:lvl5pPr>
          </a:lstStyle>
          <a:p>
            <a:pPr lvl="0"/>
            <a:r>
              <a:rPr lang="en-US" altLang="en-GB"/>
              <a:t>Click to edit Master text styles</a:t>
            </a:r>
          </a:p>
        </p:txBody>
      </p:sp>
      <p:sp>
        <p:nvSpPr>
          <p:cNvPr id="14" name="Content Placeholder 2">
            <a:extLst>
              <a:ext uri="{FF2B5EF4-FFF2-40B4-BE49-F238E27FC236}">
                <a16:creationId xmlns:a16="http://schemas.microsoft.com/office/drawing/2014/main" id="{AA9B05E7-3AC4-A94F-A81D-90B2949B971F}"/>
              </a:ext>
            </a:extLst>
          </p:cNvPr>
          <p:cNvSpPr>
            <a:spLocks noGrp="1"/>
          </p:cNvSpPr>
          <p:nvPr>
            <p:ph idx="12"/>
          </p:nvPr>
        </p:nvSpPr>
        <p:spPr>
          <a:xfrm>
            <a:off x="4969564" y="3570146"/>
            <a:ext cx="5373688" cy="375899"/>
          </a:xfrm>
        </p:spPr>
        <p:txBody>
          <a:bodyPr lIns="0" rIns="0" numCol="1" anchor="ctr">
            <a:noAutofit/>
          </a:bodyPr>
          <a:lstStyle>
            <a:lvl1pPr marL="9525" indent="0" algn="l">
              <a:lnSpc>
                <a:spcPct val="100000"/>
              </a:lnSpc>
              <a:buNone/>
              <a:tabLst/>
              <a:defRPr sz="1400" b="0" i="0">
                <a:solidFill>
                  <a:srgbClr val="1F2564"/>
                </a:solidFill>
                <a:latin typeface="ASICS Font 3.0" pitchFamily="2" charset="77"/>
              </a:defRPr>
            </a:lvl1pPr>
            <a:lvl2pPr marL="9525" indent="0">
              <a:buNone/>
              <a:tabLst/>
              <a:defRPr sz="900">
                <a:solidFill>
                  <a:srgbClr val="1F2564"/>
                </a:solidFill>
                <a:latin typeface="Helvetica" pitchFamily="2" charset="0"/>
              </a:defRPr>
            </a:lvl2pPr>
            <a:lvl3pPr marL="9525" indent="0">
              <a:buNone/>
              <a:tabLst/>
              <a:defRPr sz="900">
                <a:solidFill>
                  <a:srgbClr val="1F2564"/>
                </a:solidFill>
                <a:latin typeface="Helvetica" pitchFamily="2" charset="0"/>
              </a:defRPr>
            </a:lvl3pPr>
            <a:lvl4pPr marL="9525" indent="0">
              <a:buNone/>
              <a:tabLst/>
              <a:defRPr sz="900">
                <a:solidFill>
                  <a:srgbClr val="1F2564"/>
                </a:solidFill>
                <a:latin typeface="Helvetica" pitchFamily="2" charset="0"/>
              </a:defRPr>
            </a:lvl4pPr>
            <a:lvl5pPr marL="9525" indent="0">
              <a:buNone/>
              <a:tabLst/>
              <a:defRPr sz="900">
                <a:solidFill>
                  <a:srgbClr val="1F2564"/>
                </a:solidFill>
                <a:latin typeface="Helvetica" pitchFamily="2" charset="0"/>
              </a:defRPr>
            </a:lvl5pPr>
          </a:lstStyle>
          <a:p>
            <a:pPr lvl="0"/>
            <a:r>
              <a:rPr lang="en-US" altLang="en-GB"/>
              <a:t>Click to edit Master text styles</a:t>
            </a:r>
          </a:p>
        </p:txBody>
      </p:sp>
      <p:sp>
        <p:nvSpPr>
          <p:cNvPr id="17" name="Content Placeholder 2">
            <a:extLst>
              <a:ext uri="{FF2B5EF4-FFF2-40B4-BE49-F238E27FC236}">
                <a16:creationId xmlns:a16="http://schemas.microsoft.com/office/drawing/2014/main" id="{81DADB44-5889-E949-99AB-63EE7D8E2705}"/>
              </a:ext>
            </a:extLst>
          </p:cNvPr>
          <p:cNvSpPr>
            <a:spLocks noGrp="1"/>
          </p:cNvSpPr>
          <p:nvPr>
            <p:ph idx="13"/>
          </p:nvPr>
        </p:nvSpPr>
        <p:spPr>
          <a:xfrm>
            <a:off x="4969564" y="4165944"/>
            <a:ext cx="5373688" cy="375899"/>
          </a:xfrm>
        </p:spPr>
        <p:txBody>
          <a:bodyPr lIns="0" rIns="0" numCol="1" anchor="ctr">
            <a:noAutofit/>
          </a:bodyPr>
          <a:lstStyle>
            <a:lvl1pPr marL="9525" indent="0" algn="l">
              <a:lnSpc>
                <a:spcPct val="100000"/>
              </a:lnSpc>
              <a:buNone/>
              <a:tabLst/>
              <a:defRPr sz="1400" b="0" i="0">
                <a:solidFill>
                  <a:srgbClr val="1F2564"/>
                </a:solidFill>
                <a:latin typeface="ASICS Font 3.0" pitchFamily="2" charset="77"/>
              </a:defRPr>
            </a:lvl1pPr>
            <a:lvl2pPr marL="9525" indent="0">
              <a:buNone/>
              <a:tabLst/>
              <a:defRPr sz="900">
                <a:solidFill>
                  <a:srgbClr val="1F2564"/>
                </a:solidFill>
                <a:latin typeface="Helvetica" pitchFamily="2" charset="0"/>
              </a:defRPr>
            </a:lvl2pPr>
            <a:lvl3pPr marL="9525" indent="0">
              <a:buNone/>
              <a:tabLst/>
              <a:defRPr sz="900">
                <a:solidFill>
                  <a:srgbClr val="1F2564"/>
                </a:solidFill>
                <a:latin typeface="Helvetica" pitchFamily="2" charset="0"/>
              </a:defRPr>
            </a:lvl3pPr>
            <a:lvl4pPr marL="9525" indent="0">
              <a:buNone/>
              <a:tabLst/>
              <a:defRPr sz="900">
                <a:solidFill>
                  <a:srgbClr val="1F2564"/>
                </a:solidFill>
                <a:latin typeface="Helvetica" pitchFamily="2" charset="0"/>
              </a:defRPr>
            </a:lvl4pPr>
            <a:lvl5pPr marL="9525" indent="0">
              <a:buNone/>
              <a:tabLst/>
              <a:defRPr sz="900">
                <a:solidFill>
                  <a:srgbClr val="1F2564"/>
                </a:solidFill>
                <a:latin typeface="Helvetica" pitchFamily="2" charset="0"/>
              </a:defRPr>
            </a:lvl5pPr>
          </a:lstStyle>
          <a:p>
            <a:pPr lvl="0"/>
            <a:r>
              <a:rPr lang="en-US" altLang="en-GB"/>
              <a:t>Click to edit Master text styles</a:t>
            </a:r>
          </a:p>
        </p:txBody>
      </p:sp>
      <p:sp>
        <p:nvSpPr>
          <p:cNvPr id="20" name="Text Placeholder 4">
            <a:extLst>
              <a:ext uri="{FF2B5EF4-FFF2-40B4-BE49-F238E27FC236}">
                <a16:creationId xmlns:a16="http://schemas.microsoft.com/office/drawing/2014/main" id="{041B3739-6823-3242-8B1B-DD73456D88A7}"/>
              </a:ext>
            </a:extLst>
          </p:cNvPr>
          <p:cNvSpPr>
            <a:spLocks noGrp="1"/>
          </p:cNvSpPr>
          <p:nvPr>
            <p:ph type="body" sz="quarter" idx="17" hasCustomPrompt="1"/>
          </p:nvPr>
        </p:nvSpPr>
        <p:spPr>
          <a:xfrm>
            <a:off x="4178354" y="4763650"/>
            <a:ext cx="610802" cy="375899"/>
          </a:xfrm>
        </p:spPr>
        <p:txBody>
          <a:bodyPr vert="horz" lIns="91440" tIns="45720" rIns="0" bIns="45720" numCol="1" rtlCol="0" anchor="ctr">
            <a:noAutofit/>
          </a:bodyPr>
          <a:lstStyle>
            <a:lvl1pPr algn="ctr">
              <a:lnSpc>
                <a:spcPct val="100000"/>
              </a:lnSpc>
              <a:defRPr lang="en-GB" altLang="en-GB" sz="2400" b="0" i="0" spc="300" smtClean="0">
                <a:solidFill>
                  <a:srgbClr val="001E62"/>
                </a:solidFill>
                <a:latin typeface="ASICS Font 3.0" pitchFamily="2" charset="77"/>
                <a:ea typeface="+mj-ea"/>
                <a:cs typeface="+mj-cs"/>
              </a:defRPr>
            </a:lvl1pPr>
            <a:lvl2pPr>
              <a:defRPr lang="en-GB" altLang="en-GB" smtClean="0"/>
            </a:lvl2pPr>
            <a:lvl3pPr>
              <a:defRPr lang="en-GB" altLang="en-GB" smtClean="0"/>
            </a:lvl3pPr>
            <a:lvl4pPr>
              <a:defRPr lang="en-GB" altLang="en-GB" smtClean="0"/>
            </a:lvl4pPr>
            <a:lvl5pPr>
              <a:defRPr lang="en-GB" altLang="en-GB"/>
            </a:lvl5pPr>
          </a:lstStyle>
          <a:p>
            <a:pPr lvl="0" algn="r">
              <a:lnSpc>
                <a:spcPct val="130000"/>
              </a:lnSpc>
              <a:spcBef>
                <a:spcPct val="0"/>
              </a:spcBef>
            </a:pPr>
            <a:r>
              <a:rPr lang="en-GB" altLang="en-GB"/>
              <a:t>#</a:t>
            </a:r>
          </a:p>
        </p:txBody>
      </p:sp>
      <p:sp>
        <p:nvSpPr>
          <p:cNvPr id="21" name="TextBox 20">
            <a:extLst>
              <a:ext uri="{FF2B5EF4-FFF2-40B4-BE49-F238E27FC236}">
                <a16:creationId xmlns:a16="http://schemas.microsoft.com/office/drawing/2014/main" id="{AA4A3214-32C8-6B4E-87E4-A36B3A38018F}"/>
              </a:ext>
            </a:extLst>
          </p:cNvPr>
          <p:cNvSpPr txBox="1"/>
          <p:nvPr/>
        </p:nvSpPr>
        <p:spPr>
          <a:xfrm rot="16200000">
            <a:off x="1556516" y="3276425"/>
            <a:ext cx="3840480" cy="500129"/>
          </a:xfrm>
          <a:prstGeom prst="rect">
            <a:avLst/>
          </a:prstGeom>
        </p:spPr>
        <p:txBody>
          <a:bodyPr vert="vert" lIns="91440" tIns="45720" rIns="0" bIns="45720" numCol="1" rtlCol="0" anchor="t">
            <a:normAutofit/>
          </a:bodyPr>
          <a:lstStyle>
            <a:lvl1pPr>
              <a:lnSpc>
                <a:spcPct val="90000"/>
              </a:lnSpc>
              <a:spcBef>
                <a:spcPct val="0"/>
              </a:spcBef>
              <a:buNone/>
              <a:defRPr lang="en-GB" altLang="en-GB" sz="3600" b="0" i="0" spc="300" dirty="0" smtClean="0">
                <a:solidFill>
                  <a:srgbClr val="F04C32"/>
                </a:solidFill>
                <a:latin typeface="ASICS" pitchFamily="2" charset="77"/>
                <a:ea typeface="+mj-ea"/>
                <a:cs typeface="+mj-cs"/>
              </a:defRPr>
            </a:lvl1pPr>
          </a:lstStyle>
          <a:p>
            <a:pPr marL="0" marR="0" lvl="0" indent="0" algn="ctr" defTabSz="914400" rtl="0" eaLnBrk="1" fontAlgn="auto" latinLnBrk="0" hangingPunct="1">
              <a:lnSpc>
                <a:spcPct val="140000"/>
              </a:lnSpc>
              <a:spcBef>
                <a:spcPct val="0"/>
              </a:spcBef>
              <a:spcAft>
                <a:spcPts val="0"/>
              </a:spcAft>
              <a:buClrTx/>
              <a:buSzTx/>
              <a:buFontTx/>
              <a:buNone/>
              <a:tabLst/>
              <a:defRPr/>
            </a:pPr>
            <a:r>
              <a:rPr kumimoji="0" lang="en-GB" altLang="en-GB" sz="2800" b="0" i="0" u="none" strike="noStrike" kern="1200" cap="none" spc="600" normalizeH="0" baseline="0" noProof="0">
                <a:ln>
                  <a:noFill/>
                </a:ln>
                <a:solidFill>
                  <a:srgbClr val="1F2564"/>
                </a:solidFill>
                <a:effectLst/>
                <a:uLnTx/>
                <a:uFillTx/>
                <a:latin typeface="ASICS Font 3.0" pitchFamily="2" charset="77"/>
                <a:ea typeface="+mj-ea"/>
                <a:cs typeface="+mj-cs"/>
              </a:rPr>
              <a:t>AGENDA</a:t>
            </a:r>
          </a:p>
        </p:txBody>
      </p:sp>
      <p:sp>
        <p:nvSpPr>
          <p:cNvPr id="33" name="Text Placeholder 4">
            <a:extLst>
              <a:ext uri="{FF2B5EF4-FFF2-40B4-BE49-F238E27FC236}">
                <a16:creationId xmlns:a16="http://schemas.microsoft.com/office/drawing/2014/main" id="{0CBA2BEC-6886-8E4C-9FCA-A0D634DC317A}"/>
              </a:ext>
            </a:extLst>
          </p:cNvPr>
          <p:cNvSpPr>
            <a:spLocks noGrp="1"/>
          </p:cNvSpPr>
          <p:nvPr>
            <p:ph type="body" sz="quarter" idx="19" hasCustomPrompt="1"/>
          </p:nvPr>
        </p:nvSpPr>
        <p:spPr>
          <a:xfrm>
            <a:off x="4178354" y="4167199"/>
            <a:ext cx="610802" cy="375899"/>
          </a:xfrm>
        </p:spPr>
        <p:txBody>
          <a:bodyPr vert="horz" lIns="91440" tIns="45720" rIns="0" bIns="45720" numCol="1" rtlCol="0" anchor="ctr">
            <a:noAutofit/>
          </a:bodyPr>
          <a:lstStyle>
            <a:lvl1pPr algn="ctr">
              <a:lnSpc>
                <a:spcPct val="100000"/>
              </a:lnSpc>
              <a:defRPr lang="en-GB" altLang="en-GB" sz="2400" b="0" i="0" spc="300" smtClean="0">
                <a:solidFill>
                  <a:srgbClr val="001E62"/>
                </a:solidFill>
                <a:latin typeface="ASICS Font 3.0" pitchFamily="2" charset="77"/>
                <a:ea typeface="+mj-ea"/>
                <a:cs typeface="+mj-cs"/>
              </a:defRPr>
            </a:lvl1pPr>
            <a:lvl2pPr>
              <a:defRPr lang="en-GB" altLang="en-GB" smtClean="0"/>
            </a:lvl2pPr>
            <a:lvl3pPr>
              <a:defRPr lang="en-GB" altLang="en-GB" smtClean="0"/>
            </a:lvl3pPr>
            <a:lvl4pPr>
              <a:defRPr lang="en-GB" altLang="en-GB" smtClean="0"/>
            </a:lvl4pPr>
            <a:lvl5pPr>
              <a:defRPr lang="en-GB" altLang="en-GB"/>
            </a:lvl5pPr>
          </a:lstStyle>
          <a:p>
            <a:pPr lvl="0" algn="r">
              <a:lnSpc>
                <a:spcPct val="130000"/>
              </a:lnSpc>
              <a:spcBef>
                <a:spcPct val="0"/>
              </a:spcBef>
            </a:pPr>
            <a:r>
              <a:rPr lang="en-GB" altLang="en-GB"/>
              <a:t>#</a:t>
            </a:r>
          </a:p>
        </p:txBody>
      </p:sp>
      <p:sp>
        <p:nvSpPr>
          <p:cNvPr id="34" name="Content Placeholder 2">
            <a:extLst>
              <a:ext uri="{FF2B5EF4-FFF2-40B4-BE49-F238E27FC236}">
                <a16:creationId xmlns:a16="http://schemas.microsoft.com/office/drawing/2014/main" id="{6E32CEEB-FBE5-B04E-8638-16CDC216C248}"/>
              </a:ext>
            </a:extLst>
          </p:cNvPr>
          <p:cNvSpPr>
            <a:spLocks noGrp="1"/>
          </p:cNvSpPr>
          <p:nvPr>
            <p:ph idx="20"/>
          </p:nvPr>
        </p:nvSpPr>
        <p:spPr>
          <a:xfrm>
            <a:off x="4969564" y="4761743"/>
            <a:ext cx="5373688" cy="375899"/>
          </a:xfrm>
        </p:spPr>
        <p:txBody>
          <a:bodyPr lIns="0" rIns="0" numCol="1" anchor="ctr">
            <a:noAutofit/>
          </a:bodyPr>
          <a:lstStyle>
            <a:lvl1pPr marL="9525" indent="0" algn="l">
              <a:lnSpc>
                <a:spcPct val="100000"/>
              </a:lnSpc>
              <a:buNone/>
              <a:tabLst/>
              <a:defRPr sz="1400" b="0" i="0">
                <a:solidFill>
                  <a:srgbClr val="1F2564"/>
                </a:solidFill>
                <a:latin typeface="ASICS Font 3.0" pitchFamily="2" charset="77"/>
              </a:defRPr>
            </a:lvl1pPr>
            <a:lvl2pPr marL="9525" indent="0">
              <a:buNone/>
              <a:tabLst/>
              <a:defRPr sz="900">
                <a:solidFill>
                  <a:srgbClr val="1F2564"/>
                </a:solidFill>
                <a:latin typeface="Helvetica" pitchFamily="2" charset="0"/>
              </a:defRPr>
            </a:lvl2pPr>
            <a:lvl3pPr marL="9525" indent="0">
              <a:buNone/>
              <a:tabLst/>
              <a:defRPr sz="900">
                <a:solidFill>
                  <a:srgbClr val="1F2564"/>
                </a:solidFill>
                <a:latin typeface="Helvetica" pitchFamily="2" charset="0"/>
              </a:defRPr>
            </a:lvl3pPr>
            <a:lvl4pPr marL="9525" indent="0">
              <a:buNone/>
              <a:tabLst/>
              <a:defRPr sz="900">
                <a:solidFill>
                  <a:srgbClr val="1F2564"/>
                </a:solidFill>
                <a:latin typeface="Helvetica" pitchFamily="2" charset="0"/>
              </a:defRPr>
            </a:lvl4pPr>
            <a:lvl5pPr marL="9525" indent="0">
              <a:buNone/>
              <a:tabLst/>
              <a:defRPr sz="900">
                <a:solidFill>
                  <a:srgbClr val="1F2564"/>
                </a:solidFill>
                <a:latin typeface="Helvetica" pitchFamily="2" charset="0"/>
              </a:defRPr>
            </a:lvl5pPr>
          </a:lstStyle>
          <a:p>
            <a:pPr lvl="0"/>
            <a:r>
              <a:rPr lang="en-US" altLang="en-GB"/>
              <a:t>Click to edit Master text styles</a:t>
            </a:r>
          </a:p>
        </p:txBody>
      </p:sp>
      <p:sp>
        <p:nvSpPr>
          <p:cNvPr id="35" name="Text Placeholder 4">
            <a:extLst>
              <a:ext uri="{FF2B5EF4-FFF2-40B4-BE49-F238E27FC236}">
                <a16:creationId xmlns:a16="http://schemas.microsoft.com/office/drawing/2014/main" id="{6FBEFA28-ADE5-1C40-97E0-4E73C68E0EE9}"/>
              </a:ext>
            </a:extLst>
          </p:cNvPr>
          <p:cNvSpPr>
            <a:spLocks noGrp="1"/>
          </p:cNvSpPr>
          <p:nvPr>
            <p:ph type="body" sz="quarter" idx="21" hasCustomPrompt="1"/>
          </p:nvPr>
        </p:nvSpPr>
        <p:spPr>
          <a:xfrm>
            <a:off x="4178354" y="3570746"/>
            <a:ext cx="610802" cy="375899"/>
          </a:xfrm>
        </p:spPr>
        <p:txBody>
          <a:bodyPr vert="horz" lIns="91440" tIns="45720" rIns="0" bIns="45720" numCol="1" rtlCol="0" anchor="ctr">
            <a:noAutofit/>
          </a:bodyPr>
          <a:lstStyle>
            <a:lvl1pPr algn="ctr">
              <a:lnSpc>
                <a:spcPct val="100000"/>
              </a:lnSpc>
              <a:defRPr lang="en-GB" altLang="en-GB" sz="2400" b="0" i="0" spc="300" smtClean="0">
                <a:solidFill>
                  <a:srgbClr val="001E62"/>
                </a:solidFill>
                <a:latin typeface="ASICS Font 3.0" pitchFamily="2" charset="77"/>
                <a:ea typeface="+mj-ea"/>
                <a:cs typeface="+mj-cs"/>
              </a:defRPr>
            </a:lvl1pPr>
            <a:lvl2pPr>
              <a:defRPr lang="en-GB" altLang="en-GB" smtClean="0"/>
            </a:lvl2pPr>
            <a:lvl3pPr>
              <a:defRPr lang="en-GB" altLang="en-GB" smtClean="0"/>
            </a:lvl3pPr>
            <a:lvl4pPr>
              <a:defRPr lang="en-GB" altLang="en-GB" smtClean="0"/>
            </a:lvl4pPr>
            <a:lvl5pPr>
              <a:defRPr lang="en-GB" altLang="en-GB"/>
            </a:lvl5pPr>
          </a:lstStyle>
          <a:p>
            <a:pPr lvl="0" algn="r">
              <a:lnSpc>
                <a:spcPct val="130000"/>
              </a:lnSpc>
              <a:spcBef>
                <a:spcPct val="0"/>
              </a:spcBef>
            </a:pPr>
            <a:r>
              <a:rPr lang="en-GB" altLang="en-GB"/>
              <a:t>#</a:t>
            </a:r>
          </a:p>
        </p:txBody>
      </p:sp>
      <p:sp>
        <p:nvSpPr>
          <p:cNvPr id="36" name="Text Placeholder 4">
            <a:extLst>
              <a:ext uri="{FF2B5EF4-FFF2-40B4-BE49-F238E27FC236}">
                <a16:creationId xmlns:a16="http://schemas.microsoft.com/office/drawing/2014/main" id="{B1AF9B46-C3D0-E74F-B5B3-D7748A62AD6C}"/>
              </a:ext>
            </a:extLst>
          </p:cNvPr>
          <p:cNvSpPr>
            <a:spLocks noGrp="1"/>
          </p:cNvSpPr>
          <p:nvPr>
            <p:ph type="body" sz="quarter" idx="22" hasCustomPrompt="1"/>
          </p:nvPr>
        </p:nvSpPr>
        <p:spPr>
          <a:xfrm>
            <a:off x="4178354" y="2974293"/>
            <a:ext cx="610802" cy="375899"/>
          </a:xfrm>
        </p:spPr>
        <p:txBody>
          <a:bodyPr vert="horz" lIns="91440" tIns="45720" rIns="0" bIns="45720" numCol="1" rtlCol="0" anchor="ctr">
            <a:noAutofit/>
          </a:bodyPr>
          <a:lstStyle>
            <a:lvl1pPr algn="ctr">
              <a:lnSpc>
                <a:spcPct val="100000"/>
              </a:lnSpc>
              <a:defRPr lang="en-GB" altLang="en-GB" sz="2400" b="0" i="0" spc="300" smtClean="0">
                <a:solidFill>
                  <a:srgbClr val="001E62"/>
                </a:solidFill>
                <a:latin typeface="ASICS Font 3.0" pitchFamily="2" charset="77"/>
                <a:ea typeface="+mj-ea"/>
                <a:cs typeface="+mj-cs"/>
              </a:defRPr>
            </a:lvl1pPr>
            <a:lvl2pPr>
              <a:defRPr lang="en-GB" altLang="en-GB" smtClean="0"/>
            </a:lvl2pPr>
            <a:lvl3pPr>
              <a:defRPr lang="en-GB" altLang="en-GB" smtClean="0"/>
            </a:lvl3pPr>
            <a:lvl4pPr>
              <a:defRPr lang="en-GB" altLang="en-GB" smtClean="0"/>
            </a:lvl4pPr>
            <a:lvl5pPr>
              <a:defRPr lang="en-GB" altLang="en-GB"/>
            </a:lvl5pPr>
          </a:lstStyle>
          <a:p>
            <a:pPr lvl="0" algn="r">
              <a:lnSpc>
                <a:spcPct val="130000"/>
              </a:lnSpc>
              <a:spcBef>
                <a:spcPct val="0"/>
              </a:spcBef>
            </a:pPr>
            <a:r>
              <a:rPr lang="en-GB" altLang="en-GB"/>
              <a:t>#</a:t>
            </a:r>
          </a:p>
        </p:txBody>
      </p:sp>
      <p:sp>
        <p:nvSpPr>
          <p:cNvPr id="37" name="Text Placeholder 4">
            <a:extLst>
              <a:ext uri="{FF2B5EF4-FFF2-40B4-BE49-F238E27FC236}">
                <a16:creationId xmlns:a16="http://schemas.microsoft.com/office/drawing/2014/main" id="{7917F914-A1B5-854C-B322-BD0C5F42436D}"/>
              </a:ext>
            </a:extLst>
          </p:cNvPr>
          <p:cNvSpPr>
            <a:spLocks noGrp="1"/>
          </p:cNvSpPr>
          <p:nvPr>
            <p:ph type="body" sz="quarter" idx="23" hasCustomPrompt="1"/>
          </p:nvPr>
        </p:nvSpPr>
        <p:spPr>
          <a:xfrm>
            <a:off x="4178354" y="2377840"/>
            <a:ext cx="610802" cy="375899"/>
          </a:xfrm>
        </p:spPr>
        <p:txBody>
          <a:bodyPr vert="horz" lIns="91440" tIns="45720" rIns="0" bIns="45720" numCol="1" rtlCol="0" anchor="ctr">
            <a:noAutofit/>
          </a:bodyPr>
          <a:lstStyle>
            <a:lvl1pPr algn="ctr">
              <a:lnSpc>
                <a:spcPct val="100000"/>
              </a:lnSpc>
              <a:defRPr lang="en-GB" altLang="en-GB" sz="2400" b="0" i="0" spc="300" smtClean="0">
                <a:solidFill>
                  <a:srgbClr val="001E62"/>
                </a:solidFill>
                <a:latin typeface="ASICS Font 3.0" pitchFamily="2" charset="77"/>
                <a:ea typeface="+mj-ea"/>
                <a:cs typeface="+mj-cs"/>
              </a:defRPr>
            </a:lvl1pPr>
            <a:lvl2pPr>
              <a:defRPr lang="en-GB" altLang="en-GB" smtClean="0"/>
            </a:lvl2pPr>
            <a:lvl3pPr>
              <a:defRPr lang="en-GB" altLang="en-GB" smtClean="0"/>
            </a:lvl3pPr>
            <a:lvl4pPr>
              <a:defRPr lang="en-GB" altLang="en-GB" smtClean="0"/>
            </a:lvl4pPr>
            <a:lvl5pPr>
              <a:defRPr lang="en-GB" altLang="en-GB"/>
            </a:lvl5pPr>
          </a:lstStyle>
          <a:p>
            <a:pPr lvl="0" algn="r">
              <a:lnSpc>
                <a:spcPct val="130000"/>
              </a:lnSpc>
              <a:spcBef>
                <a:spcPct val="0"/>
              </a:spcBef>
            </a:pPr>
            <a:r>
              <a:rPr lang="en-GB" altLang="en-GB"/>
              <a:t>#</a:t>
            </a:r>
          </a:p>
        </p:txBody>
      </p:sp>
      <p:sp>
        <p:nvSpPr>
          <p:cNvPr id="38" name="Text Placeholder 4">
            <a:extLst>
              <a:ext uri="{FF2B5EF4-FFF2-40B4-BE49-F238E27FC236}">
                <a16:creationId xmlns:a16="http://schemas.microsoft.com/office/drawing/2014/main" id="{4E370797-1594-D44A-95E3-0D260C9F9199}"/>
              </a:ext>
            </a:extLst>
          </p:cNvPr>
          <p:cNvSpPr>
            <a:spLocks noGrp="1"/>
          </p:cNvSpPr>
          <p:nvPr>
            <p:ph type="body" sz="quarter" idx="24" hasCustomPrompt="1"/>
          </p:nvPr>
        </p:nvSpPr>
        <p:spPr>
          <a:xfrm>
            <a:off x="4178354" y="1781387"/>
            <a:ext cx="610802" cy="375899"/>
          </a:xfrm>
        </p:spPr>
        <p:txBody>
          <a:bodyPr vert="horz" lIns="91440" tIns="45720" rIns="0" bIns="45720" numCol="1" rtlCol="0" anchor="ctr">
            <a:noAutofit/>
          </a:bodyPr>
          <a:lstStyle>
            <a:lvl1pPr algn="ctr">
              <a:lnSpc>
                <a:spcPct val="100000"/>
              </a:lnSpc>
              <a:defRPr lang="en-GB" altLang="en-GB" sz="2400" b="0" i="0" spc="300" smtClean="0">
                <a:solidFill>
                  <a:srgbClr val="001E62"/>
                </a:solidFill>
                <a:latin typeface="ASICS Font 3.0" pitchFamily="2" charset="77"/>
                <a:ea typeface="+mj-ea"/>
                <a:cs typeface="+mj-cs"/>
              </a:defRPr>
            </a:lvl1pPr>
            <a:lvl2pPr>
              <a:defRPr lang="en-GB" altLang="en-GB" smtClean="0"/>
            </a:lvl2pPr>
            <a:lvl3pPr>
              <a:defRPr lang="en-GB" altLang="en-GB" smtClean="0"/>
            </a:lvl3pPr>
            <a:lvl4pPr>
              <a:defRPr lang="en-GB" altLang="en-GB" smtClean="0"/>
            </a:lvl4pPr>
            <a:lvl5pPr>
              <a:defRPr lang="en-GB" altLang="en-GB"/>
            </a:lvl5pPr>
          </a:lstStyle>
          <a:p>
            <a:pPr lvl="0" algn="r">
              <a:lnSpc>
                <a:spcPct val="130000"/>
              </a:lnSpc>
              <a:spcBef>
                <a:spcPct val="0"/>
              </a:spcBef>
            </a:pPr>
            <a:r>
              <a:rPr lang="en-GB" altLang="en-GB"/>
              <a:t>#</a:t>
            </a:r>
          </a:p>
        </p:txBody>
      </p:sp>
      <p:sp>
        <p:nvSpPr>
          <p:cNvPr id="16" name="Slide Number Placeholder 1">
            <a:extLst>
              <a:ext uri="{FF2B5EF4-FFF2-40B4-BE49-F238E27FC236}">
                <a16:creationId xmlns:a16="http://schemas.microsoft.com/office/drawing/2014/main" id="{AC1D41A5-F5E0-164B-8D8C-5DE1F5562A36}"/>
              </a:ext>
            </a:extLst>
          </p:cNvPr>
          <p:cNvSpPr>
            <a:spLocks noGrp="1"/>
          </p:cNvSpPr>
          <p:nvPr>
            <p:ph type="sldNum" sz="quarter" idx="25"/>
          </p:nvPr>
        </p:nvSpPr>
        <p:spPr>
          <a:xfrm>
            <a:off x="11080548" y="244864"/>
            <a:ext cx="753833"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C6782-A7C1-AE43-BED6-519E5FEDBE2C}" type="slidenum">
              <a:rPr kumimoji="0" lang="en-US" sz="1200" b="0" i="0" u="none" strike="noStrike" kern="1200" cap="none" spc="0" normalizeH="0" baseline="0" noProof="0" smtClean="0">
                <a:ln>
                  <a:noFill/>
                </a:ln>
                <a:solidFill>
                  <a:srgbClr val="001E61"/>
                </a:solidFill>
                <a:effectLst/>
                <a:uLnTx/>
                <a:uFillTx/>
                <a:latin typeface="ASICS Font 3.0"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1E61"/>
              </a:solidFill>
              <a:effectLst/>
              <a:uLnTx/>
              <a:uFillTx/>
              <a:latin typeface="ASICS Font 3.0" pitchFamily="2" charset="77"/>
              <a:ea typeface="+mn-ea"/>
              <a:cs typeface="+mn-cs"/>
            </a:endParaRPr>
          </a:p>
        </p:txBody>
      </p:sp>
    </p:spTree>
    <p:extLst>
      <p:ext uri="{BB962C8B-B14F-4D97-AF65-F5344CB8AC3E}">
        <p14:creationId xmlns:p14="http://schemas.microsoft.com/office/powerpoint/2010/main" val="3858812573"/>
      </p:ext>
    </p:extLst>
  </p:cSld>
  <p:clrMapOvr>
    <a:masterClrMapping/>
  </p:clrMapOvr>
  <p:extLst>
    <p:ext uri="{DCECCB84-F9BA-43D5-87BE-67443E8EF086}">
      <p15:sldGuideLst xmlns:p15="http://schemas.microsoft.com/office/powerpoint/2012/main">
        <p15:guide id="5" pos="3840">
          <p15:clr>
            <a:srgbClr val="FBAE40"/>
          </p15:clr>
        </p15:guide>
        <p15:guide id="6" pos="5518">
          <p15:clr>
            <a:srgbClr val="FBAE40"/>
          </p15:clr>
        </p15:guide>
        <p15:guide id="7" pos="2139">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ection Header w/ picture – gre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913A7-1BD1-134A-BB0E-3D76124E4C6C}"/>
              </a:ext>
            </a:extLst>
          </p:cNvPr>
          <p:cNvSpPr>
            <a:spLocks noGrp="1"/>
          </p:cNvSpPr>
          <p:nvPr>
            <p:ph type="title"/>
          </p:nvPr>
        </p:nvSpPr>
        <p:spPr>
          <a:xfrm>
            <a:off x="5923312" y="2505074"/>
            <a:ext cx="6513843" cy="2852737"/>
          </a:xfrm>
        </p:spPr>
        <p:txBody>
          <a:bodyPr vert="horz" lIns="91440" tIns="45720" rIns="0" bIns="45720" rtlCol="0" anchor="t">
            <a:noAutofit/>
          </a:bodyPr>
          <a:lstStyle>
            <a:lvl1pPr>
              <a:lnSpc>
                <a:spcPct val="100000"/>
              </a:lnSpc>
              <a:defRPr lang="en-GB" sz="3600" b="1" i="0" dirty="0">
                <a:solidFill>
                  <a:sysClr val="windowText" lastClr="000000"/>
                </a:solidFill>
                <a:latin typeface="ASICS Font 3.0" pitchFamily="2" charset="77"/>
              </a:defRPr>
            </a:lvl1pPr>
          </a:lstStyle>
          <a:p>
            <a:pPr lvl="0"/>
            <a:r>
              <a:rPr lang="en-US"/>
              <a:t>Click to edit Master title style</a:t>
            </a:r>
            <a:endParaRPr lang="en-GB"/>
          </a:p>
        </p:txBody>
      </p:sp>
      <p:sp>
        <p:nvSpPr>
          <p:cNvPr id="3" name="Text Placeholder 2">
            <a:extLst>
              <a:ext uri="{FF2B5EF4-FFF2-40B4-BE49-F238E27FC236}">
                <a16:creationId xmlns:a16="http://schemas.microsoft.com/office/drawing/2014/main" id="{A70D6666-4C91-7B41-9288-855571FA41D4}"/>
              </a:ext>
            </a:extLst>
          </p:cNvPr>
          <p:cNvSpPr>
            <a:spLocks noGrp="1"/>
          </p:cNvSpPr>
          <p:nvPr>
            <p:ph type="body" idx="1"/>
          </p:nvPr>
        </p:nvSpPr>
        <p:spPr>
          <a:xfrm>
            <a:off x="5923312" y="3931442"/>
            <a:ext cx="9803659" cy="1500187"/>
          </a:xfrm>
        </p:spPr>
        <p:txBody>
          <a:bodyPr vert="horz" lIns="91440" tIns="45720" rIns="91440" bIns="45720" rtlCol="0">
            <a:normAutofit/>
          </a:bodyPr>
          <a:lstStyle>
            <a:lvl1pPr>
              <a:lnSpc>
                <a:spcPct val="100000"/>
              </a:lnSpc>
              <a:defRPr lang="en-GB" sz="1600" b="0" i="0" dirty="0" smtClean="0">
                <a:solidFill>
                  <a:sysClr val="windowText" lastClr="000000"/>
                </a:solidFill>
                <a:latin typeface="ASICS Font 3.0" pitchFamily="2" charset="77"/>
              </a:defRPr>
            </a:lvl1pPr>
          </a:lstStyle>
          <a:p>
            <a:pPr lvl="0" algn="l"/>
            <a:r>
              <a:rPr lang="en-US"/>
              <a:t>Click to edit Master text styles</a:t>
            </a:r>
          </a:p>
        </p:txBody>
      </p:sp>
      <p:sp>
        <p:nvSpPr>
          <p:cNvPr id="16" name="Picture Placeholder 15">
            <a:extLst>
              <a:ext uri="{FF2B5EF4-FFF2-40B4-BE49-F238E27FC236}">
                <a16:creationId xmlns:a16="http://schemas.microsoft.com/office/drawing/2014/main" id="{09033A48-9243-024A-B9DA-34231B0015EF}"/>
              </a:ext>
            </a:extLst>
          </p:cNvPr>
          <p:cNvSpPr>
            <a:spLocks noGrp="1"/>
          </p:cNvSpPr>
          <p:nvPr>
            <p:ph type="pic" sz="quarter" idx="10"/>
          </p:nvPr>
        </p:nvSpPr>
        <p:spPr>
          <a:xfrm>
            <a:off x="0" y="0"/>
            <a:ext cx="4668253" cy="6858000"/>
          </a:xfrm>
        </p:spPr>
        <p:txBody>
          <a:bodyPr/>
          <a:lstStyle>
            <a:lvl1pPr>
              <a:defRPr b="0" i="0">
                <a:solidFill>
                  <a:schemeClr val="tx1"/>
                </a:solidFill>
                <a:latin typeface="ASICS Font 3.0" pitchFamily="2" charset="77"/>
              </a:defRPr>
            </a:lvl1pPr>
          </a:lstStyle>
          <a:p>
            <a:r>
              <a:rPr lang="en-US"/>
              <a:t>Click icon to add picture</a:t>
            </a:r>
            <a:endParaRPr lang="en-GB"/>
          </a:p>
        </p:txBody>
      </p:sp>
      <p:cxnSp>
        <p:nvCxnSpPr>
          <p:cNvPr id="10" name="Straight Connector 9">
            <a:extLst>
              <a:ext uri="{FF2B5EF4-FFF2-40B4-BE49-F238E27FC236}">
                <a16:creationId xmlns:a16="http://schemas.microsoft.com/office/drawing/2014/main" id="{31850572-BCFF-3A43-AE14-E1EE65604BDA}"/>
              </a:ext>
            </a:extLst>
          </p:cNvPr>
          <p:cNvCxnSpPr>
            <a:cxnSpLocks/>
          </p:cNvCxnSpPr>
          <p:nvPr/>
        </p:nvCxnSpPr>
        <p:spPr>
          <a:xfrm>
            <a:off x="5812715" y="2578894"/>
            <a:ext cx="0" cy="1512668"/>
          </a:xfrm>
          <a:prstGeom prst="line">
            <a:avLst/>
          </a:prstGeom>
          <a:ln w="34925">
            <a:solidFill>
              <a:srgbClr val="000000"/>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43CBFE18-7198-D041-AFA3-C2E0C162AD4D}"/>
              </a:ext>
            </a:extLst>
          </p:cNvPr>
          <p:cNvPicPr>
            <a:picLocks noChangeAspect="1"/>
          </p:cNvPicPr>
          <p:nvPr/>
        </p:nvPicPr>
        <p:blipFill>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a:xfrm>
            <a:off x="5166563" y="2550606"/>
            <a:ext cx="496769" cy="3332610"/>
          </a:xfrm>
          <a:prstGeom prst="rect">
            <a:avLst/>
          </a:prstGeom>
        </p:spPr>
      </p:pic>
    </p:spTree>
    <p:extLst>
      <p:ext uri="{BB962C8B-B14F-4D97-AF65-F5344CB8AC3E}">
        <p14:creationId xmlns:p14="http://schemas.microsoft.com/office/powerpoint/2010/main" val="20896829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91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ontent+Image">
  <p:cSld name="Content+Image">
    <p:spTree>
      <p:nvGrpSpPr>
        <p:cNvPr id="1" name="Shape 2313"/>
        <p:cNvGrpSpPr/>
        <p:nvPr/>
      </p:nvGrpSpPr>
      <p:grpSpPr>
        <a:xfrm>
          <a:off x="0" y="0"/>
          <a:ext cx="0" cy="0"/>
          <a:chOff x="0" y="0"/>
          <a:chExt cx="0" cy="0"/>
        </a:xfrm>
      </p:grpSpPr>
      <p:sp>
        <p:nvSpPr>
          <p:cNvPr id="2314" name="Google Shape;2314;p252"/>
          <p:cNvSpPr txBox="1">
            <a:spLocks noGrp="1"/>
          </p:cNvSpPr>
          <p:nvPr>
            <p:ph type="title"/>
          </p:nvPr>
        </p:nvSpPr>
        <p:spPr>
          <a:xfrm>
            <a:off x="1588027" y="336830"/>
            <a:ext cx="10222400" cy="330000"/>
          </a:xfrm>
          <a:prstGeom prst="rect">
            <a:avLst/>
          </a:prstGeom>
          <a:noFill/>
          <a:ln>
            <a:noFill/>
          </a:ln>
        </p:spPr>
        <p:txBody>
          <a:bodyPr spcFirstLastPara="1" wrap="square" lIns="51425" tIns="25700" rIns="51425" bIns="25700" anchor="ctr" anchorCtr="0">
            <a:noAutofit/>
          </a:bodyPr>
          <a:lstStyle>
            <a:lvl1pPr lvl="0" algn="l">
              <a:lnSpc>
                <a:spcPct val="90000"/>
              </a:lnSpc>
              <a:spcBef>
                <a:spcPts val="0"/>
              </a:spcBef>
              <a:spcAft>
                <a:spcPts val="0"/>
              </a:spcAft>
              <a:buClr>
                <a:schemeClr val="dk1"/>
              </a:buClr>
              <a:buSzPts val="1100"/>
              <a:buFont typeface="Arial"/>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2315" name="Google Shape;2315;p252"/>
          <p:cNvSpPr txBox="1">
            <a:spLocks noGrp="1"/>
          </p:cNvSpPr>
          <p:nvPr>
            <p:ph type="body" idx="1"/>
          </p:nvPr>
        </p:nvSpPr>
        <p:spPr>
          <a:xfrm>
            <a:off x="1588028" y="925363"/>
            <a:ext cx="4978000" cy="5058800"/>
          </a:xfrm>
          <a:prstGeom prst="rect">
            <a:avLst/>
          </a:prstGeom>
          <a:noFill/>
          <a:ln>
            <a:noFill/>
          </a:ln>
        </p:spPr>
        <p:txBody>
          <a:bodyPr spcFirstLastPara="1" wrap="square" lIns="51425" tIns="0" rIns="51425" bIns="26325" anchor="t" anchorCtr="0">
            <a:noAutofit/>
          </a:bodyPr>
          <a:lstStyle>
            <a:lvl1pPr marL="571541" lvl="0" indent="-373089" algn="l">
              <a:lnSpc>
                <a:spcPct val="90000"/>
              </a:lnSpc>
              <a:spcBef>
                <a:spcPts val="1000"/>
              </a:spcBef>
              <a:spcAft>
                <a:spcPts val="0"/>
              </a:spcAft>
              <a:buClr>
                <a:schemeClr val="dk1"/>
              </a:buClr>
              <a:buSzPts val="1100"/>
              <a:buChar char="●"/>
              <a:defRPr/>
            </a:lvl1pPr>
            <a:lvl2pPr marL="1143084" lvl="1" indent="-373089" algn="l">
              <a:lnSpc>
                <a:spcPct val="90000"/>
              </a:lnSpc>
              <a:spcBef>
                <a:spcPts val="2000"/>
              </a:spcBef>
              <a:spcAft>
                <a:spcPts val="0"/>
              </a:spcAft>
              <a:buClr>
                <a:schemeClr val="dk1"/>
              </a:buClr>
              <a:buSzPts val="1100"/>
              <a:buChar char="○"/>
              <a:defRPr/>
            </a:lvl2pPr>
            <a:lvl3pPr marL="1714624" lvl="2" indent="-373089" algn="l">
              <a:lnSpc>
                <a:spcPct val="90000"/>
              </a:lnSpc>
              <a:spcBef>
                <a:spcPts val="2000"/>
              </a:spcBef>
              <a:spcAft>
                <a:spcPts val="0"/>
              </a:spcAft>
              <a:buClr>
                <a:schemeClr val="dk1"/>
              </a:buClr>
              <a:buSzPts val="1100"/>
              <a:buChar char="■"/>
              <a:defRPr/>
            </a:lvl3pPr>
            <a:lvl4pPr marL="2286165" lvl="3" indent="-373089" algn="l">
              <a:lnSpc>
                <a:spcPct val="90000"/>
              </a:lnSpc>
              <a:spcBef>
                <a:spcPts val="2000"/>
              </a:spcBef>
              <a:spcAft>
                <a:spcPts val="0"/>
              </a:spcAft>
              <a:buClr>
                <a:schemeClr val="dk1"/>
              </a:buClr>
              <a:buSzPts val="1100"/>
              <a:buChar char="●"/>
              <a:defRPr/>
            </a:lvl4pPr>
            <a:lvl5pPr marL="2857706" lvl="4" indent="-373089" algn="l">
              <a:lnSpc>
                <a:spcPct val="90000"/>
              </a:lnSpc>
              <a:spcBef>
                <a:spcPts val="2000"/>
              </a:spcBef>
              <a:spcAft>
                <a:spcPts val="0"/>
              </a:spcAft>
              <a:buClr>
                <a:schemeClr val="dk1"/>
              </a:buClr>
              <a:buSzPts val="1100"/>
              <a:buChar char="○"/>
              <a:defRPr/>
            </a:lvl5pPr>
            <a:lvl6pPr marL="3429249" lvl="5" indent="-373089" algn="l">
              <a:lnSpc>
                <a:spcPct val="90000"/>
              </a:lnSpc>
              <a:spcBef>
                <a:spcPts val="2000"/>
              </a:spcBef>
              <a:spcAft>
                <a:spcPts val="0"/>
              </a:spcAft>
              <a:buClr>
                <a:schemeClr val="dk1"/>
              </a:buClr>
              <a:buSzPts val="1100"/>
              <a:buChar char="■"/>
              <a:defRPr/>
            </a:lvl6pPr>
            <a:lvl7pPr marL="4000789" lvl="6" indent="-373089" algn="l">
              <a:lnSpc>
                <a:spcPct val="90000"/>
              </a:lnSpc>
              <a:spcBef>
                <a:spcPts val="2000"/>
              </a:spcBef>
              <a:spcAft>
                <a:spcPts val="0"/>
              </a:spcAft>
              <a:buClr>
                <a:schemeClr val="dk1"/>
              </a:buClr>
              <a:buSzPts val="1100"/>
              <a:buChar char="●"/>
              <a:defRPr/>
            </a:lvl7pPr>
            <a:lvl8pPr marL="4572331" lvl="7" indent="-373089" algn="l">
              <a:lnSpc>
                <a:spcPct val="90000"/>
              </a:lnSpc>
              <a:spcBef>
                <a:spcPts val="2000"/>
              </a:spcBef>
              <a:spcAft>
                <a:spcPts val="0"/>
              </a:spcAft>
              <a:buClr>
                <a:schemeClr val="dk1"/>
              </a:buClr>
              <a:buSzPts val="1100"/>
              <a:buChar char="○"/>
              <a:defRPr/>
            </a:lvl8pPr>
            <a:lvl9pPr marL="5143871" lvl="8" indent="-373089" algn="l">
              <a:lnSpc>
                <a:spcPct val="90000"/>
              </a:lnSpc>
              <a:spcBef>
                <a:spcPts val="2000"/>
              </a:spcBef>
              <a:spcAft>
                <a:spcPts val="2000"/>
              </a:spcAft>
              <a:buClr>
                <a:schemeClr val="dk1"/>
              </a:buClr>
              <a:buSzPts val="1100"/>
              <a:buChar char="■"/>
              <a:defRPr/>
            </a:lvl9pPr>
          </a:lstStyle>
          <a:p>
            <a:endParaRPr/>
          </a:p>
        </p:txBody>
      </p:sp>
      <p:sp>
        <p:nvSpPr>
          <p:cNvPr id="2316" name="Google Shape;2316;p252"/>
          <p:cNvSpPr txBox="1">
            <a:spLocks noGrp="1"/>
          </p:cNvSpPr>
          <p:nvPr>
            <p:ph type="ftr" idx="11"/>
          </p:nvPr>
        </p:nvSpPr>
        <p:spPr>
          <a:xfrm rot="-5400000">
            <a:off x="-2092145" y="3248639"/>
            <a:ext cx="5058800" cy="412400"/>
          </a:xfrm>
          <a:prstGeom prst="rect">
            <a:avLst/>
          </a:prstGeom>
          <a:noFill/>
          <a:ln>
            <a:noFill/>
          </a:ln>
        </p:spPr>
        <p:txBody>
          <a:bodyPr spcFirstLastPara="1" wrap="square" lIns="51425" tIns="25700" rIns="51425" bIns="25700" anchor="ctr" anchorCtr="0">
            <a:noAutofit/>
          </a:bodyPr>
          <a:lstStyle>
            <a:lvl1pPr marR="0" lvl="0" algn="r">
              <a:lnSpc>
                <a:spcPct val="100000"/>
              </a:lnSpc>
              <a:spcBef>
                <a:spcPts val="0"/>
              </a:spcBef>
              <a:spcAft>
                <a:spcPts val="0"/>
              </a:spcAft>
              <a:buClr>
                <a:srgbClr val="000000"/>
              </a:buClr>
              <a:buSzPts val="1100"/>
              <a:buFont typeface="Arial"/>
              <a:buNone/>
              <a:defRPr sz="1750" b="0" i="0" u="none" strike="noStrike" cap="none">
                <a:solidFill>
                  <a:srgbClr val="000000"/>
                </a:solidFill>
                <a:latin typeface="Arial"/>
                <a:ea typeface="Arial"/>
                <a:cs typeface="Arial"/>
                <a:sym typeface="Arial"/>
              </a:defRPr>
            </a:lvl1pPr>
            <a:lvl2pPr marR="0" lvl="1" algn="l">
              <a:lnSpc>
                <a:spcPct val="100000"/>
              </a:lnSpc>
              <a:spcBef>
                <a:spcPts val="0"/>
              </a:spcBef>
              <a:spcAft>
                <a:spcPts val="0"/>
              </a:spcAft>
              <a:buClr>
                <a:srgbClr val="000000"/>
              </a:buClr>
              <a:buSzPts val="1100"/>
              <a:buFont typeface="Arial"/>
              <a:buNone/>
              <a:defRPr sz="1750"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100"/>
              <a:buFont typeface="Arial"/>
              <a:buNone/>
              <a:defRPr sz="1750"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100"/>
              <a:buFont typeface="Arial"/>
              <a:buNone/>
              <a:defRPr sz="1750"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100"/>
              <a:buFont typeface="Arial"/>
              <a:buNone/>
              <a:defRPr sz="1750"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100"/>
              <a:buFont typeface="Arial"/>
              <a:buNone/>
              <a:defRPr sz="1750"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100"/>
              <a:buFont typeface="Arial"/>
              <a:buNone/>
              <a:defRPr sz="1750"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100"/>
              <a:buFont typeface="Arial"/>
              <a:buNone/>
              <a:defRPr sz="1750"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100"/>
              <a:buFont typeface="Arial"/>
              <a:buNone/>
              <a:defRPr sz="1750" b="0" i="0" u="none" strike="noStrike" cap="none">
                <a:solidFill>
                  <a:srgbClr val="000000"/>
                </a:solidFill>
                <a:latin typeface="Arial"/>
                <a:ea typeface="Arial"/>
                <a:cs typeface="Arial"/>
                <a:sym typeface="Arial"/>
              </a:defRPr>
            </a:lvl9pPr>
          </a:lstStyle>
          <a:p>
            <a:pPr defTabSz="829544">
              <a:defRPr/>
            </a:pPr>
            <a:endParaRPr lang="en-GB"/>
          </a:p>
        </p:txBody>
      </p:sp>
      <p:sp>
        <p:nvSpPr>
          <p:cNvPr id="2317" name="Google Shape;2317;p252"/>
          <p:cNvSpPr txBox="1">
            <a:spLocks noGrp="1"/>
          </p:cNvSpPr>
          <p:nvPr>
            <p:ph type="sldNum" idx="12"/>
          </p:nvPr>
        </p:nvSpPr>
        <p:spPr>
          <a:xfrm rot="-5400000">
            <a:off x="138067" y="303699"/>
            <a:ext cx="598400" cy="412400"/>
          </a:xfrm>
          <a:prstGeom prst="rect">
            <a:avLst/>
          </a:prstGeom>
          <a:noFill/>
          <a:ln>
            <a:noFill/>
          </a:ln>
        </p:spPr>
        <p:txBody>
          <a:bodyPr spcFirstLastPara="1" wrap="square" lIns="51425" tIns="25700" rIns="51425" bIns="25700" anchor="ctr" anchorCtr="0">
            <a:noAutofit/>
          </a:bodyPr>
          <a:lstStyle>
            <a:lvl1pPr marL="0" lvl="0" indent="0" algn="r">
              <a:lnSpc>
                <a:spcPct val="100000"/>
              </a:lnSpc>
              <a:spcBef>
                <a:spcPts val="0"/>
              </a:spcBef>
              <a:spcAft>
                <a:spcPts val="0"/>
              </a:spcAft>
              <a:buClr>
                <a:srgbClr val="595959"/>
              </a:buClr>
              <a:buSzPts val="800"/>
              <a:buFont typeface="Arial"/>
              <a:buNone/>
              <a:defRPr sz="1250" b="0" i="0" u="none" strike="noStrike" cap="none">
                <a:solidFill>
                  <a:srgbClr val="595959"/>
                </a:solidFill>
                <a:latin typeface="Arial"/>
                <a:ea typeface="Arial"/>
                <a:cs typeface="Arial"/>
                <a:sym typeface="Arial"/>
              </a:defRPr>
            </a:lvl1pPr>
            <a:lvl2pPr marL="0" lvl="1" indent="0" algn="r">
              <a:lnSpc>
                <a:spcPct val="100000"/>
              </a:lnSpc>
              <a:spcBef>
                <a:spcPts val="0"/>
              </a:spcBef>
              <a:spcAft>
                <a:spcPts val="0"/>
              </a:spcAft>
              <a:buClr>
                <a:srgbClr val="595959"/>
              </a:buClr>
              <a:buSzPts val="800"/>
              <a:buFont typeface="Arial"/>
              <a:buNone/>
              <a:defRPr sz="1250" b="0" i="0" u="none" strike="noStrike" cap="none">
                <a:solidFill>
                  <a:srgbClr val="595959"/>
                </a:solidFill>
                <a:latin typeface="Arial"/>
                <a:ea typeface="Arial"/>
                <a:cs typeface="Arial"/>
                <a:sym typeface="Arial"/>
              </a:defRPr>
            </a:lvl2pPr>
            <a:lvl3pPr marL="0" lvl="2" indent="0" algn="r">
              <a:lnSpc>
                <a:spcPct val="100000"/>
              </a:lnSpc>
              <a:spcBef>
                <a:spcPts val="0"/>
              </a:spcBef>
              <a:spcAft>
                <a:spcPts val="0"/>
              </a:spcAft>
              <a:buClr>
                <a:srgbClr val="595959"/>
              </a:buClr>
              <a:buSzPts val="800"/>
              <a:buFont typeface="Arial"/>
              <a:buNone/>
              <a:defRPr sz="1250" b="0" i="0" u="none" strike="noStrike" cap="none">
                <a:solidFill>
                  <a:srgbClr val="595959"/>
                </a:solidFill>
                <a:latin typeface="Arial"/>
                <a:ea typeface="Arial"/>
                <a:cs typeface="Arial"/>
                <a:sym typeface="Arial"/>
              </a:defRPr>
            </a:lvl3pPr>
            <a:lvl4pPr marL="0" lvl="3" indent="0" algn="r">
              <a:lnSpc>
                <a:spcPct val="100000"/>
              </a:lnSpc>
              <a:spcBef>
                <a:spcPts val="0"/>
              </a:spcBef>
              <a:spcAft>
                <a:spcPts val="0"/>
              </a:spcAft>
              <a:buClr>
                <a:srgbClr val="595959"/>
              </a:buClr>
              <a:buSzPts val="800"/>
              <a:buFont typeface="Arial"/>
              <a:buNone/>
              <a:defRPr sz="1250" b="0" i="0" u="none" strike="noStrike" cap="none">
                <a:solidFill>
                  <a:srgbClr val="595959"/>
                </a:solidFill>
                <a:latin typeface="Arial"/>
                <a:ea typeface="Arial"/>
                <a:cs typeface="Arial"/>
                <a:sym typeface="Arial"/>
              </a:defRPr>
            </a:lvl4pPr>
            <a:lvl5pPr marL="0" lvl="4" indent="0" algn="r">
              <a:lnSpc>
                <a:spcPct val="100000"/>
              </a:lnSpc>
              <a:spcBef>
                <a:spcPts val="0"/>
              </a:spcBef>
              <a:spcAft>
                <a:spcPts val="0"/>
              </a:spcAft>
              <a:buClr>
                <a:srgbClr val="595959"/>
              </a:buClr>
              <a:buSzPts val="800"/>
              <a:buFont typeface="Arial"/>
              <a:buNone/>
              <a:defRPr sz="1250" b="0" i="0" u="none" strike="noStrike" cap="none">
                <a:solidFill>
                  <a:srgbClr val="595959"/>
                </a:solidFill>
                <a:latin typeface="Arial"/>
                <a:ea typeface="Arial"/>
                <a:cs typeface="Arial"/>
                <a:sym typeface="Arial"/>
              </a:defRPr>
            </a:lvl5pPr>
            <a:lvl6pPr marL="0" lvl="5" indent="0" algn="r">
              <a:lnSpc>
                <a:spcPct val="100000"/>
              </a:lnSpc>
              <a:spcBef>
                <a:spcPts val="0"/>
              </a:spcBef>
              <a:spcAft>
                <a:spcPts val="0"/>
              </a:spcAft>
              <a:buClr>
                <a:srgbClr val="595959"/>
              </a:buClr>
              <a:buSzPts val="800"/>
              <a:buFont typeface="Arial"/>
              <a:buNone/>
              <a:defRPr sz="1250" b="0" i="0" u="none" strike="noStrike" cap="none">
                <a:solidFill>
                  <a:srgbClr val="595959"/>
                </a:solidFill>
                <a:latin typeface="Arial"/>
                <a:ea typeface="Arial"/>
                <a:cs typeface="Arial"/>
                <a:sym typeface="Arial"/>
              </a:defRPr>
            </a:lvl6pPr>
            <a:lvl7pPr marL="0" lvl="6" indent="0" algn="r">
              <a:lnSpc>
                <a:spcPct val="100000"/>
              </a:lnSpc>
              <a:spcBef>
                <a:spcPts val="0"/>
              </a:spcBef>
              <a:spcAft>
                <a:spcPts val="0"/>
              </a:spcAft>
              <a:buClr>
                <a:srgbClr val="595959"/>
              </a:buClr>
              <a:buSzPts val="800"/>
              <a:buFont typeface="Arial"/>
              <a:buNone/>
              <a:defRPr sz="1250" b="0" i="0" u="none" strike="noStrike" cap="none">
                <a:solidFill>
                  <a:srgbClr val="595959"/>
                </a:solidFill>
                <a:latin typeface="Arial"/>
                <a:ea typeface="Arial"/>
                <a:cs typeface="Arial"/>
                <a:sym typeface="Arial"/>
              </a:defRPr>
            </a:lvl7pPr>
            <a:lvl8pPr marL="0" lvl="7" indent="0" algn="r">
              <a:lnSpc>
                <a:spcPct val="100000"/>
              </a:lnSpc>
              <a:spcBef>
                <a:spcPts val="0"/>
              </a:spcBef>
              <a:spcAft>
                <a:spcPts val="0"/>
              </a:spcAft>
              <a:buClr>
                <a:srgbClr val="595959"/>
              </a:buClr>
              <a:buSzPts val="800"/>
              <a:buFont typeface="Arial"/>
              <a:buNone/>
              <a:defRPr sz="1250" b="0" i="0" u="none" strike="noStrike" cap="none">
                <a:solidFill>
                  <a:srgbClr val="595959"/>
                </a:solidFill>
                <a:latin typeface="Arial"/>
                <a:ea typeface="Arial"/>
                <a:cs typeface="Arial"/>
                <a:sym typeface="Arial"/>
              </a:defRPr>
            </a:lvl8pPr>
            <a:lvl9pPr marL="0" lvl="8" indent="0" algn="r">
              <a:lnSpc>
                <a:spcPct val="100000"/>
              </a:lnSpc>
              <a:spcBef>
                <a:spcPts val="0"/>
              </a:spcBef>
              <a:spcAft>
                <a:spcPts val="0"/>
              </a:spcAft>
              <a:buClr>
                <a:srgbClr val="595959"/>
              </a:buClr>
              <a:buSzPts val="800"/>
              <a:buFont typeface="Arial"/>
              <a:buNone/>
              <a:defRPr sz="1250" b="0" i="0" u="none" strike="noStrike" cap="none">
                <a:solidFill>
                  <a:srgbClr val="595959"/>
                </a:solidFill>
                <a:latin typeface="Arial"/>
                <a:ea typeface="Arial"/>
                <a:cs typeface="Arial"/>
                <a:sym typeface="Arial"/>
              </a:defRPr>
            </a:lvl9pPr>
          </a:lstStyle>
          <a:p>
            <a:pPr defTabSz="829544">
              <a:defRPr/>
            </a:pPr>
            <a:fld id="{00000000-1234-1234-1234-123412341234}" type="slidenum">
              <a:rPr lang="en-US" altLang="ja" smtClean="0"/>
              <a:pPr defTabSz="829544">
                <a:defRPr/>
              </a:pPr>
              <a:t>‹#›</a:t>
            </a:fld>
            <a:endParaRPr lang="en-US"/>
          </a:p>
        </p:txBody>
      </p:sp>
      <p:sp>
        <p:nvSpPr>
          <p:cNvPr id="2318" name="Google Shape;2318;p252"/>
          <p:cNvSpPr>
            <a:spLocks noGrp="1"/>
          </p:cNvSpPr>
          <p:nvPr>
            <p:ph type="pic" idx="2"/>
          </p:nvPr>
        </p:nvSpPr>
        <p:spPr>
          <a:xfrm>
            <a:off x="6832314" y="925362"/>
            <a:ext cx="4978000" cy="5058800"/>
          </a:xfrm>
          <a:prstGeom prst="rect">
            <a:avLst/>
          </a:prstGeom>
          <a:solidFill>
            <a:schemeClr val="accent1"/>
          </a:solidFill>
          <a:ln>
            <a:noFill/>
          </a:ln>
        </p:spPr>
        <p:txBody>
          <a:bodyPr spcFirstLastPara="1" wrap="square" lIns="51425" tIns="0" rIns="51425" bIns="26325" anchor="ctr" anchorCtr="0">
            <a:noAutofit/>
          </a:bodyPr>
          <a:lstStyle>
            <a:lvl1pPr marR="0" lvl="0" algn="ctr" rtl="0">
              <a:lnSpc>
                <a:spcPct val="90000"/>
              </a:lnSpc>
              <a:spcBef>
                <a:spcPts val="1000"/>
              </a:spcBef>
              <a:spcAft>
                <a:spcPts val="0"/>
              </a:spcAft>
              <a:buClr>
                <a:schemeClr val="dk1"/>
              </a:buClr>
              <a:buSzPts val="1600"/>
              <a:buFont typeface="Arial"/>
              <a:buNone/>
              <a:defRPr sz="2625" b="0" i="0" u="none" strike="noStrike" cap="none">
                <a:solidFill>
                  <a:schemeClr val="dk1"/>
                </a:solidFill>
                <a:latin typeface="Arial"/>
                <a:ea typeface="Arial"/>
                <a:cs typeface="Arial"/>
                <a:sym typeface="Arial"/>
              </a:defRPr>
            </a:lvl1pPr>
            <a:lvl2pPr marR="0" lvl="1" algn="l" rtl="0">
              <a:lnSpc>
                <a:spcPct val="90000"/>
              </a:lnSpc>
              <a:spcBef>
                <a:spcPts val="500"/>
              </a:spcBef>
              <a:spcAft>
                <a:spcPts val="0"/>
              </a:spcAft>
              <a:buClr>
                <a:schemeClr val="dk1"/>
              </a:buClr>
              <a:buSzPts val="1400"/>
              <a:buFont typeface="Arial"/>
              <a:buChar char="•"/>
              <a:defRPr sz="225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1100"/>
              <a:buFont typeface="Arial"/>
              <a:buChar char="•"/>
              <a:defRPr sz="1875"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100"/>
              <a:buFont typeface="Arial"/>
              <a:buChar char="•"/>
              <a:defRPr sz="175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100"/>
              <a:buFont typeface="Arial"/>
              <a:buChar char="•"/>
              <a:defRPr sz="175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100"/>
              <a:buFont typeface="Arial"/>
              <a:buChar char="•"/>
              <a:defRPr sz="175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100"/>
              <a:buFont typeface="Arial"/>
              <a:buChar char="•"/>
              <a:defRPr sz="175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100"/>
              <a:buFont typeface="Arial"/>
              <a:buChar char="•"/>
              <a:defRPr sz="175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100"/>
              <a:buFont typeface="Arial"/>
              <a:buChar char="•"/>
              <a:defRPr sz="175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731442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Section Header w/ picture – gre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913A7-1BD1-134A-BB0E-3D76124E4C6C}"/>
              </a:ext>
            </a:extLst>
          </p:cNvPr>
          <p:cNvSpPr>
            <a:spLocks noGrp="1"/>
          </p:cNvSpPr>
          <p:nvPr>
            <p:ph type="title"/>
          </p:nvPr>
        </p:nvSpPr>
        <p:spPr>
          <a:xfrm>
            <a:off x="6215413" y="2505074"/>
            <a:ext cx="5825776" cy="2852737"/>
          </a:xfrm>
        </p:spPr>
        <p:txBody>
          <a:bodyPr vert="horz" lIns="91440" tIns="45720" rIns="0" bIns="45720" rtlCol="0" anchor="t">
            <a:noAutofit/>
          </a:bodyPr>
          <a:lstStyle>
            <a:lvl1pPr>
              <a:lnSpc>
                <a:spcPct val="100000"/>
              </a:lnSpc>
              <a:defRPr lang="en-GB" sz="3600" b="1" i="0" dirty="0">
                <a:solidFill>
                  <a:sysClr val="windowText" lastClr="000000"/>
                </a:solidFill>
                <a:latin typeface="ASICS Font 3.0" pitchFamily="2" charset="77"/>
              </a:defRPr>
            </a:lvl1pPr>
          </a:lstStyle>
          <a:p>
            <a:pPr lvl="0"/>
            <a:r>
              <a:rPr lang="en-US"/>
              <a:t>Click to edit Master title style</a:t>
            </a:r>
            <a:endParaRPr lang="en-GB"/>
          </a:p>
        </p:txBody>
      </p:sp>
      <p:sp>
        <p:nvSpPr>
          <p:cNvPr id="3" name="Text Placeholder 2">
            <a:extLst>
              <a:ext uri="{FF2B5EF4-FFF2-40B4-BE49-F238E27FC236}">
                <a16:creationId xmlns:a16="http://schemas.microsoft.com/office/drawing/2014/main" id="{A70D6666-4C91-7B41-9288-855571FA41D4}"/>
              </a:ext>
            </a:extLst>
          </p:cNvPr>
          <p:cNvSpPr>
            <a:spLocks noGrp="1"/>
          </p:cNvSpPr>
          <p:nvPr>
            <p:ph type="body" idx="1"/>
          </p:nvPr>
        </p:nvSpPr>
        <p:spPr>
          <a:xfrm>
            <a:off x="6215413" y="3931442"/>
            <a:ext cx="5825776" cy="1500187"/>
          </a:xfrm>
        </p:spPr>
        <p:txBody>
          <a:bodyPr vert="horz" lIns="91440" tIns="45720" rIns="91440" bIns="45720" rtlCol="0">
            <a:normAutofit/>
          </a:bodyPr>
          <a:lstStyle>
            <a:lvl1pPr>
              <a:lnSpc>
                <a:spcPct val="100000"/>
              </a:lnSpc>
              <a:defRPr lang="en-GB" sz="1600" b="0" i="0" dirty="0" smtClean="0">
                <a:solidFill>
                  <a:sysClr val="windowText" lastClr="000000"/>
                </a:solidFill>
                <a:latin typeface="ASICS Font 3.0" pitchFamily="2" charset="77"/>
              </a:defRPr>
            </a:lvl1pPr>
          </a:lstStyle>
          <a:p>
            <a:pPr lvl="0" algn="l"/>
            <a:r>
              <a:rPr lang="en-US"/>
              <a:t>Click to edit Master text styles</a:t>
            </a:r>
          </a:p>
        </p:txBody>
      </p:sp>
      <p:sp>
        <p:nvSpPr>
          <p:cNvPr id="16" name="Picture Placeholder 15">
            <a:extLst>
              <a:ext uri="{FF2B5EF4-FFF2-40B4-BE49-F238E27FC236}">
                <a16:creationId xmlns:a16="http://schemas.microsoft.com/office/drawing/2014/main" id="{09033A48-9243-024A-B9DA-34231B0015EF}"/>
              </a:ext>
            </a:extLst>
          </p:cNvPr>
          <p:cNvSpPr>
            <a:spLocks noGrp="1"/>
          </p:cNvSpPr>
          <p:nvPr>
            <p:ph type="pic" sz="quarter" idx="10"/>
          </p:nvPr>
        </p:nvSpPr>
        <p:spPr>
          <a:xfrm>
            <a:off x="0" y="0"/>
            <a:ext cx="4668253" cy="6858000"/>
          </a:xfrm>
        </p:spPr>
        <p:txBody>
          <a:bodyPr/>
          <a:lstStyle>
            <a:lvl1pPr>
              <a:defRPr b="0" i="0">
                <a:solidFill>
                  <a:schemeClr val="tx1"/>
                </a:solidFill>
                <a:latin typeface="ASICS Font 3.0" pitchFamily="2" charset="77"/>
              </a:defRPr>
            </a:lvl1pPr>
          </a:lstStyle>
          <a:p>
            <a:r>
              <a:rPr lang="en-US"/>
              <a:t>Click icon to add picture</a:t>
            </a:r>
            <a:endParaRPr lang="en-GB"/>
          </a:p>
        </p:txBody>
      </p:sp>
      <p:cxnSp>
        <p:nvCxnSpPr>
          <p:cNvPr id="10" name="Straight Connector 9">
            <a:extLst>
              <a:ext uri="{FF2B5EF4-FFF2-40B4-BE49-F238E27FC236}">
                <a16:creationId xmlns:a16="http://schemas.microsoft.com/office/drawing/2014/main" id="{31850572-BCFF-3A43-AE14-E1EE65604BDA}"/>
              </a:ext>
            </a:extLst>
          </p:cNvPr>
          <p:cNvCxnSpPr>
            <a:cxnSpLocks/>
          </p:cNvCxnSpPr>
          <p:nvPr/>
        </p:nvCxnSpPr>
        <p:spPr>
          <a:xfrm>
            <a:off x="6104815" y="2578894"/>
            <a:ext cx="0" cy="1512668"/>
          </a:xfrm>
          <a:prstGeom prst="line">
            <a:avLst/>
          </a:prstGeom>
          <a:ln w="34925">
            <a:solidFill>
              <a:srgbClr val="000000"/>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43CBFE18-7198-D041-AFA3-C2E0C162AD4D}"/>
              </a:ext>
            </a:extLst>
          </p:cNvPr>
          <p:cNvPicPr>
            <a:picLocks noChangeAspect="1"/>
          </p:cNvPicPr>
          <p:nvPr/>
        </p:nvPicPr>
        <p:blipFill>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a:xfrm>
            <a:off x="5458663" y="2550606"/>
            <a:ext cx="496769" cy="3332610"/>
          </a:xfrm>
          <a:prstGeom prst="rect">
            <a:avLst/>
          </a:prstGeom>
        </p:spPr>
      </p:pic>
    </p:spTree>
    <p:extLst>
      <p:ext uri="{BB962C8B-B14F-4D97-AF65-F5344CB8AC3E}">
        <p14:creationId xmlns:p14="http://schemas.microsoft.com/office/powerpoint/2010/main" val="2343577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91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 Slide – yellow">
    <p:bg>
      <p:bgRef idx="1001">
        <a:schemeClr val="bg1"/>
      </p:bgRef>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4C9D239-7E0D-D049-AEEF-E042056D79EB}"/>
              </a:ext>
            </a:extLst>
          </p:cNvPr>
          <p:cNvSpPr>
            <a:spLocks noGrp="1"/>
          </p:cNvSpPr>
          <p:nvPr>
            <p:ph type="pic" sz="quarter" idx="10"/>
          </p:nvPr>
        </p:nvSpPr>
        <p:spPr>
          <a:xfrm>
            <a:off x="4836826" y="1622352"/>
            <a:ext cx="5310050" cy="4485212"/>
          </a:xfrm>
        </p:spPr>
        <p:txBody>
          <a:bodyPr/>
          <a:lstStyle>
            <a:lvl1pPr>
              <a:defRPr sz="1400" b="0" i="0">
                <a:latin typeface="ASICS Font 3.0" pitchFamily="2" charset="77"/>
              </a:defRPr>
            </a:lvl1pPr>
          </a:lstStyle>
          <a:p>
            <a:r>
              <a:rPr lang="en-US"/>
              <a:t>Click icon to add picture</a:t>
            </a:r>
            <a:endParaRPr lang="en-GB"/>
          </a:p>
        </p:txBody>
      </p:sp>
      <p:sp>
        <p:nvSpPr>
          <p:cNvPr id="2" name="Title 1">
            <a:extLst>
              <a:ext uri="{FF2B5EF4-FFF2-40B4-BE49-F238E27FC236}">
                <a16:creationId xmlns:a16="http://schemas.microsoft.com/office/drawing/2014/main" id="{5B0BCDC7-8B5E-4745-90A4-0E5A2FEE8560}"/>
              </a:ext>
            </a:extLst>
          </p:cNvPr>
          <p:cNvSpPr>
            <a:spLocks noGrp="1"/>
          </p:cNvSpPr>
          <p:nvPr>
            <p:ph type="title"/>
          </p:nvPr>
        </p:nvSpPr>
        <p:spPr>
          <a:xfrm>
            <a:off x="766763" y="620713"/>
            <a:ext cx="10692514" cy="711697"/>
          </a:xfrm>
        </p:spPr>
        <p:txBody>
          <a:bodyPr lIns="0" tIns="0" rIns="0" bIns="0" anchor="t">
            <a:noAutofit/>
          </a:bodyPr>
          <a:lstStyle>
            <a:lvl1pPr algn="l">
              <a:lnSpc>
                <a:spcPct val="100000"/>
              </a:lnSpc>
              <a:defRPr sz="2800" b="0" i="0" spc="300">
                <a:solidFill>
                  <a:srgbClr val="000000"/>
                </a:solidFill>
                <a:latin typeface="ASICS Font 3.0" pitchFamily="2" charset="77"/>
              </a:defRPr>
            </a:lvl1pPr>
          </a:lstStyle>
          <a:p>
            <a:r>
              <a:rPr lang="en-US"/>
              <a:t>Click to edit Master title style</a:t>
            </a:r>
            <a:endParaRPr lang="en-GB"/>
          </a:p>
        </p:txBody>
      </p:sp>
      <p:sp>
        <p:nvSpPr>
          <p:cNvPr id="9" name="Content Placeholder 2">
            <a:extLst>
              <a:ext uri="{FF2B5EF4-FFF2-40B4-BE49-F238E27FC236}">
                <a16:creationId xmlns:a16="http://schemas.microsoft.com/office/drawing/2014/main" id="{C154FF11-2E6A-3D45-A9A0-EB38C086F8E0}"/>
              </a:ext>
            </a:extLst>
          </p:cNvPr>
          <p:cNvSpPr>
            <a:spLocks noGrp="1"/>
          </p:cNvSpPr>
          <p:nvPr>
            <p:ph idx="1"/>
          </p:nvPr>
        </p:nvSpPr>
        <p:spPr>
          <a:xfrm>
            <a:off x="945511" y="1656080"/>
            <a:ext cx="2450152" cy="1662457"/>
          </a:xfrm>
        </p:spPr>
        <p:txBody>
          <a:bodyPr lIns="0" tIns="0" rIns="0" bIns="0">
            <a:noAutofit/>
          </a:bodyPr>
          <a:lstStyle>
            <a:lvl1pPr marL="9525" indent="0" algn="l">
              <a:buNone/>
              <a:tabLst/>
              <a:defRPr sz="1400" b="0" i="0">
                <a:solidFill>
                  <a:srgbClr val="000000"/>
                </a:solidFill>
                <a:latin typeface="ASICS Font 3.0" pitchFamily="2" charset="77"/>
              </a:defRPr>
            </a:lvl1pPr>
            <a:lvl2pPr marL="9525" indent="0">
              <a:buNone/>
              <a:tabLst/>
              <a:defRPr sz="900">
                <a:solidFill>
                  <a:srgbClr val="1F2564"/>
                </a:solidFill>
                <a:latin typeface="Helvetica" pitchFamily="2" charset="0"/>
              </a:defRPr>
            </a:lvl2pPr>
            <a:lvl3pPr marL="9525" indent="0">
              <a:buNone/>
              <a:tabLst/>
              <a:defRPr sz="900">
                <a:solidFill>
                  <a:srgbClr val="1F2564"/>
                </a:solidFill>
                <a:latin typeface="Helvetica" pitchFamily="2" charset="0"/>
              </a:defRPr>
            </a:lvl3pPr>
            <a:lvl4pPr marL="9525" indent="0">
              <a:buNone/>
              <a:tabLst/>
              <a:defRPr sz="900">
                <a:solidFill>
                  <a:srgbClr val="1F2564"/>
                </a:solidFill>
                <a:latin typeface="Helvetica" pitchFamily="2" charset="0"/>
              </a:defRPr>
            </a:lvl4pPr>
            <a:lvl5pPr marL="9525" indent="0">
              <a:buNone/>
              <a:tabLst/>
              <a:defRPr sz="900">
                <a:solidFill>
                  <a:srgbClr val="1F2564"/>
                </a:solidFill>
                <a:latin typeface="Helvetica" pitchFamily="2" charset="0"/>
              </a:defRPr>
            </a:lvl5pPr>
          </a:lstStyle>
          <a:p>
            <a:pPr lvl="0"/>
            <a:r>
              <a:rPr lang="en-US"/>
              <a:t>Click to edit Master text styles</a:t>
            </a:r>
          </a:p>
        </p:txBody>
      </p:sp>
      <p:cxnSp>
        <p:nvCxnSpPr>
          <p:cNvPr id="11" name="Straight Connector 10">
            <a:extLst>
              <a:ext uri="{FF2B5EF4-FFF2-40B4-BE49-F238E27FC236}">
                <a16:creationId xmlns:a16="http://schemas.microsoft.com/office/drawing/2014/main" id="{EEE675DF-C7CB-F148-9BBD-59EBA64F7DD5}"/>
              </a:ext>
            </a:extLst>
          </p:cNvPr>
          <p:cNvCxnSpPr>
            <a:cxnSpLocks/>
          </p:cNvCxnSpPr>
          <p:nvPr/>
        </p:nvCxnSpPr>
        <p:spPr>
          <a:xfrm>
            <a:off x="766763" y="1646074"/>
            <a:ext cx="0" cy="1884526"/>
          </a:xfrm>
          <a:prstGeom prst="line">
            <a:avLst/>
          </a:prstGeom>
          <a:ln w="349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94054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pos="3840">
          <p15:clr>
            <a:srgbClr val="FBAE40"/>
          </p15:clr>
        </p15:guide>
        <p15:guide id="6" pos="5518">
          <p15:clr>
            <a:srgbClr val="FBAE40"/>
          </p15:clr>
        </p15:guide>
        <p15:guide id="7" pos="2139">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Plain Text Slide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0BCDC7-8B5E-4745-90A4-0E5A2FEE8560}"/>
              </a:ext>
            </a:extLst>
          </p:cNvPr>
          <p:cNvSpPr>
            <a:spLocks noGrp="1"/>
          </p:cNvSpPr>
          <p:nvPr>
            <p:ph type="title"/>
          </p:nvPr>
        </p:nvSpPr>
        <p:spPr>
          <a:xfrm>
            <a:off x="766761" y="620713"/>
            <a:ext cx="10612051" cy="1296578"/>
          </a:xfrm>
        </p:spPr>
        <p:txBody>
          <a:bodyPr lIns="0" tIns="0" bIns="0" anchor="t">
            <a:normAutofit/>
          </a:bodyPr>
          <a:lstStyle>
            <a:lvl1pPr algn="l">
              <a:lnSpc>
                <a:spcPct val="100000"/>
              </a:lnSpc>
              <a:defRPr sz="2800" b="0" i="0">
                <a:solidFill>
                  <a:srgbClr val="000000"/>
                </a:solidFill>
                <a:latin typeface="ASICS Font 3.0" pitchFamily="2" charset="77"/>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4C28C600-228D-E747-9DE6-8BA71F435B95}"/>
              </a:ext>
            </a:extLst>
          </p:cNvPr>
          <p:cNvSpPr>
            <a:spLocks noGrp="1"/>
          </p:cNvSpPr>
          <p:nvPr>
            <p:ph idx="1"/>
          </p:nvPr>
        </p:nvSpPr>
        <p:spPr>
          <a:xfrm>
            <a:off x="766764" y="2020472"/>
            <a:ext cx="10612048" cy="3666456"/>
          </a:xfrm>
        </p:spPr>
        <p:txBody>
          <a:bodyPr lIns="0" tIns="0" bIns="0" numCol="1" spcCol="360000"/>
          <a:lstStyle>
            <a:lvl1pPr>
              <a:lnSpc>
                <a:spcPct val="100000"/>
              </a:lnSpc>
              <a:defRPr sz="1400" b="0" i="0">
                <a:solidFill>
                  <a:srgbClr val="000000"/>
                </a:solidFill>
                <a:latin typeface="ASICS Font 3.0" pitchFamily="2" charset="77"/>
              </a:defRPr>
            </a:lvl1pPr>
          </a:lstStyle>
          <a:p>
            <a:pPr lvl="0"/>
            <a:r>
              <a:rPr lang="en-US"/>
              <a:t>Click to edit Master text styles</a:t>
            </a:r>
          </a:p>
        </p:txBody>
      </p:sp>
    </p:spTree>
    <p:extLst>
      <p:ext uri="{BB962C8B-B14F-4D97-AF65-F5344CB8AC3E}">
        <p14:creationId xmlns:p14="http://schemas.microsoft.com/office/powerpoint/2010/main" val="665954191"/>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tent Slide – green">
    <p:bg>
      <p:bgRef idx="1001">
        <a:schemeClr val="bg1"/>
      </p:bgRef>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4C9D239-7E0D-D049-AEEF-E042056D79EB}"/>
              </a:ext>
            </a:extLst>
          </p:cNvPr>
          <p:cNvSpPr>
            <a:spLocks noGrp="1"/>
          </p:cNvSpPr>
          <p:nvPr>
            <p:ph type="pic" sz="quarter" idx="10"/>
          </p:nvPr>
        </p:nvSpPr>
        <p:spPr>
          <a:xfrm>
            <a:off x="4836826" y="1622352"/>
            <a:ext cx="5310050" cy="4485212"/>
          </a:xfrm>
        </p:spPr>
        <p:txBody>
          <a:bodyPr/>
          <a:lstStyle>
            <a:lvl1pPr>
              <a:defRPr sz="1400" b="0" i="0">
                <a:solidFill>
                  <a:srgbClr val="000000"/>
                </a:solidFill>
                <a:latin typeface="ASICS Font 3.0" pitchFamily="2" charset="77"/>
              </a:defRPr>
            </a:lvl1pPr>
          </a:lstStyle>
          <a:p>
            <a:r>
              <a:rPr lang="en-US"/>
              <a:t>Click icon to add picture</a:t>
            </a:r>
            <a:endParaRPr lang="en-GB"/>
          </a:p>
        </p:txBody>
      </p:sp>
      <p:sp>
        <p:nvSpPr>
          <p:cNvPr id="2" name="Title 1">
            <a:extLst>
              <a:ext uri="{FF2B5EF4-FFF2-40B4-BE49-F238E27FC236}">
                <a16:creationId xmlns:a16="http://schemas.microsoft.com/office/drawing/2014/main" id="{5B0BCDC7-8B5E-4745-90A4-0E5A2FEE8560}"/>
              </a:ext>
            </a:extLst>
          </p:cNvPr>
          <p:cNvSpPr>
            <a:spLocks noGrp="1"/>
          </p:cNvSpPr>
          <p:nvPr>
            <p:ph type="title"/>
          </p:nvPr>
        </p:nvSpPr>
        <p:spPr>
          <a:xfrm>
            <a:off x="766763" y="620713"/>
            <a:ext cx="10692514" cy="711697"/>
          </a:xfrm>
        </p:spPr>
        <p:txBody>
          <a:bodyPr lIns="0" tIns="0" rIns="0" bIns="0" anchor="t">
            <a:noAutofit/>
          </a:bodyPr>
          <a:lstStyle>
            <a:lvl1pPr algn="l">
              <a:lnSpc>
                <a:spcPct val="100000"/>
              </a:lnSpc>
              <a:defRPr sz="2800" b="0" i="0" spc="300">
                <a:solidFill>
                  <a:srgbClr val="000000"/>
                </a:solidFill>
                <a:latin typeface="ASICS Font 3.0" pitchFamily="2" charset="77"/>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4C28C600-228D-E747-9DE6-8BA71F435B95}"/>
              </a:ext>
            </a:extLst>
          </p:cNvPr>
          <p:cNvSpPr>
            <a:spLocks noGrp="1"/>
          </p:cNvSpPr>
          <p:nvPr>
            <p:ph idx="1"/>
          </p:nvPr>
        </p:nvSpPr>
        <p:spPr>
          <a:xfrm>
            <a:off x="945511" y="1656080"/>
            <a:ext cx="2450152" cy="1662457"/>
          </a:xfrm>
        </p:spPr>
        <p:txBody>
          <a:bodyPr lIns="0" tIns="0" rIns="0" bIns="0">
            <a:noAutofit/>
          </a:bodyPr>
          <a:lstStyle>
            <a:lvl1pPr marL="9525" indent="0" algn="l">
              <a:buNone/>
              <a:tabLst/>
              <a:defRPr sz="1400" b="0" i="0">
                <a:solidFill>
                  <a:srgbClr val="000000"/>
                </a:solidFill>
                <a:latin typeface="ASICS Font 3.0" pitchFamily="2" charset="77"/>
              </a:defRPr>
            </a:lvl1pPr>
            <a:lvl2pPr marL="9525" indent="0">
              <a:buNone/>
              <a:tabLst/>
              <a:defRPr sz="900">
                <a:solidFill>
                  <a:srgbClr val="1F2564"/>
                </a:solidFill>
                <a:latin typeface="Helvetica" pitchFamily="2" charset="0"/>
              </a:defRPr>
            </a:lvl2pPr>
            <a:lvl3pPr marL="9525" indent="0">
              <a:buNone/>
              <a:tabLst/>
              <a:defRPr sz="900">
                <a:solidFill>
                  <a:srgbClr val="1F2564"/>
                </a:solidFill>
                <a:latin typeface="Helvetica" pitchFamily="2" charset="0"/>
              </a:defRPr>
            </a:lvl3pPr>
            <a:lvl4pPr marL="9525" indent="0">
              <a:buNone/>
              <a:tabLst/>
              <a:defRPr sz="900">
                <a:solidFill>
                  <a:srgbClr val="1F2564"/>
                </a:solidFill>
                <a:latin typeface="Helvetica" pitchFamily="2" charset="0"/>
              </a:defRPr>
            </a:lvl4pPr>
            <a:lvl5pPr marL="9525" indent="0">
              <a:buNone/>
              <a:tabLst/>
              <a:defRPr sz="900">
                <a:solidFill>
                  <a:srgbClr val="1F2564"/>
                </a:solidFill>
                <a:latin typeface="Helvetica" pitchFamily="2" charset="0"/>
              </a:defRPr>
            </a:lvl5pPr>
          </a:lstStyle>
          <a:p>
            <a:pPr lvl="0"/>
            <a:r>
              <a:rPr lang="en-US"/>
              <a:t>Click to edit Master text styles</a:t>
            </a:r>
          </a:p>
        </p:txBody>
      </p:sp>
      <p:cxnSp>
        <p:nvCxnSpPr>
          <p:cNvPr id="10" name="Straight Connector 9">
            <a:extLst>
              <a:ext uri="{FF2B5EF4-FFF2-40B4-BE49-F238E27FC236}">
                <a16:creationId xmlns:a16="http://schemas.microsoft.com/office/drawing/2014/main" id="{714FA454-1449-5A4C-BA99-D6DFD25245B7}"/>
              </a:ext>
            </a:extLst>
          </p:cNvPr>
          <p:cNvCxnSpPr>
            <a:cxnSpLocks/>
          </p:cNvCxnSpPr>
          <p:nvPr/>
        </p:nvCxnSpPr>
        <p:spPr>
          <a:xfrm>
            <a:off x="766763" y="1646074"/>
            <a:ext cx="0" cy="1884526"/>
          </a:xfrm>
          <a:prstGeom prst="line">
            <a:avLst/>
          </a:prstGeom>
          <a:ln w="349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37496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pos="3840">
          <p15:clr>
            <a:srgbClr val="FBAE40"/>
          </p15:clr>
        </p15:guide>
        <p15:guide id="6" pos="5518">
          <p15:clr>
            <a:srgbClr val="FBAE40"/>
          </p15:clr>
        </p15:guide>
        <p15:guide id="7" pos="2139">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ntent Slide – blue">
    <p:bg>
      <p:bgRef idx="1001">
        <a:schemeClr val="bg1"/>
      </p:bgRef>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4C9D239-7E0D-D049-AEEF-E042056D79EB}"/>
              </a:ext>
            </a:extLst>
          </p:cNvPr>
          <p:cNvSpPr>
            <a:spLocks noGrp="1"/>
          </p:cNvSpPr>
          <p:nvPr>
            <p:ph type="pic" sz="quarter" idx="10"/>
          </p:nvPr>
        </p:nvSpPr>
        <p:spPr>
          <a:xfrm>
            <a:off x="4836826" y="1622352"/>
            <a:ext cx="5310050" cy="4485212"/>
          </a:xfrm>
        </p:spPr>
        <p:txBody>
          <a:bodyPr/>
          <a:lstStyle>
            <a:lvl1pPr>
              <a:defRPr sz="1400" b="0" i="0">
                <a:solidFill>
                  <a:srgbClr val="000000"/>
                </a:solidFill>
                <a:latin typeface="ASICS Font 3.0" pitchFamily="2" charset="77"/>
              </a:defRPr>
            </a:lvl1pPr>
          </a:lstStyle>
          <a:p>
            <a:r>
              <a:rPr lang="en-US"/>
              <a:t>Click icon to add picture</a:t>
            </a:r>
            <a:endParaRPr lang="en-GB"/>
          </a:p>
        </p:txBody>
      </p:sp>
      <p:sp>
        <p:nvSpPr>
          <p:cNvPr id="2" name="Title 1">
            <a:extLst>
              <a:ext uri="{FF2B5EF4-FFF2-40B4-BE49-F238E27FC236}">
                <a16:creationId xmlns:a16="http://schemas.microsoft.com/office/drawing/2014/main" id="{5B0BCDC7-8B5E-4745-90A4-0E5A2FEE8560}"/>
              </a:ext>
            </a:extLst>
          </p:cNvPr>
          <p:cNvSpPr>
            <a:spLocks noGrp="1"/>
          </p:cNvSpPr>
          <p:nvPr>
            <p:ph type="title"/>
          </p:nvPr>
        </p:nvSpPr>
        <p:spPr>
          <a:xfrm>
            <a:off x="766762" y="620713"/>
            <a:ext cx="10692515" cy="711697"/>
          </a:xfrm>
        </p:spPr>
        <p:txBody>
          <a:bodyPr lIns="0" tIns="0" rIns="0" bIns="0" anchor="t">
            <a:noAutofit/>
          </a:bodyPr>
          <a:lstStyle>
            <a:lvl1pPr algn="l">
              <a:lnSpc>
                <a:spcPct val="100000"/>
              </a:lnSpc>
              <a:defRPr sz="2800" b="0" i="0" spc="300">
                <a:solidFill>
                  <a:srgbClr val="000000"/>
                </a:solidFill>
                <a:latin typeface="ASICS Font 3.0" pitchFamily="2" charset="77"/>
              </a:defRPr>
            </a:lvl1pPr>
          </a:lstStyle>
          <a:p>
            <a:r>
              <a:rPr lang="en-US"/>
              <a:t>Click to edit Master title style</a:t>
            </a:r>
            <a:endParaRPr lang="en-GB"/>
          </a:p>
        </p:txBody>
      </p:sp>
      <p:sp>
        <p:nvSpPr>
          <p:cNvPr id="9" name="Content Placeholder 2">
            <a:extLst>
              <a:ext uri="{FF2B5EF4-FFF2-40B4-BE49-F238E27FC236}">
                <a16:creationId xmlns:a16="http://schemas.microsoft.com/office/drawing/2014/main" id="{4816C12F-8680-FE4D-BFDB-876DE5CEB311}"/>
              </a:ext>
            </a:extLst>
          </p:cNvPr>
          <p:cNvSpPr>
            <a:spLocks noGrp="1"/>
          </p:cNvSpPr>
          <p:nvPr>
            <p:ph idx="1"/>
          </p:nvPr>
        </p:nvSpPr>
        <p:spPr>
          <a:xfrm>
            <a:off x="945511" y="1656080"/>
            <a:ext cx="2450152" cy="1662457"/>
          </a:xfrm>
        </p:spPr>
        <p:txBody>
          <a:bodyPr lIns="0" tIns="0" rIns="0" bIns="0">
            <a:noAutofit/>
          </a:bodyPr>
          <a:lstStyle>
            <a:lvl1pPr marL="9525" indent="0" algn="l">
              <a:buNone/>
              <a:tabLst/>
              <a:defRPr sz="1400" b="0" i="0">
                <a:solidFill>
                  <a:srgbClr val="000000"/>
                </a:solidFill>
                <a:latin typeface="ASICS Font 3.0" pitchFamily="2" charset="77"/>
              </a:defRPr>
            </a:lvl1pPr>
            <a:lvl2pPr marL="9525" indent="0">
              <a:buNone/>
              <a:tabLst/>
              <a:defRPr sz="900">
                <a:solidFill>
                  <a:srgbClr val="1F2564"/>
                </a:solidFill>
                <a:latin typeface="Helvetica" pitchFamily="2" charset="0"/>
              </a:defRPr>
            </a:lvl2pPr>
            <a:lvl3pPr marL="9525" indent="0">
              <a:buNone/>
              <a:tabLst/>
              <a:defRPr sz="900">
                <a:solidFill>
                  <a:srgbClr val="1F2564"/>
                </a:solidFill>
                <a:latin typeface="Helvetica" pitchFamily="2" charset="0"/>
              </a:defRPr>
            </a:lvl3pPr>
            <a:lvl4pPr marL="9525" indent="0">
              <a:buNone/>
              <a:tabLst/>
              <a:defRPr sz="900">
                <a:solidFill>
                  <a:srgbClr val="1F2564"/>
                </a:solidFill>
                <a:latin typeface="Helvetica" pitchFamily="2" charset="0"/>
              </a:defRPr>
            </a:lvl4pPr>
            <a:lvl5pPr marL="9525" indent="0">
              <a:buNone/>
              <a:tabLst/>
              <a:defRPr sz="900">
                <a:solidFill>
                  <a:srgbClr val="1F2564"/>
                </a:solidFill>
                <a:latin typeface="Helvetica" pitchFamily="2" charset="0"/>
              </a:defRPr>
            </a:lvl5pPr>
          </a:lstStyle>
          <a:p>
            <a:pPr lvl="0"/>
            <a:r>
              <a:rPr lang="en-US"/>
              <a:t>Click to edit Master text styles</a:t>
            </a:r>
          </a:p>
        </p:txBody>
      </p:sp>
      <p:cxnSp>
        <p:nvCxnSpPr>
          <p:cNvPr id="11" name="Straight Connector 10">
            <a:extLst>
              <a:ext uri="{FF2B5EF4-FFF2-40B4-BE49-F238E27FC236}">
                <a16:creationId xmlns:a16="http://schemas.microsoft.com/office/drawing/2014/main" id="{D27D3771-DBA0-A34B-B480-996E19284B9E}"/>
              </a:ext>
            </a:extLst>
          </p:cNvPr>
          <p:cNvCxnSpPr>
            <a:cxnSpLocks/>
          </p:cNvCxnSpPr>
          <p:nvPr/>
        </p:nvCxnSpPr>
        <p:spPr>
          <a:xfrm>
            <a:off x="766763" y="1646074"/>
            <a:ext cx="0" cy="1884526"/>
          </a:xfrm>
          <a:prstGeom prst="line">
            <a:avLst/>
          </a:prstGeom>
          <a:ln w="349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017953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pos="3840">
          <p15:clr>
            <a:srgbClr val="FBAE40"/>
          </p15:clr>
        </p15:guide>
        <p15:guide id="6" pos="5518">
          <p15:clr>
            <a:srgbClr val="FBAE40"/>
          </p15:clr>
        </p15:guide>
        <p15:guide id="7" pos="2139">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_Plain Text Slide – blue">
    <p:bg>
      <p:bgPr>
        <a:solidFill>
          <a:schemeClr val="bg1"/>
        </a:solidFill>
        <a:effectLst/>
      </p:bgPr>
    </p:bg>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7DB73483-96E4-934E-BFCC-40D38212675D}"/>
              </a:ext>
            </a:extLst>
          </p:cNvPr>
          <p:cNvSpPr>
            <a:spLocks noGrp="1"/>
          </p:cNvSpPr>
          <p:nvPr>
            <p:ph idx="1"/>
          </p:nvPr>
        </p:nvSpPr>
        <p:spPr>
          <a:xfrm>
            <a:off x="766764" y="2020472"/>
            <a:ext cx="10612048" cy="3666456"/>
          </a:xfrm>
        </p:spPr>
        <p:txBody>
          <a:bodyPr lIns="0" tIns="0" bIns="0" numCol="1" spcCol="360000"/>
          <a:lstStyle>
            <a:lvl1pPr>
              <a:lnSpc>
                <a:spcPct val="100000"/>
              </a:lnSpc>
              <a:defRPr sz="1400" b="0" i="0">
                <a:latin typeface="ASICS Font 3.0" pitchFamily="2" charset="77"/>
              </a:defRPr>
            </a:lvl1pPr>
          </a:lstStyle>
          <a:p>
            <a:pPr lvl="0"/>
            <a:r>
              <a:rPr lang="en-US" altLang="en-GB"/>
              <a:t>Click to edit Master text styles</a:t>
            </a:r>
          </a:p>
        </p:txBody>
      </p:sp>
      <p:sp>
        <p:nvSpPr>
          <p:cNvPr id="6" name="Title 1">
            <a:extLst>
              <a:ext uri="{FF2B5EF4-FFF2-40B4-BE49-F238E27FC236}">
                <a16:creationId xmlns:a16="http://schemas.microsoft.com/office/drawing/2014/main" id="{D8FDD490-B14C-644B-BFFF-B75DFEA6F2A9}"/>
              </a:ext>
            </a:extLst>
          </p:cNvPr>
          <p:cNvSpPr>
            <a:spLocks noGrp="1"/>
          </p:cNvSpPr>
          <p:nvPr>
            <p:ph type="title"/>
          </p:nvPr>
        </p:nvSpPr>
        <p:spPr>
          <a:xfrm>
            <a:off x="766761" y="620713"/>
            <a:ext cx="10612051" cy="1296578"/>
          </a:xfrm>
        </p:spPr>
        <p:txBody>
          <a:bodyPr lIns="0" tIns="0" bIns="0" numCol="1" anchor="t">
            <a:normAutofit/>
          </a:bodyPr>
          <a:lstStyle>
            <a:lvl1pPr algn="l">
              <a:lnSpc>
                <a:spcPct val="100000"/>
              </a:lnSpc>
              <a:defRPr sz="3200" b="0" i="0">
                <a:solidFill>
                  <a:schemeClr val="tx1"/>
                </a:solidFill>
                <a:latin typeface="ASICS Font 3.0" pitchFamily="2" charset="77"/>
              </a:defRPr>
            </a:lvl1pPr>
          </a:lstStyle>
          <a:p>
            <a:r>
              <a:rPr lang="en-US" altLang="en-GB"/>
              <a:t>Click to edit Master title style</a:t>
            </a:r>
            <a:endParaRPr lang="en-GB" altLang="en-GB"/>
          </a:p>
        </p:txBody>
      </p:sp>
      <p:sp>
        <p:nvSpPr>
          <p:cNvPr id="2" name="Slide Number Placeholder 1">
            <a:extLst>
              <a:ext uri="{FF2B5EF4-FFF2-40B4-BE49-F238E27FC236}">
                <a16:creationId xmlns:a16="http://schemas.microsoft.com/office/drawing/2014/main" id="{6A9B3EEA-3753-4145-BE67-A5361B720490}"/>
              </a:ext>
            </a:extLst>
          </p:cNvPr>
          <p:cNvSpPr>
            <a:spLocks noGrp="1"/>
          </p:cNvSpPr>
          <p:nvPr>
            <p:ph type="sldNum" sz="quarter" idx="10"/>
          </p:nvPr>
        </p:nvSpPr>
        <p:spPr>
          <a:xfrm>
            <a:off x="11080548" y="244864"/>
            <a:ext cx="753833" cy="365125"/>
          </a:xfrm>
          <a:prstGeom prst="rect">
            <a:avLst/>
          </a:prstGeom>
        </p:spPr>
        <p:txBody>
          <a:bodyPr vert="horz" lIns="91440" tIns="45720" rIns="91440" bIns="45720" rtlCol="0" anchor="t"/>
          <a:lstStyle>
            <a:defPPr>
              <a:defRPr lang="en-US"/>
            </a:defPPr>
            <a:lvl1pPr marL="0" algn="r" defTabSz="914400" rtl="0" eaLnBrk="1" latinLnBrk="0" hangingPunct="1">
              <a:defRPr sz="1200" b="0" i="0" kern="1200">
                <a:solidFill>
                  <a:schemeClr val="tx1"/>
                </a:solidFill>
                <a:latin typeface="ASICS Font 3.0"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CC6782-A7C1-AE43-BED6-519E5FEDBE2C}" type="slidenum">
              <a:rPr lang="en-US" smtClean="0"/>
              <a:pPr/>
              <a:t>‹#›</a:t>
            </a:fld>
            <a:endParaRPr lang="en-US"/>
          </a:p>
        </p:txBody>
      </p:sp>
    </p:spTree>
    <p:extLst>
      <p:ext uri="{BB962C8B-B14F-4D97-AF65-F5344CB8AC3E}">
        <p14:creationId xmlns:p14="http://schemas.microsoft.com/office/powerpoint/2010/main" val="2190640164"/>
      </p:ext>
    </p:extLst>
  </p:cSld>
  <p:clrMapOvr>
    <a:masterClrMapping/>
  </p:clrMapOvr>
  <p:extLst>
    <p:ext uri="{DCECCB84-F9BA-43D5-87BE-67443E8EF086}">
      <p15:sldGuideLst xmlns:p15="http://schemas.microsoft.com/office/powerpoint/2012/main">
        <p15:guide id="1" pos="7355">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1_Title Slide – grey" preserve="1">
  <p:cSld name="1_Title Slide – grey">
    <p:bg>
      <p:bgRef idx="1001">
        <a:schemeClr val="bg1"/>
      </p:bgRef>
    </p:bg>
    <p:spTree>
      <p:nvGrpSpPr>
        <p:cNvPr id="1" name="Shape 656"/>
        <p:cNvGrpSpPr/>
        <p:nvPr/>
      </p:nvGrpSpPr>
      <p:grpSpPr>
        <a:xfrm>
          <a:off x="0" y="0"/>
          <a:ext cx="0" cy="0"/>
          <a:chOff x="0" y="0"/>
          <a:chExt cx="0" cy="0"/>
        </a:xfrm>
      </p:grpSpPr>
    </p:spTree>
    <p:extLst>
      <p:ext uri="{BB962C8B-B14F-4D97-AF65-F5344CB8AC3E}">
        <p14:creationId xmlns:p14="http://schemas.microsoft.com/office/powerpoint/2010/main" val="9390962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Image Sl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B0389A96-8F70-7442-9E35-7940ECFA30B8}"/>
              </a:ext>
            </a:extLst>
          </p:cNvPr>
          <p:cNvSpPr>
            <a:spLocks noGrp="1"/>
          </p:cNvSpPr>
          <p:nvPr>
            <p:ph type="pic" sz="quarter" idx="10"/>
          </p:nvPr>
        </p:nvSpPr>
        <p:spPr>
          <a:xfrm>
            <a:off x="0" y="0"/>
            <a:ext cx="12192000" cy="6858000"/>
          </a:xfrm>
        </p:spPr>
        <p:txBody>
          <a:bodyPr/>
          <a:lstStyle/>
          <a:p>
            <a:r>
              <a:rPr lang="en-US"/>
              <a:t>Click icon to add picture</a:t>
            </a:r>
            <a:endParaRPr lang="en-GB"/>
          </a:p>
        </p:txBody>
      </p:sp>
    </p:spTree>
    <p:extLst>
      <p:ext uri="{BB962C8B-B14F-4D97-AF65-F5344CB8AC3E}">
        <p14:creationId xmlns:p14="http://schemas.microsoft.com/office/powerpoint/2010/main" val="182374758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Only Slide">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3EBBA60-D13D-4842-BCE8-8A922BC34388}"/>
              </a:ext>
            </a:extLst>
          </p:cNvPr>
          <p:cNvSpPr>
            <a:spLocks noGrp="1"/>
          </p:cNvSpPr>
          <p:nvPr>
            <p:ph type="title"/>
          </p:nvPr>
        </p:nvSpPr>
        <p:spPr>
          <a:xfrm>
            <a:off x="447972" y="427740"/>
            <a:ext cx="4403428" cy="727960"/>
          </a:xfrm>
        </p:spPr>
        <p:txBody>
          <a:bodyPr>
            <a:normAutofit/>
          </a:bodyPr>
          <a:lstStyle/>
          <a:p>
            <a:r>
              <a:rPr lang="en-US" sz="2400"/>
              <a:t>Click to edit Master title style</a:t>
            </a:r>
            <a:endParaRPr lang="en-NL" sz="2400"/>
          </a:p>
        </p:txBody>
      </p:sp>
    </p:spTree>
    <p:extLst>
      <p:ext uri="{BB962C8B-B14F-4D97-AF65-F5344CB8AC3E}">
        <p14:creationId xmlns:p14="http://schemas.microsoft.com/office/powerpoint/2010/main" val="131597943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3_Title Slide">
    <p:bg>
      <p:bgPr>
        <a:gradFill>
          <a:gsLst>
            <a:gs pos="9000">
              <a:srgbClr val="E2ECEF">
                <a:alpha val="85000"/>
                <a:lumMod val="96000"/>
                <a:lumOff val="4000"/>
              </a:srgbClr>
            </a:gs>
            <a:gs pos="88000">
              <a:srgbClr val="B8C5CA"/>
            </a:gs>
          </a:gsLst>
          <a:lin ang="18900000" scaled="0"/>
        </a:gra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6DDE63DA-77FD-E347-B047-2C2CB6C0A983}"/>
              </a:ext>
            </a:extLst>
          </p:cNvPr>
          <p:cNvSpPr/>
          <p:nvPr/>
        </p:nvSpPr>
        <p:spPr>
          <a:xfrm>
            <a:off x="0" y="0"/>
            <a:ext cx="12191999" cy="6858000"/>
          </a:xfrm>
          <a:prstGeom prst="rect">
            <a:avLst/>
          </a:prstGeom>
          <a:solidFill>
            <a:srgbClr val="202C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B7E19912-57C7-3E41-84DA-C25211DB3AA2}"/>
              </a:ext>
            </a:extLst>
          </p:cNvPr>
          <p:cNvSpPr>
            <a:spLocks noGrp="1"/>
          </p:cNvSpPr>
          <p:nvPr>
            <p:ph type="subTitle" idx="1" hasCustomPrompt="1"/>
          </p:nvPr>
        </p:nvSpPr>
        <p:spPr>
          <a:xfrm>
            <a:off x="1033589" y="3429000"/>
            <a:ext cx="10164989"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Our brands empower people to move.</a:t>
            </a:r>
          </a:p>
        </p:txBody>
      </p:sp>
      <p:sp>
        <p:nvSpPr>
          <p:cNvPr id="11" name="TextBox 10">
            <a:extLst>
              <a:ext uri="{FF2B5EF4-FFF2-40B4-BE49-F238E27FC236}">
                <a16:creationId xmlns:a16="http://schemas.microsoft.com/office/drawing/2014/main" id="{9F0B531F-129F-C341-A32F-3FDDA91FB65C}"/>
              </a:ext>
            </a:extLst>
          </p:cNvPr>
          <p:cNvSpPr txBox="1"/>
          <p:nvPr/>
        </p:nvSpPr>
        <p:spPr>
          <a:xfrm>
            <a:off x="10013587" y="6502113"/>
            <a:ext cx="1659835" cy="246221"/>
          </a:xfrm>
          <a:prstGeom prst="rect">
            <a:avLst/>
          </a:prstGeom>
          <a:noFill/>
        </p:spPr>
        <p:txBody>
          <a:bodyPr wrap="square" rtlCol="0" anchor="ctr">
            <a:spAutoFit/>
          </a:bodyPr>
          <a:lstStyle/>
          <a:p>
            <a:pPr algn="r"/>
            <a:r>
              <a:rPr lang="en-US" sz="1000">
                <a:latin typeface="ASICS Font 3.0" pitchFamily="2" charset="77"/>
              </a:rPr>
              <a:t>|   Page</a:t>
            </a:r>
          </a:p>
        </p:txBody>
      </p:sp>
      <p:sp>
        <p:nvSpPr>
          <p:cNvPr id="12" name="TextBox 11">
            <a:extLst>
              <a:ext uri="{FF2B5EF4-FFF2-40B4-BE49-F238E27FC236}">
                <a16:creationId xmlns:a16="http://schemas.microsoft.com/office/drawing/2014/main" id="{4BC78727-4BDD-D44A-A547-F3913BCEDBA8}"/>
              </a:ext>
            </a:extLst>
          </p:cNvPr>
          <p:cNvSpPr txBox="1"/>
          <p:nvPr/>
        </p:nvSpPr>
        <p:spPr>
          <a:xfrm>
            <a:off x="11415005" y="6502113"/>
            <a:ext cx="516835" cy="246221"/>
          </a:xfrm>
          <a:prstGeom prst="rect">
            <a:avLst/>
          </a:prstGeom>
          <a:noFill/>
        </p:spPr>
        <p:txBody>
          <a:bodyPr wrap="square" rtlCol="0" anchor="ctr">
            <a:spAutoFit/>
          </a:bodyPr>
          <a:lstStyle/>
          <a:p>
            <a:pPr algn="r"/>
            <a:fld id="{59064F59-7154-1C41-B2F3-CB7729B2FE66}" type="slidenum">
              <a:rPr lang="en-US" sz="1000" smtClean="0">
                <a:latin typeface="ASICS Font 3.0" pitchFamily="2" charset="77"/>
              </a:rPr>
              <a:t>‹#›</a:t>
            </a:fld>
            <a:endParaRPr lang="en-US" sz="1000">
              <a:latin typeface="ASICS Font 3.0" pitchFamily="2" charset="77"/>
            </a:endParaRPr>
          </a:p>
        </p:txBody>
      </p:sp>
      <p:pic>
        <p:nvPicPr>
          <p:cNvPr id="5" name="Graphic 3">
            <a:extLst>
              <a:ext uri="{FF2B5EF4-FFF2-40B4-BE49-F238E27FC236}">
                <a16:creationId xmlns:a16="http://schemas.microsoft.com/office/drawing/2014/main" id="{EA48DDAD-BB52-26C2-32FA-AEA5697F0B6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52975" y="0"/>
            <a:ext cx="1524060" cy="795526"/>
          </a:xfrm>
          <a:prstGeom prst="rect">
            <a:avLst/>
          </a:prstGeom>
        </p:spPr>
      </p:pic>
    </p:spTree>
    <p:extLst>
      <p:ext uri="{BB962C8B-B14F-4D97-AF65-F5344CB8AC3E}">
        <p14:creationId xmlns:p14="http://schemas.microsoft.com/office/powerpoint/2010/main" val="1341328838"/>
      </p:ext>
    </p:extLst>
  </p:cSld>
  <p:clrMapOvr>
    <a:masterClrMapping/>
  </p:clrMapOvr>
  <p:extLst>
    <p:ext uri="{DCECCB84-F9BA-43D5-87BE-67443E8EF086}">
      <p15:sldGuideLst xmlns:p15="http://schemas.microsoft.com/office/powerpoint/2012/main">
        <p15:guide id="1" orient="horz" pos="2160">
          <p15:clr>
            <a:srgbClr val="FBAE40"/>
          </p15:clr>
        </p15:guide>
        <p15:guide id="2" pos="52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42" name="正方形/長方形 41">
            <a:extLst>
              <a:ext uri="{FF2B5EF4-FFF2-40B4-BE49-F238E27FC236}">
                <a16:creationId xmlns:a16="http://schemas.microsoft.com/office/drawing/2014/main" id="{0D0E1738-9372-7B8E-B40F-768BE40EE53F}"/>
              </a:ext>
            </a:extLst>
          </p:cNvPr>
          <p:cNvSpPr/>
          <p:nvPr userDrawn="1"/>
        </p:nvSpPr>
        <p:spPr>
          <a:xfrm>
            <a:off x="4961173" y="542922"/>
            <a:ext cx="1790033" cy="6226147"/>
          </a:xfrm>
          <a:prstGeom prst="rect">
            <a:avLst/>
          </a:prstGeom>
          <a:solidFill>
            <a:schemeClr val="bg1"/>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正方形/長方形 35">
            <a:extLst>
              <a:ext uri="{FF2B5EF4-FFF2-40B4-BE49-F238E27FC236}">
                <a16:creationId xmlns:a16="http://schemas.microsoft.com/office/drawing/2014/main" id="{F542801A-322E-8EB8-1B51-EDA967E10C80}"/>
              </a:ext>
            </a:extLst>
          </p:cNvPr>
          <p:cNvSpPr/>
          <p:nvPr userDrawn="1"/>
        </p:nvSpPr>
        <p:spPr>
          <a:xfrm>
            <a:off x="87411" y="72207"/>
            <a:ext cx="1290938" cy="470712"/>
          </a:xfrm>
          <a:prstGeom prst="rect">
            <a:avLst/>
          </a:prstGeom>
          <a:solidFill>
            <a:schemeClr val="bg1"/>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8" name="Google Shape;373;p62">
            <a:extLst>
              <a:ext uri="{FF2B5EF4-FFF2-40B4-BE49-F238E27FC236}">
                <a16:creationId xmlns:a16="http://schemas.microsoft.com/office/drawing/2014/main" id="{6BEC044E-2C15-47FB-BA5E-06089E7DB7CC}"/>
              </a:ext>
            </a:extLst>
          </p:cNvPr>
          <p:cNvPicPr preferRelativeResize="0"/>
          <p:nvPr userDrawn="1"/>
        </p:nvPicPr>
        <p:blipFill rotWithShape="1">
          <a:blip r:embed="rId2">
            <a:alphaModFix/>
          </a:blip>
          <a:srcRect l="16363" t="37039" r="36379" b="44894"/>
          <a:stretch/>
        </p:blipFill>
        <p:spPr>
          <a:xfrm>
            <a:off x="277852" y="136331"/>
            <a:ext cx="936671" cy="358100"/>
          </a:xfrm>
          <a:prstGeom prst="rect">
            <a:avLst/>
          </a:prstGeom>
          <a:noFill/>
          <a:ln>
            <a:noFill/>
          </a:ln>
        </p:spPr>
      </p:pic>
      <p:sp>
        <p:nvSpPr>
          <p:cNvPr id="3" name="正方形/長方形 2">
            <a:extLst>
              <a:ext uri="{FF2B5EF4-FFF2-40B4-BE49-F238E27FC236}">
                <a16:creationId xmlns:a16="http://schemas.microsoft.com/office/drawing/2014/main" id="{45264F4E-A355-379A-647F-347A6B8CAD94}"/>
              </a:ext>
            </a:extLst>
          </p:cNvPr>
          <p:cNvSpPr/>
          <p:nvPr userDrawn="1"/>
        </p:nvSpPr>
        <p:spPr>
          <a:xfrm>
            <a:off x="1381125" y="434975"/>
            <a:ext cx="1790033" cy="107950"/>
          </a:xfrm>
          <a:prstGeom prst="rect">
            <a:avLst/>
          </a:prstGeom>
          <a:solidFill>
            <a:schemeClr val="bg1">
              <a:lumMod val="75000"/>
            </a:schemeClr>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b="0">
                <a:solidFill>
                  <a:schemeClr val="tx1"/>
                </a:solidFill>
                <a:latin typeface="Calibri" panose="020F0502020204030204" pitchFamily="34" charset="0"/>
                <a:cs typeface="Calibri" panose="020F0502020204030204" pitchFamily="34" charset="0"/>
              </a:rPr>
              <a:t>DEC</a:t>
            </a:r>
            <a:endParaRPr kumimoji="1" lang="ja-JP" altLang="en-US" sz="800" b="0">
              <a:solidFill>
                <a:schemeClr val="tx1"/>
              </a:solidFill>
              <a:latin typeface="Calibri" panose="020F0502020204030204" pitchFamily="34" charset="0"/>
              <a:cs typeface="Calibri" panose="020F0502020204030204" pitchFamily="34" charset="0"/>
            </a:endParaRPr>
          </a:p>
        </p:txBody>
      </p:sp>
      <p:sp>
        <p:nvSpPr>
          <p:cNvPr id="19" name="正方形/長方形 18">
            <a:extLst>
              <a:ext uri="{FF2B5EF4-FFF2-40B4-BE49-F238E27FC236}">
                <a16:creationId xmlns:a16="http://schemas.microsoft.com/office/drawing/2014/main" id="{6F9F7720-B19C-4B83-4819-4AEC7AC2CCFA}"/>
              </a:ext>
            </a:extLst>
          </p:cNvPr>
          <p:cNvSpPr/>
          <p:nvPr userDrawn="1"/>
        </p:nvSpPr>
        <p:spPr>
          <a:xfrm>
            <a:off x="3171158" y="434975"/>
            <a:ext cx="1790033" cy="107950"/>
          </a:xfrm>
          <a:prstGeom prst="rect">
            <a:avLst/>
          </a:prstGeom>
          <a:solidFill>
            <a:schemeClr val="bg1">
              <a:lumMod val="75000"/>
            </a:schemeClr>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b="0">
                <a:solidFill>
                  <a:schemeClr val="tx1"/>
                </a:solidFill>
                <a:latin typeface="Calibri" panose="020F0502020204030204" pitchFamily="34" charset="0"/>
                <a:cs typeface="Calibri" panose="020F0502020204030204" pitchFamily="34" charset="0"/>
              </a:rPr>
              <a:t>JAN</a:t>
            </a:r>
            <a:endParaRPr kumimoji="1" lang="ja-JP" altLang="en-US" sz="800" b="0">
              <a:solidFill>
                <a:schemeClr val="tx1"/>
              </a:solidFill>
              <a:latin typeface="Calibri" panose="020F0502020204030204" pitchFamily="34" charset="0"/>
              <a:cs typeface="Calibri" panose="020F0502020204030204" pitchFamily="34" charset="0"/>
            </a:endParaRPr>
          </a:p>
        </p:txBody>
      </p:sp>
      <p:sp>
        <p:nvSpPr>
          <p:cNvPr id="20" name="正方形/長方形 19">
            <a:extLst>
              <a:ext uri="{FF2B5EF4-FFF2-40B4-BE49-F238E27FC236}">
                <a16:creationId xmlns:a16="http://schemas.microsoft.com/office/drawing/2014/main" id="{D150571D-8B17-C6E8-093F-CFBF961F300D}"/>
              </a:ext>
            </a:extLst>
          </p:cNvPr>
          <p:cNvSpPr/>
          <p:nvPr userDrawn="1"/>
        </p:nvSpPr>
        <p:spPr>
          <a:xfrm>
            <a:off x="4961188" y="434974"/>
            <a:ext cx="1790033" cy="107950"/>
          </a:xfrm>
          <a:prstGeom prst="rect">
            <a:avLst/>
          </a:prstGeom>
          <a:solidFill>
            <a:schemeClr val="bg1">
              <a:lumMod val="75000"/>
            </a:schemeClr>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b="0">
                <a:solidFill>
                  <a:schemeClr val="tx1"/>
                </a:solidFill>
                <a:latin typeface="Calibri" panose="020F0502020204030204" pitchFamily="34" charset="0"/>
                <a:cs typeface="Calibri" panose="020F0502020204030204" pitchFamily="34" charset="0"/>
              </a:rPr>
              <a:t>FEB</a:t>
            </a:r>
            <a:endParaRPr kumimoji="1" lang="ja-JP" altLang="en-US" sz="800" b="0">
              <a:solidFill>
                <a:schemeClr val="tx1"/>
              </a:solidFill>
              <a:latin typeface="Calibri" panose="020F0502020204030204" pitchFamily="34" charset="0"/>
              <a:cs typeface="Calibri" panose="020F0502020204030204" pitchFamily="34" charset="0"/>
            </a:endParaRPr>
          </a:p>
        </p:txBody>
      </p:sp>
      <p:sp>
        <p:nvSpPr>
          <p:cNvPr id="21" name="正方形/長方形 20">
            <a:extLst>
              <a:ext uri="{FF2B5EF4-FFF2-40B4-BE49-F238E27FC236}">
                <a16:creationId xmlns:a16="http://schemas.microsoft.com/office/drawing/2014/main" id="{8CE35FD1-C0D1-A6E5-A69E-66A86EAB084F}"/>
              </a:ext>
            </a:extLst>
          </p:cNvPr>
          <p:cNvSpPr/>
          <p:nvPr userDrawn="1"/>
        </p:nvSpPr>
        <p:spPr>
          <a:xfrm>
            <a:off x="6751222" y="434974"/>
            <a:ext cx="1790033" cy="107950"/>
          </a:xfrm>
          <a:prstGeom prst="rect">
            <a:avLst/>
          </a:prstGeom>
          <a:solidFill>
            <a:schemeClr val="bg1">
              <a:lumMod val="75000"/>
            </a:schemeClr>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b="0">
                <a:solidFill>
                  <a:schemeClr val="tx1"/>
                </a:solidFill>
                <a:latin typeface="Calibri" panose="020F0502020204030204" pitchFamily="34" charset="0"/>
                <a:cs typeface="Calibri" panose="020F0502020204030204" pitchFamily="34" charset="0"/>
              </a:rPr>
              <a:t>MAR</a:t>
            </a:r>
            <a:endParaRPr kumimoji="1" lang="ja-JP" altLang="en-US" sz="800" b="0">
              <a:solidFill>
                <a:schemeClr val="tx1"/>
              </a:solidFill>
              <a:latin typeface="Calibri" panose="020F0502020204030204" pitchFamily="34" charset="0"/>
              <a:cs typeface="Calibri" panose="020F0502020204030204" pitchFamily="34" charset="0"/>
            </a:endParaRPr>
          </a:p>
        </p:txBody>
      </p:sp>
      <p:sp>
        <p:nvSpPr>
          <p:cNvPr id="22" name="正方形/長方形 21">
            <a:extLst>
              <a:ext uri="{FF2B5EF4-FFF2-40B4-BE49-F238E27FC236}">
                <a16:creationId xmlns:a16="http://schemas.microsoft.com/office/drawing/2014/main" id="{CB8E22B0-DD2A-B10F-1C5B-CAE876B3FDB9}"/>
              </a:ext>
            </a:extLst>
          </p:cNvPr>
          <p:cNvSpPr/>
          <p:nvPr userDrawn="1"/>
        </p:nvSpPr>
        <p:spPr>
          <a:xfrm>
            <a:off x="8541253" y="434973"/>
            <a:ext cx="1790033" cy="107950"/>
          </a:xfrm>
          <a:prstGeom prst="rect">
            <a:avLst/>
          </a:prstGeom>
          <a:solidFill>
            <a:schemeClr val="bg1">
              <a:lumMod val="75000"/>
            </a:schemeClr>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b="0">
                <a:solidFill>
                  <a:schemeClr val="tx1"/>
                </a:solidFill>
                <a:latin typeface="Calibri" panose="020F0502020204030204" pitchFamily="34" charset="0"/>
                <a:cs typeface="Calibri" panose="020F0502020204030204" pitchFamily="34" charset="0"/>
              </a:rPr>
              <a:t>APR</a:t>
            </a:r>
            <a:endParaRPr kumimoji="1" lang="ja-JP" altLang="en-US" sz="800" b="0">
              <a:solidFill>
                <a:schemeClr val="tx1"/>
              </a:solidFill>
              <a:latin typeface="Calibri" panose="020F0502020204030204" pitchFamily="34" charset="0"/>
              <a:cs typeface="Calibri" panose="020F0502020204030204" pitchFamily="34" charset="0"/>
            </a:endParaRPr>
          </a:p>
        </p:txBody>
      </p:sp>
      <p:sp>
        <p:nvSpPr>
          <p:cNvPr id="23" name="正方形/長方形 22">
            <a:extLst>
              <a:ext uri="{FF2B5EF4-FFF2-40B4-BE49-F238E27FC236}">
                <a16:creationId xmlns:a16="http://schemas.microsoft.com/office/drawing/2014/main" id="{D395FACF-A7ED-1B95-2BC3-5AE3F606AA4C}"/>
              </a:ext>
            </a:extLst>
          </p:cNvPr>
          <p:cNvSpPr/>
          <p:nvPr userDrawn="1"/>
        </p:nvSpPr>
        <p:spPr>
          <a:xfrm>
            <a:off x="10331284" y="434973"/>
            <a:ext cx="1790033" cy="107950"/>
          </a:xfrm>
          <a:prstGeom prst="rect">
            <a:avLst/>
          </a:prstGeom>
          <a:solidFill>
            <a:schemeClr val="bg1">
              <a:lumMod val="75000"/>
            </a:schemeClr>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b="0">
                <a:solidFill>
                  <a:schemeClr val="tx1"/>
                </a:solidFill>
                <a:latin typeface="Calibri" panose="020F0502020204030204" pitchFamily="34" charset="0"/>
                <a:cs typeface="Calibri" panose="020F0502020204030204" pitchFamily="34" charset="0"/>
              </a:rPr>
              <a:t>MAY</a:t>
            </a:r>
            <a:endParaRPr kumimoji="1" lang="ja-JP" altLang="en-US" sz="800" b="0">
              <a:solidFill>
                <a:schemeClr val="tx1"/>
              </a:solidFill>
              <a:latin typeface="Calibri" panose="020F0502020204030204" pitchFamily="34" charset="0"/>
              <a:cs typeface="Calibri" panose="020F0502020204030204" pitchFamily="34" charset="0"/>
            </a:endParaRPr>
          </a:p>
        </p:txBody>
      </p:sp>
      <p:sp>
        <p:nvSpPr>
          <p:cNvPr id="25" name="正方形/長方形 24">
            <a:extLst>
              <a:ext uri="{FF2B5EF4-FFF2-40B4-BE49-F238E27FC236}">
                <a16:creationId xmlns:a16="http://schemas.microsoft.com/office/drawing/2014/main" id="{6ADDC43A-CBD3-DA9D-8657-23022BD354F5}"/>
              </a:ext>
            </a:extLst>
          </p:cNvPr>
          <p:cNvSpPr/>
          <p:nvPr userDrawn="1"/>
        </p:nvSpPr>
        <p:spPr>
          <a:xfrm>
            <a:off x="1381124" y="327023"/>
            <a:ext cx="5370094" cy="107950"/>
          </a:xfrm>
          <a:prstGeom prst="rect">
            <a:avLst/>
          </a:prstGeom>
          <a:solidFill>
            <a:schemeClr val="tx1">
              <a:lumMod val="75000"/>
              <a:lumOff val="25000"/>
            </a:schemeClr>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latin typeface="Calibri" panose="020F0502020204030204" pitchFamily="34" charset="0"/>
                <a:cs typeface="Calibri" panose="020F0502020204030204" pitchFamily="34" charset="0"/>
              </a:rPr>
              <a:t>Q1</a:t>
            </a:r>
            <a:endParaRPr kumimoji="1" lang="ja-JP" altLang="en-US" sz="800">
              <a:latin typeface="Calibri" panose="020F0502020204030204" pitchFamily="34" charset="0"/>
              <a:cs typeface="Calibri" panose="020F0502020204030204" pitchFamily="34" charset="0"/>
            </a:endParaRPr>
          </a:p>
        </p:txBody>
      </p:sp>
      <p:sp>
        <p:nvSpPr>
          <p:cNvPr id="26" name="正方形/長方形 25">
            <a:extLst>
              <a:ext uri="{FF2B5EF4-FFF2-40B4-BE49-F238E27FC236}">
                <a16:creationId xmlns:a16="http://schemas.microsoft.com/office/drawing/2014/main" id="{1C7F5035-418B-57C4-119F-D46A93164113}"/>
              </a:ext>
            </a:extLst>
          </p:cNvPr>
          <p:cNvSpPr/>
          <p:nvPr userDrawn="1"/>
        </p:nvSpPr>
        <p:spPr>
          <a:xfrm>
            <a:off x="6751223" y="327023"/>
            <a:ext cx="5370094" cy="107950"/>
          </a:xfrm>
          <a:prstGeom prst="rect">
            <a:avLst/>
          </a:prstGeom>
          <a:solidFill>
            <a:schemeClr val="tx1">
              <a:lumMod val="75000"/>
              <a:lumOff val="25000"/>
            </a:schemeClr>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latin typeface="Calibri" panose="020F0502020204030204" pitchFamily="34" charset="0"/>
                <a:cs typeface="Calibri" panose="020F0502020204030204" pitchFamily="34" charset="0"/>
              </a:rPr>
              <a:t>Q2</a:t>
            </a:r>
            <a:endParaRPr kumimoji="1" lang="ja-JP" altLang="en-US" sz="800">
              <a:latin typeface="Calibri" panose="020F0502020204030204" pitchFamily="34" charset="0"/>
              <a:cs typeface="Calibri" panose="020F0502020204030204" pitchFamily="34" charset="0"/>
            </a:endParaRPr>
          </a:p>
        </p:txBody>
      </p:sp>
      <p:sp>
        <p:nvSpPr>
          <p:cNvPr id="27" name="正方形/長方形 26">
            <a:extLst>
              <a:ext uri="{FF2B5EF4-FFF2-40B4-BE49-F238E27FC236}">
                <a16:creationId xmlns:a16="http://schemas.microsoft.com/office/drawing/2014/main" id="{A206C8A8-A21A-B8DD-B9BA-77850E77A86D}"/>
              </a:ext>
            </a:extLst>
          </p:cNvPr>
          <p:cNvSpPr/>
          <p:nvPr userDrawn="1"/>
        </p:nvSpPr>
        <p:spPr>
          <a:xfrm>
            <a:off x="1381123" y="72207"/>
            <a:ext cx="10740193" cy="254814"/>
          </a:xfrm>
          <a:prstGeom prst="rect">
            <a:avLst/>
          </a:prstGeom>
          <a:solidFill>
            <a:schemeClr val="bg1"/>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pc="0"/>
          </a:p>
        </p:txBody>
      </p:sp>
      <p:sp>
        <p:nvSpPr>
          <p:cNvPr id="28" name="正方形/長方形 27">
            <a:extLst>
              <a:ext uri="{FF2B5EF4-FFF2-40B4-BE49-F238E27FC236}">
                <a16:creationId xmlns:a16="http://schemas.microsoft.com/office/drawing/2014/main" id="{AFE00693-0877-5392-4551-9CBD9D1269A0}"/>
              </a:ext>
            </a:extLst>
          </p:cNvPr>
          <p:cNvSpPr/>
          <p:nvPr userDrawn="1"/>
        </p:nvSpPr>
        <p:spPr>
          <a:xfrm>
            <a:off x="1381123" y="542922"/>
            <a:ext cx="1790033" cy="6226147"/>
          </a:xfrm>
          <a:prstGeom prst="rect">
            <a:avLst/>
          </a:prstGeom>
          <a:solidFill>
            <a:schemeClr val="bg1"/>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正方形/長方形 28">
            <a:extLst>
              <a:ext uri="{FF2B5EF4-FFF2-40B4-BE49-F238E27FC236}">
                <a16:creationId xmlns:a16="http://schemas.microsoft.com/office/drawing/2014/main" id="{EFC75465-2661-0C69-FC4B-CD7E77591BAD}"/>
              </a:ext>
            </a:extLst>
          </p:cNvPr>
          <p:cNvSpPr/>
          <p:nvPr userDrawn="1"/>
        </p:nvSpPr>
        <p:spPr>
          <a:xfrm>
            <a:off x="3171153" y="542922"/>
            <a:ext cx="1790033" cy="6226147"/>
          </a:xfrm>
          <a:prstGeom prst="rect">
            <a:avLst/>
          </a:prstGeom>
          <a:solidFill>
            <a:schemeClr val="bg1"/>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正方形/長方形 30">
            <a:extLst>
              <a:ext uri="{FF2B5EF4-FFF2-40B4-BE49-F238E27FC236}">
                <a16:creationId xmlns:a16="http://schemas.microsoft.com/office/drawing/2014/main" id="{4265DDDD-AF1D-622A-A50F-8355EB6A0817}"/>
              </a:ext>
            </a:extLst>
          </p:cNvPr>
          <p:cNvSpPr/>
          <p:nvPr userDrawn="1"/>
        </p:nvSpPr>
        <p:spPr>
          <a:xfrm>
            <a:off x="6751211" y="542922"/>
            <a:ext cx="1790033" cy="6226147"/>
          </a:xfrm>
          <a:prstGeom prst="rect">
            <a:avLst/>
          </a:prstGeom>
          <a:solidFill>
            <a:schemeClr val="bg1"/>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正方形/長方形 31">
            <a:extLst>
              <a:ext uri="{FF2B5EF4-FFF2-40B4-BE49-F238E27FC236}">
                <a16:creationId xmlns:a16="http://schemas.microsoft.com/office/drawing/2014/main" id="{1AC32237-0EA6-0652-AF4C-D11FE77046F0}"/>
              </a:ext>
            </a:extLst>
          </p:cNvPr>
          <p:cNvSpPr/>
          <p:nvPr userDrawn="1"/>
        </p:nvSpPr>
        <p:spPr>
          <a:xfrm>
            <a:off x="8541243" y="542922"/>
            <a:ext cx="1790033" cy="6226147"/>
          </a:xfrm>
          <a:prstGeom prst="rect">
            <a:avLst/>
          </a:prstGeom>
          <a:solidFill>
            <a:schemeClr val="bg1"/>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正方形/長方形 32">
            <a:extLst>
              <a:ext uri="{FF2B5EF4-FFF2-40B4-BE49-F238E27FC236}">
                <a16:creationId xmlns:a16="http://schemas.microsoft.com/office/drawing/2014/main" id="{D0942C14-6351-5502-87AF-B48EA1E205AA}"/>
              </a:ext>
            </a:extLst>
          </p:cNvPr>
          <p:cNvSpPr/>
          <p:nvPr userDrawn="1"/>
        </p:nvSpPr>
        <p:spPr>
          <a:xfrm>
            <a:off x="10331283" y="542922"/>
            <a:ext cx="1790033" cy="6226147"/>
          </a:xfrm>
          <a:prstGeom prst="rect">
            <a:avLst/>
          </a:prstGeom>
          <a:solidFill>
            <a:schemeClr val="bg1"/>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正方形/長方形 33">
            <a:extLst>
              <a:ext uri="{FF2B5EF4-FFF2-40B4-BE49-F238E27FC236}">
                <a16:creationId xmlns:a16="http://schemas.microsoft.com/office/drawing/2014/main" id="{744BACB1-5BEF-6BA7-2F6E-5DB6380A9DDA}"/>
              </a:ext>
            </a:extLst>
          </p:cNvPr>
          <p:cNvSpPr/>
          <p:nvPr userDrawn="1"/>
        </p:nvSpPr>
        <p:spPr>
          <a:xfrm>
            <a:off x="87411" y="542920"/>
            <a:ext cx="1293702" cy="6226147"/>
          </a:xfrm>
          <a:prstGeom prst="rect">
            <a:avLst/>
          </a:prstGeom>
          <a:solidFill>
            <a:schemeClr val="bg1"/>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Slide Number Placeholder 5">
            <a:extLst>
              <a:ext uri="{FF2B5EF4-FFF2-40B4-BE49-F238E27FC236}">
                <a16:creationId xmlns:a16="http://schemas.microsoft.com/office/drawing/2014/main" id="{3CE71D64-C1FF-8C5F-DE4F-60F8D1A12BE7}"/>
              </a:ext>
            </a:extLst>
          </p:cNvPr>
          <p:cNvSpPr>
            <a:spLocks noGrp="1"/>
          </p:cNvSpPr>
          <p:nvPr>
            <p:ph type="sldNum" sz="quarter" idx="4"/>
          </p:nvPr>
        </p:nvSpPr>
        <p:spPr>
          <a:xfrm>
            <a:off x="9351764" y="101080"/>
            <a:ext cx="2743200" cy="228268"/>
          </a:xfrm>
          <a:prstGeom prst="rect">
            <a:avLst/>
          </a:prstGeom>
        </p:spPr>
        <p:txBody>
          <a:bodyPr vert="horz" lIns="0" tIns="0" rIns="0" bIns="0" rtlCol="0" anchor="b" anchorCtr="0"/>
          <a:lstStyle>
            <a:lvl1pPr algn="r">
              <a:defRPr sz="800">
                <a:solidFill>
                  <a:schemeClr val="tx1"/>
                </a:solidFill>
                <a:latin typeface="Aptos" panose="020B0004020202020204" pitchFamily="34" charset="0"/>
                <a:cs typeface="Calibri" panose="020F0502020204030204" pitchFamily="34" charset="0"/>
              </a:defRPr>
            </a:lvl1pPr>
          </a:lstStyle>
          <a:p>
            <a:fld id="{51AF2DE1-86B9-1246-84AA-50442F04AF74}" type="slidenum">
              <a:rPr kumimoji="1" lang="ja-JP" altLang="en-US" smtClean="0"/>
              <a:pPr/>
              <a:t>‹#›</a:t>
            </a:fld>
            <a:endParaRPr kumimoji="1" lang="ja-JP" altLang="en-US"/>
          </a:p>
        </p:txBody>
      </p:sp>
      <p:sp>
        <p:nvSpPr>
          <p:cNvPr id="4" name="Title 1">
            <a:extLst>
              <a:ext uri="{FF2B5EF4-FFF2-40B4-BE49-F238E27FC236}">
                <a16:creationId xmlns:a16="http://schemas.microsoft.com/office/drawing/2014/main" id="{7B357C7E-3E9B-1425-E28D-27BD98E95811}"/>
              </a:ext>
            </a:extLst>
          </p:cNvPr>
          <p:cNvSpPr>
            <a:spLocks noGrp="1"/>
          </p:cNvSpPr>
          <p:nvPr>
            <p:ph type="title" hasCustomPrompt="1"/>
          </p:nvPr>
        </p:nvSpPr>
        <p:spPr>
          <a:xfrm>
            <a:off x="1474057" y="128889"/>
            <a:ext cx="7106957" cy="218643"/>
          </a:xfrm>
        </p:spPr>
        <p:txBody>
          <a:bodyPr anchor="ctr"/>
          <a:lstStyle>
            <a:lvl1pPr algn="l">
              <a:lnSpc>
                <a:spcPct val="85000"/>
              </a:lnSpc>
              <a:defRPr sz="1400" cap="all" spc="0" baseline="0">
                <a:solidFill>
                  <a:schemeClr val="tx1"/>
                </a:solidFill>
              </a:defRPr>
            </a:lvl1pPr>
          </a:lstStyle>
          <a:p>
            <a:r>
              <a:rPr lang="en-US"/>
              <a:t>ITEM NAME</a:t>
            </a:r>
          </a:p>
        </p:txBody>
      </p:sp>
    </p:spTree>
    <p:extLst>
      <p:ext uri="{BB962C8B-B14F-4D97-AF65-F5344CB8AC3E}">
        <p14:creationId xmlns:p14="http://schemas.microsoft.com/office/powerpoint/2010/main" val="185844101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D2942FE-329F-08F3-A8C1-A31D24DFDB2E}"/>
              </a:ext>
            </a:extLst>
          </p:cNvPr>
          <p:cNvSpPr>
            <a:spLocks noGrp="1"/>
          </p:cNvSpPr>
          <p:nvPr>
            <p:ph type="dt" sz="half" idx="10"/>
          </p:nvPr>
        </p:nvSpPr>
        <p:spPr/>
        <p:txBody>
          <a:bodyPr/>
          <a:lstStyle/>
          <a:p>
            <a:fld id="{1FD53ACA-A708-4922-8456-AC2210E9124B}" type="datetimeFigureOut">
              <a:rPr lang="en-GB" smtClean="0"/>
              <a:t>27/05/2025</a:t>
            </a:fld>
            <a:endParaRPr lang="en-GB"/>
          </a:p>
        </p:txBody>
      </p:sp>
      <p:sp>
        <p:nvSpPr>
          <p:cNvPr id="3" name="Footer Placeholder 2">
            <a:extLst>
              <a:ext uri="{FF2B5EF4-FFF2-40B4-BE49-F238E27FC236}">
                <a16:creationId xmlns:a16="http://schemas.microsoft.com/office/drawing/2014/main" id="{1F4D7211-5F85-1842-2FA6-8EE77317A0B5}"/>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09FC85CC-F94C-D35D-7393-00B5D33C81F1}"/>
              </a:ext>
            </a:extLst>
          </p:cNvPr>
          <p:cNvSpPr>
            <a:spLocks noGrp="1"/>
          </p:cNvSpPr>
          <p:nvPr>
            <p:ph type="sldNum" sz="quarter" idx="12"/>
          </p:nvPr>
        </p:nvSpPr>
        <p:spPr/>
        <p:txBody>
          <a:bodyPr/>
          <a:lstStyle/>
          <a:p>
            <a:fld id="{9F782EF4-7F1A-4C65-A9F2-E70AA0AB1E0D}" type="slidenum">
              <a:rPr lang="en-GB" smtClean="0"/>
              <a:t>‹#›</a:t>
            </a:fld>
            <a:endParaRPr lang="en-GB"/>
          </a:p>
        </p:txBody>
      </p:sp>
    </p:spTree>
    <p:extLst>
      <p:ext uri="{BB962C8B-B14F-4D97-AF65-F5344CB8AC3E}">
        <p14:creationId xmlns:p14="http://schemas.microsoft.com/office/powerpoint/2010/main" val="133744099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ontent Slide - 3 Pictures - b">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45154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graphicFrame>
        <p:nvGraphicFramePr>
          <p:cNvPr id="5" name="Table 15">
            <a:extLst>
              <a:ext uri="{FF2B5EF4-FFF2-40B4-BE49-F238E27FC236}">
                <a16:creationId xmlns:a16="http://schemas.microsoft.com/office/drawing/2014/main" id="{F0853473-07CF-502A-E856-83F3EC2DB4A7}"/>
              </a:ext>
            </a:extLst>
          </p:cNvPr>
          <p:cNvGraphicFramePr>
            <a:graphicFrameLocks noGrp="1"/>
          </p:cNvGraphicFramePr>
          <p:nvPr userDrawn="1">
            <p:extLst>
              <p:ext uri="{D42A27DB-BD31-4B8C-83A1-F6EECF244321}">
                <p14:modId xmlns:p14="http://schemas.microsoft.com/office/powerpoint/2010/main" val="1501419260"/>
              </p:ext>
            </p:extLst>
          </p:nvPr>
        </p:nvGraphicFramePr>
        <p:xfrm>
          <a:off x="76509" y="70200"/>
          <a:ext cx="12038982" cy="6686723"/>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194541673"/>
                    </a:ext>
                  </a:extLst>
                </a:gridCol>
                <a:gridCol w="1099312">
                  <a:extLst>
                    <a:ext uri="{9D8B030D-6E8A-4147-A177-3AD203B41FA5}">
                      <a16:colId xmlns:a16="http://schemas.microsoft.com/office/drawing/2014/main" val="1599786426"/>
                    </a:ext>
                  </a:extLst>
                </a:gridCol>
                <a:gridCol w="1788565">
                  <a:extLst>
                    <a:ext uri="{9D8B030D-6E8A-4147-A177-3AD203B41FA5}">
                      <a16:colId xmlns:a16="http://schemas.microsoft.com/office/drawing/2014/main" val="2958355450"/>
                    </a:ext>
                  </a:extLst>
                </a:gridCol>
                <a:gridCol w="1788565">
                  <a:extLst>
                    <a:ext uri="{9D8B030D-6E8A-4147-A177-3AD203B41FA5}">
                      <a16:colId xmlns:a16="http://schemas.microsoft.com/office/drawing/2014/main" val="3108265392"/>
                    </a:ext>
                  </a:extLst>
                </a:gridCol>
                <a:gridCol w="1788565">
                  <a:extLst>
                    <a:ext uri="{9D8B030D-6E8A-4147-A177-3AD203B41FA5}">
                      <a16:colId xmlns:a16="http://schemas.microsoft.com/office/drawing/2014/main" val="1214581081"/>
                    </a:ext>
                  </a:extLst>
                </a:gridCol>
                <a:gridCol w="1788565">
                  <a:extLst>
                    <a:ext uri="{9D8B030D-6E8A-4147-A177-3AD203B41FA5}">
                      <a16:colId xmlns:a16="http://schemas.microsoft.com/office/drawing/2014/main" val="476101854"/>
                    </a:ext>
                  </a:extLst>
                </a:gridCol>
                <a:gridCol w="1788565">
                  <a:extLst>
                    <a:ext uri="{9D8B030D-6E8A-4147-A177-3AD203B41FA5}">
                      <a16:colId xmlns:a16="http://schemas.microsoft.com/office/drawing/2014/main" val="556185818"/>
                    </a:ext>
                  </a:extLst>
                </a:gridCol>
                <a:gridCol w="1788565">
                  <a:extLst>
                    <a:ext uri="{9D8B030D-6E8A-4147-A177-3AD203B41FA5}">
                      <a16:colId xmlns:a16="http://schemas.microsoft.com/office/drawing/2014/main" val="1931572245"/>
                    </a:ext>
                  </a:extLst>
                </a:gridCol>
              </a:tblGrid>
              <a:tr h="255137">
                <a:tc rowSpan="3" gridSpan="2">
                  <a:txBody>
                    <a:bodyPr/>
                    <a:lstStyle/>
                    <a:p>
                      <a:pPr marL="0" marR="0" lvl="0" indent="0" algn="l">
                        <a:lnSpc>
                          <a:spcPct val="100000"/>
                        </a:lnSpc>
                        <a:spcBef>
                          <a:spcPts val="0"/>
                        </a:spcBef>
                        <a:spcAft>
                          <a:spcPts val="0"/>
                        </a:spcAft>
                        <a:buNone/>
                      </a:pPr>
                      <a:endParaRPr lang="en-US" sz="800" b="0" i="0" u="none" strike="noStrike" noProof="0">
                        <a:solidFill>
                          <a:schemeClr val="tx1"/>
                        </a:solidFill>
                        <a:latin typeface="Aptos Narrow"/>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noFill/>
                  </a:tcPr>
                </a:tc>
                <a:tc rowSpan="3" hMerge="1">
                  <a:txBody>
                    <a:bodyPr/>
                    <a:lstStyle/>
                    <a:p>
                      <a:pPr marL="0" marR="0" lvl="0" indent="0" algn="l">
                        <a:lnSpc>
                          <a:spcPct val="100000"/>
                        </a:lnSpc>
                        <a:spcBef>
                          <a:spcPts val="0"/>
                        </a:spcBef>
                        <a:spcAft>
                          <a:spcPts val="0"/>
                        </a:spcAft>
                        <a:buNone/>
                      </a:pPr>
                      <a:endParaRPr lang="en-US"/>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6">
                  <a:txBody>
                    <a:bodyPr/>
                    <a:lstStyle/>
                    <a:p>
                      <a:endParaRPr lang="en-US" sz="1050">
                        <a:latin typeface="Aptos"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noFill/>
                  </a:tcPr>
                </a:tc>
                <a:tc hMerge="1">
                  <a:txBody>
                    <a:bodyPr/>
                    <a:lstStyle/>
                    <a:p>
                      <a:endParaRPr lang="en-US">
                        <a:latin typeface="Aptos" panose="020B0004020202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endParaRPr lang="en-US">
                        <a:latin typeface="Aptos" panose="020B0004020202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endParaRPr lang="en-US">
                        <a:latin typeface="Aptos" panose="020B0004020202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endParaRPr lang="en-US">
                        <a:latin typeface="Aptos" panose="020B0004020202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endParaRPr lang="en-US">
                        <a:latin typeface="Aptos" panose="020B0004020202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08422529"/>
                  </a:ext>
                </a:extLst>
              </a:tr>
              <a:tr h="118549">
                <a:tc gridSpan="2" vMerge="1">
                  <a:txBody>
                    <a:bodyPr/>
                    <a:lstStyle/>
                    <a:p>
                      <a:pPr marL="0" marR="0" lvl="0" indent="0" algn="l">
                        <a:lnSpc>
                          <a:spcPct val="100000"/>
                        </a:lnSpc>
                        <a:spcBef>
                          <a:spcPts val="0"/>
                        </a:spcBef>
                        <a:spcAft>
                          <a:spcPts val="0"/>
                        </a:spcAft>
                        <a:buNone/>
                      </a:pPr>
                      <a:endParaRPr lang="en-US" sz="800" b="0" i="0" u="none" strike="noStrike" noProof="0">
                        <a:solidFill>
                          <a:schemeClr val="tx1"/>
                        </a:solidFill>
                        <a:latin typeface="Aptos Narrow"/>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hMerge="1" vMerge="1">
                  <a:txBody>
                    <a:bodyPr/>
                    <a:lstStyle/>
                    <a:p>
                      <a:endParaRPr kumimoji="1" lang="ja-JP" altLang="en-US"/>
                    </a:p>
                  </a:txBody>
                  <a:tcPr/>
                </a:tc>
                <a:tc gridSpan="3">
                  <a:txBody>
                    <a:bodyPr/>
                    <a:lstStyle/>
                    <a:p>
                      <a:endParaRPr lang="en-US" sz="1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solidFill>
                      <a:schemeClr val="bg1">
                        <a:lumMod val="50000"/>
                      </a:schemeClr>
                    </a:solidFill>
                  </a:tcPr>
                </a:tc>
                <a:tc hMerge="1">
                  <a:txBody>
                    <a:bodyPr/>
                    <a:lstStyle/>
                    <a:p>
                      <a:endParaRPr lang="en-US" sz="100">
                        <a:latin typeface="Aptos Narrow" panose="020B0004020202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endParaRPr lang="en-US" sz="100">
                        <a:latin typeface="Aptos Narrow" panose="020B0004020202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endParaRPr lang="en-US" sz="1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solidFill>
                      <a:schemeClr val="bg1">
                        <a:lumMod val="50000"/>
                      </a:schemeClr>
                    </a:solidFill>
                  </a:tcPr>
                </a:tc>
                <a:tc hMerge="1">
                  <a:txBody>
                    <a:bodyPr/>
                    <a:lstStyle/>
                    <a:p>
                      <a:endParaRPr lang="en-US" sz="100">
                        <a:latin typeface="Aptos Narrow" panose="020B0004020202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endParaRPr lang="en-US" sz="100">
                        <a:latin typeface="Aptos Narrow" panose="020B0004020202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24735631"/>
                  </a:ext>
                </a:extLst>
              </a:tr>
              <a:tr h="118549">
                <a:tc gridSpan="2" vMerge="1">
                  <a:txBody>
                    <a:bodyPr/>
                    <a:lstStyle/>
                    <a:p>
                      <a:endParaRPr kumimoji="1" lang="ja-JP" altLang="en-US"/>
                    </a:p>
                  </a:txBody>
                  <a:tcPr/>
                </a:tc>
                <a:tc hMerge="1" vMerge="1">
                  <a:txBody>
                    <a:bodyPr/>
                    <a:lstStyle/>
                    <a:p>
                      <a:endParaRPr kumimoji="1" lang="ja-JP" altLang="en-US"/>
                    </a:p>
                  </a:txBody>
                  <a:tcPr/>
                </a:tc>
                <a:tc>
                  <a:txBody>
                    <a:bodyPr/>
                    <a:lstStyle/>
                    <a:p>
                      <a:pPr algn="ctr"/>
                      <a:endParaRPr lang="en-US" sz="1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solidFill>
                      <a:schemeClr val="bg1">
                        <a:lumMod val="90000"/>
                      </a:schemeClr>
                    </a:solidFill>
                  </a:tcPr>
                </a:tc>
                <a:tc>
                  <a:txBody>
                    <a:bodyPr/>
                    <a:lstStyle/>
                    <a:p>
                      <a:endParaRPr lang="en-US" sz="1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solidFill>
                      <a:schemeClr val="bg1">
                        <a:lumMod val="90000"/>
                      </a:schemeClr>
                    </a:solidFill>
                  </a:tcPr>
                </a:tc>
                <a:tc>
                  <a:txBody>
                    <a:bodyPr/>
                    <a:lstStyle/>
                    <a:p>
                      <a:endParaRPr lang="en-US" sz="1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solidFill>
                      <a:schemeClr val="bg1">
                        <a:lumMod val="90000"/>
                      </a:schemeClr>
                    </a:solidFill>
                  </a:tcPr>
                </a:tc>
                <a:tc>
                  <a:txBody>
                    <a:bodyPr/>
                    <a:lstStyle/>
                    <a:p>
                      <a:endParaRPr lang="en-US" sz="1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solidFill>
                      <a:schemeClr val="bg1">
                        <a:lumMod val="90000"/>
                      </a:schemeClr>
                    </a:solidFill>
                  </a:tcPr>
                </a:tc>
                <a:tc>
                  <a:txBody>
                    <a:bodyPr/>
                    <a:lstStyle/>
                    <a:p>
                      <a:endParaRPr lang="en-US" sz="1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solidFill>
                      <a:schemeClr val="bg1">
                        <a:lumMod val="90000"/>
                      </a:schemeClr>
                    </a:solidFill>
                  </a:tcPr>
                </a:tc>
                <a:tc>
                  <a:txBody>
                    <a:bodyPr/>
                    <a:lstStyle/>
                    <a:p>
                      <a:endParaRPr lang="en-US" sz="1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solidFill>
                      <a:schemeClr val="bg1">
                        <a:lumMod val="90000"/>
                      </a:schemeClr>
                    </a:solidFill>
                  </a:tcPr>
                </a:tc>
                <a:extLst>
                  <a:ext uri="{0D108BD9-81ED-4DB2-BD59-A6C34878D82A}">
                    <a16:rowId xmlns:a16="http://schemas.microsoft.com/office/drawing/2014/main" val="646624232"/>
                  </a:ext>
                </a:extLst>
              </a:tr>
              <a:tr h="774311">
                <a:tc>
                  <a:txBody>
                    <a:bodyPr/>
                    <a:lstStyle/>
                    <a:p>
                      <a:pPr marL="0" marR="0" lvl="0" indent="0" algn="l">
                        <a:lnSpc>
                          <a:spcPct val="100000"/>
                        </a:lnSpc>
                        <a:spcBef>
                          <a:spcPts val="0"/>
                        </a:spcBef>
                        <a:spcAft>
                          <a:spcPts val="0"/>
                        </a:spcAft>
                        <a:buNone/>
                      </a:pPr>
                      <a:endParaRPr lang="en-US" sz="400" b="0" i="0" u="none" strike="noStrike" noProof="0">
                        <a:solidFill>
                          <a:schemeClr val="tx1"/>
                        </a:solidFill>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solidFill>
                        <a:schemeClr val="bg1">
                          <a:lumMod val="25000"/>
                        </a:schemeClr>
                      </a:solid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4086261336"/>
                  </a:ext>
                </a:extLst>
              </a:tr>
              <a:tr h="774311">
                <a:tc>
                  <a:txBody>
                    <a:bodyPr/>
                    <a:lstStyle/>
                    <a:p>
                      <a:endParaRPr lang="en-US" sz="4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lvl="0">
                        <a:buNone/>
                      </a:pPr>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1831517425"/>
                  </a:ext>
                </a:extLst>
              </a:tr>
              <a:tr h="774311">
                <a:tc>
                  <a:txBody>
                    <a:bodyPr/>
                    <a:lstStyle/>
                    <a:p>
                      <a:endParaRPr lang="en-US" sz="4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lvl="0">
                        <a:buNone/>
                      </a:pPr>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1766039612"/>
                  </a:ext>
                </a:extLst>
              </a:tr>
              <a:tr h="774311">
                <a:tc>
                  <a:txBody>
                    <a:bodyPr/>
                    <a:lstStyle/>
                    <a:p>
                      <a:endParaRPr lang="en-US" sz="4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lvl="0">
                        <a:buNone/>
                      </a:pPr>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4056353632"/>
                  </a:ext>
                </a:extLst>
              </a:tr>
              <a:tr h="774311">
                <a:tc>
                  <a:txBody>
                    <a:bodyPr/>
                    <a:lstStyle/>
                    <a:p>
                      <a:endParaRPr lang="en-US" sz="4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lvl="0">
                        <a:buNone/>
                      </a:pPr>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2570046427"/>
                  </a:ext>
                </a:extLst>
              </a:tr>
              <a:tr h="774311">
                <a:tc>
                  <a:txBody>
                    <a:bodyPr/>
                    <a:lstStyle/>
                    <a:p>
                      <a:endParaRPr lang="en-US" sz="4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215087133"/>
                  </a:ext>
                </a:extLst>
              </a:tr>
              <a:tr h="774311">
                <a:tc>
                  <a:txBody>
                    <a:bodyPr/>
                    <a:lstStyle/>
                    <a:p>
                      <a:endParaRPr lang="en-US" sz="4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lvl="0">
                        <a:buNone/>
                      </a:pPr>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3308486038"/>
                  </a:ext>
                </a:extLst>
              </a:tr>
              <a:tr h="774311">
                <a:tc>
                  <a:txBody>
                    <a:bodyPr/>
                    <a:lstStyle/>
                    <a:p>
                      <a:endParaRPr lang="en-US" sz="400">
                        <a:latin typeface="Aptos Narrow" panose="020B0004020202020204" pitchFamily="34" charset="0"/>
                      </a:endParaRPr>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noFill/>
                  </a:tcPr>
                </a:tc>
                <a:tc>
                  <a:txBody>
                    <a:bodyPr/>
                    <a:lstStyle/>
                    <a:p>
                      <a:endParaRPr lang="en-US"/>
                    </a:p>
                  </a:txBody>
                  <a:tcPr>
                    <a:lnL w="3175" cap="flat" cmpd="sng" algn="ctr">
                      <a:solidFill>
                        <a:schemeClr val="bg1">
                          <a:lumMod val="25000"/>
                        </a:schemeClr>
                      </a:solidFill>
                      <a:prstDash val="solid"/>
                      <a:round/>
                      <a:headEnd type="none" w="med" len="med"/>
                      <a:tailEnd type="none" w="med" len="med"/>
                    </a:lnL>
                    <a:lnR w="3175" cap="flat" cmpd="sng" algn="ctr">
                      <a:solidFill>
                        <a:schemeClr val="bg1">
                          <a:lumMod val="2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25000"/>
                        </a:schemeClr>
                      </a:solidFill>
                      <a:prstDash val="solid"/>
                      <a:round/>
                      <a:headEnd type="none" w="med" len="med"/>
                      <a:tailEnd type="none" w="med" len="med"/>
                    </a:lnB>
                    <a:noFill/>
                  </a:tcPr>
                </a:tc>
                <a:extLst>
                  <a:ext uri="{0D108BD9-81ED-4DB2-BD59-A6C34878D82A}">
                    <a16:rowId xmlns:a16="http://schemas.microsoft.com/office/drawing/2014/main" val="2451695256"/>
                  </a:ext>
                </a:extLst>
              </a:tr>
            </a:tbl>
          </a:graphicData>
        </a:graphic>
      </p:graphicFrame>
      <p:pic>
        <p:nvPicPr>
          <p:cNvPr id="8" name="Google Shape;373;p62">
            <a:extLst>
              <a:ext uri="{FF2B5EF4-FFF2-40B4-BE49-F238E27FC236}">
                <a16:creationId xmlns:a16="http://schemas.microsoft.com/office/drawing/2014/main" id="{6BEC044E-2C15-47FB-BA5E-06089E7DB7CC}"/>
              </a:ext>
            </a:extLst>
          </p:cNvPr>
          <p:cNvPicPr preferRelativeResize="0"/>
          <p:nvPr userDrawn="1"/>
        </p:nvPicPr>
        <p:blipFill rotWithShape="1">
          <a:blip r:embed="rId2">
            <a:alphaModFix/>
          </a:blip>
          <a:srcRect l="16363" t="37039" r="36379" b="44894"/>
          <a:stretch/>
        </p:blipFill>
        <p:spPr>
          <a:xfrm>
            <a:off x="257571" y="127148"/>
            <a:ext cx="936671" cy="358100"/>
          </a:xfrm>
          <a:prstGeom prst="rect">
            <a:avLst/>
          </a:prstGeom>
          <a:noFill/>
          <a:ln>
            <a:noFill/>
          </a:ln>
        </p:spPr>
      </p:pic>
      <p:sp>
        <p:nvSpPr>
          <p:cNvPr id="3" name="正方形/長方形 2">
            <a:extLst>
              <a:ext uri="{FF2B5EF4-FFF2-40B4-BE49-F238E27FC236}">
                <a16:creationId xmlns:a16="http://schemas.microsoft.com/office/drawing/2014/main" id="{45264F4E-A355-379A-647F-347A6B8CAD94}"/>
              </a:ext>
            </a:extLst>
          </p:cNvPr>
          <p:cNvSpPr/>
          <p:nvPr userDrawn="1"/>
        </p:nvSpPr>
        <p:spPr>
          <a:xfrm>
            <a:off x="1386950" y="447945"/>
            <a:ext cx="1790033" cy="107950"/>
          </a:xfrm>
          <a:prstGeom prst="rect">
            <a:avLst/>
          </a:prstGeom>
          <a:no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b="0">
                <a:solidFill>
                  <a:schemeClr val="tx1"/>
                </a:solidFill>
                <a:latin typeface="Calibri" panose="020F0502020204030204" pitchFamily="34" charset="0"/>
                <a:cs typeface="Calibri" panose="020F0502020204030204" pitchFamily="34" charset="0"/>
              </a:rPr>
              <a:t>DEC</a:t>
            </a:r>
            <a:endParaRPr kumimoji="1" lang="ja-JP" altLang="en-US" sz="800" b="0">
              <a:solidFill>
                <a:schemeClr val="tx1"/>
              </a:solidFill>
              <a:latin typeface="Calibri" panose="020F0502020204030204" pitchFamily="34" charset="0"/>
              <a:cs typeface="Calibri" panose="020F0502020204030204" pitchFamily="34" charset="0"/>
            </a:endParaRPr>
          </a:p>
        </p:txBody>
      </p:sp>
      <p:sp>
        <p:nvSpPr>
          <p:cNvPr id="19" name="正方形/長方形 18">
            <a:extLst>
              <a:ext uri="{FF2B5EF4-FFF2-40B4-BE49-F238E27FC236}">
                <a16:creationId xmlns:a16="http://schemas.microsoft.com/office/drawing/2014/main" id="{6F9F7720-B19C-4B83-4819-4AEC7AC2CCFA}"/>
              </a:ext>
            </a:extLst>
          </p:cNvPr>
          <p:cNvSpPr/>
          <p:nvPr userDrawn="1"/>
        </p:nvSpPr>
        <p:spPr>
          <a:xfrm>
            <a:off x="3171158" y="447947"/>
            <a:ext cx="1790033" cy="107950"/>
          </a:xfrm>
          <a:prstGeom prst="rect">
            <a:avLst/>
          </a:prstGeom>
          <a:no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b="0">
                <a:solidFill>
                  <a:schemeClr val="tx1"/>
                </a:solidFill>
                <a:latin typeface="Calibri" panose="020F0502020204030204" pitchFamily="34" charset="0"/>
                <a:cs typeface="Calibri" panose="020F0502020204030204" pitchFamily="34" charset="0"/>
              </a:rPr>
              <a:t>JAN</a:t>
            </a:r>
            <a:endParaRPr kumimoji="1" lang="ja-JP" altLang="en-US" sz="800" b="0">
              <a:solidFill>
                <a:schemeClr val="tx1"/>
              </a:solidFill>
              <a:latin typeface="Calibri" panose="020F0502020204030204" pitchFamily="34" charset="0"/>
              <a:cs typeface="Calibri" panose="020F0502020204030204" pitchFamily="34" charset="0"/>
            </a:endParaRPr>
          </a:p>
        </p:txBody>
      </p:sp>
      <p:sp>
        <p:nvSpPr>
          <p:cNvPr id="20" name="正方形/長方形 19">
            <a:extLst>
              <a:ext uri="{FF2B5EF4-FFF2-40B4-BE49-F238E27FC236}">
                <a16:creationId xmlns:a16="http://schemas.microsoft.com/office/drawing/2014/main" id="{D150571D-8B17-C6E8-093F-CFBF961F300D}"/>
              </a:ext>
            </a:extLst>
          </p:cNvPr>
          <p:cNvSpPr/>
          <p:nvPr userDrawn="1"/>
        </p:nvSpPr>
        <p:spPr>
          <a:xfrm>
            <a:off x="4961188" y="447946"/>
            <a:ext cx="1790033" cy="107950"/>
          </a:xfrm>
          <a:prstGeom prst="rect">
            <a:avLst/>
          </a:prstGeom>
          <a:no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b="0">
                <a:solidFill>
                  <a:schemeClr val="tx1"/>
                </a:solidFill>
                <a:latin typeface="Calibri" panose="020F0502020204030204" pitchFamily="34" charset="0"/>
                <a:cs typeface="Calibri" panose="020F0502020204030204" pitchFamily="34" charset="0"/>
              </a:rPr>
              <a:t>FEB</a:t>
            </a:r>
            <a:endParaRPr kumimoji="1" lang="ja-JP" altLang="en-US" sz="800" b="0">
              <a:solidFill>
                <a:schemeClr val="tx1"/>
              </a:solidFill>
              <a:latin typeface="Calibri" panose="020F0502020204030204" pitchFamily="34" charset="0"/>
              <a:cs typeface="Calibri" panose="020F0502020204030204" pitchFamily="34" charset="0"/>
            </a:endParaRPr>
          </a:p>
        </p:txBody>
      </p:sp>
      <p:sp>
        <p:nvSpPr>
          <p:cNvPr id="21" name="正方形/長方形 20">
            <a:extLst>
              <a:ext uri="{FF2B5EF4-FFF2-40B4-BE49-F238E27FC236}">
                <a16:creationId xmlns:a16="http://schemas.microsoft.com/office/drawing/2014/main" id="{8CE35FD1-C0D1-A6E5-A69E-66A86EAB084F}"/>
              </a:ext>
            </a:extLst>
          </p:cNvPr>
          <p:cNvSpPr/>
          <p:nvPr userDrawn="1"/>
        </p:nvSpPr>
        <p:spPr>
          <a:xfrm>
            <a:off x="6751222" y="447946"/>
            <a:ext cx="1790033" cy="107950"/>
          </a:xfrm>
          <a:prstGeom prst="rect">
            <a:avLst/>
          </a:prstGeom>
          <a:no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b="0">
                <a:solidFill>
                  <a:schemeClr val="tx1"/>
                </a:solidFill>
                <a:latin typeface="Calibri" panose="020F0502020204030204" pitchFamily="34" charset="0"/>
                <a:cs typeface="Calibri" panose="020F0502020204030204" pitchFamily="34" charset="0"/>
              </a:rPr>
              <a:t>MAR</a:t>
            </a:r>
            <a:endParaRPr kumimoji="1" lang="ja-JP" altLang="en-US" sz="800" b="0">
              <a:solidFill>
                <a:schemeClr val="tx1"/>
              </a:solidFill>
              <a:latin typeface="Calibri" panose="020F0502020204030204" pitchFamily="34" charset="0"/>
              <a:cs typeface="Calibri" panose="020F0502020204030204" pitchFamily="34" charset="0"/>
            </a:endParaRPr>
          </a:p>
        </p:txBody>
      </p:sp>
      <p:sp>
        <p:nvSpPr>
          <p:cNvPr id="22" name="正方形/長方形 21">
            <a:extLst>
              <a:ext uri="{FF2B5EF4-FFF2-40B4-BE49-F238E27FC236}">
                <a16:creationId xmlns:a16="http://schemas.microsoft.com/office/drawing/2014/main" id="{CB8E22B0-DD2A-B10F-1C5B-CAE876B3FDB9}"/>
              </a:ext>
            </a:extLst>
          </p:cNvPr>
          <p:cNvSpPr/>
          <p:nvPr userDrawn="1"/>
        </p:nvSpPr>
        <p:spPr>
          <a:xfrm>
            <a:off x="8541253" y="447945"/>
            <a:ext cx="1790033" cy="107950"/>
          </a:xfrm>
          <a:prstGeom prst="rect">
            <a:avLst/>
          </a:prstGeom>
          <a:no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b="0">
                <a:solidFill>
                  <a:schemeClr val="tx1"/>
                </a:solidFill>
                <a:latin typeface="Calibri" panose="020F0502020204030204" pitchFamily="34" charset="0"/>
                <a:cs typeface="Calibri" panose="020F0502020204030204" pitchFamily="34" charset="0"/>
              </a:rPr>
              <a:t>APR</a:t>
            </a:r>
            <a:endParaRPr kumimoji="1" lang="ja-JP" altLang="en-US" sz="800" b="0">
              <a:solidFill>
                <a:schemeClr val="tx1"/>
              </a:solidFill>
              <a:latin typeface="Calibri" panose="020F0502020204030204" pitchFamily="34" charset="0"/>
              <a:cs typeface="Calibri" panose="020F0502020204030204" pitchFamily="34" charset="0"/>
            </a:endParaRPr>
          </a:p>
        </p:txBody>
      </p:sp>
      <p:sp>
        <p:nvSpPr>
          <p:cNvPr id="23" name="正方形/長方形 22">
            <a:extLst>
              <a:ext uri="{FF2B5EF4-FFF2-40B4-BE49-F238E27FC236}">
                <a16:creationId xmlns:a16="http://schemas.microsoft.com/office/drawing/2014/main" id="{D395FACF-A7ED-1B95-2BC3-5AE3F606AA4C}"/>
              </a:ext>
            </a:extLst>
          </p:cNvPr>
          <p:cNvSpPr/>
          <p:nvPr userDrawn="1"/>
        </p:nvSpPr>
        <p:spPr>
          <a:xfrm>
            <a:off x="10331284" y="447945"/>
            <a:ext cx="1790033" cy="107950"/>
          </a:xfrm>
          <a:prstGeom prst="rect">
            <a:avLst/>
          </a:prstGeom>
          <a:no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b="0">
                <a:solidFill>
                  <a:schemeClr val="tx1"/>
                </a:solidFill>
                <a:latin typeface="Calibri" panose="020F0502020204030204" pitchFamily="34" charset="0"/>
                <a:cs typeface="Calibri" panose="020F0502020204030204" pitchFamily="34" charset="0"/>
              </a:rPr>
              <a:t>MAY</a:t>
            </a:r>
            <a:endParaRPr kumimoji="1" lang="ja-JP" altLang="en-US" sz="800" b="0">
              <a:solidFill>
                <a:schemeClr val="tx1"/>
              </a:solidFill>
              <a:latin typeface="Calibri" panose="020F0502020204030204" pitchFamily="34" charset="0"/>
              <a:cs typeface="Calibri" panose="020F0502020204030204" pitchFamily="34" charset="0"/>
            </a:endParaRPr>
          </a:p>
        </p:txBody>
      </p:sp>
      <p:sp>
        <p:nvSpPr>
          <p:cNvPr id="25" name="正方形/長方形 24">
            <a:extLst>
              <a:ext uri="{FF2B5EF4-FFF2-40B4-BE49-F238E27FC236}">
                <a16:creationId xmlns:a16="http://schemas.microsoft.com/office/drawing/2014/main" id="{6ADDC43A-CBD3-DA9D-8657-23022BD354F5}"/>
              </a:ext>
            </a:extLst>
          </p:cNvPr>
          <p:cNvSpPr/>
          <p:nvPr userDrawn="1"/>
        </p:nvSpPr>
        <p:spPr>
          <a:xfrm>
            <a:off x="1371266" y="-1247777"/>
            <a:ext cx="5370094" cy="107950"/>
          </a:xfrm>
          <a:prstGeom prst="rect">
            <a:avLst/>
          </a:prstGeom>
          <a:solidFill>
            <a:schemeClr val="tx1">
              <a:lumMod val="75000"/>
              <a:lumOff val="25000"/>
            </a:schemeClr>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latin typeface="Calibri" panose="020F0502020204030204" pitchFamily="34" charset="0"/>
                <a:cs typeface="Calibri" panose="020F0502020204030204" pitchFamily="34" charset="0"/>
              </a:rPr>
              <a:t>Q1</a:t>
            </a:r>
            <a:endParaRPr kumimoji="1" lang="ja-JP" altLang="en-US" sz="800">
              <a:latin typeface="Calibri" panose="020F0502020204030204" pitchFamily="34" charset="0"/>
              <a:cs typeface="Calibri" panose="020F0502020204030204" pitchFamily="34" charset="0"/>
            </a:endParaRPr>
          </a:p>
        </p:txBody>
      </p:sp>
      <p:sp>
        <p:nvSpPr>
          <p:cNvPr id="26" name="正方形/長方形 25">
            <a:extLst>
              <a:ext uri="{FF2B5EF4-FFF2-40B4-BE49-F238E27FC236}">
                <a16:creationId xmlns:a16="http://schemas.microsoft.com/office/drawing/2014/main" id="{1C7F5035-418B-57C4-119F-D46A93164113}"/>
              </a:ext>
            </a:extLst>
          </p:cNvPr>
          <p:cNvSpPr/>
          <p:nvPr userDrawn="1"/>
        </p:nvSpPr>
        <p:spPr>
          <a:xfrm>
            <a:off x="6751221" y="329348"/>
            <a:ext cx="5370094" cy="107950"/>
          </a:xfrm>
          <a:prstGeom prst="rect">
            <a:avLst/>
          </a:prstGeom>
          <a:no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latin typeface="Calibri" panose="020F0502020204030204" pitchFamily="34" charset="0"/>
                <a:cs typeface="Calibri" panose="020F0502020204030204" pitchFamily="34" charset="0"/>
              </a:rPr>
              <a:t>Q2</a:t>
            </a:r>
            <a:endParaRPr kumimoji="1" lang="ja-JP" altLang="en-US" sz="800">
              <a:latin typeface="Calibri" panose="020F0502020204030204" pitchFamily="34" charset="0"/>
              <a:cs typeface="Calibri" panose="020F0502020204030204" pitchFamily="34" charset="0"/>
            </a:endParaRPr>
          </a:p>
        </p:txBody>
      </p:sp>
      <p:sp>
        <p:nvSpPr>
          <p:cNvPr id="2" name="Slide Number Placeholder 5">
            <a:extLst>
              <a:ext uri="{FF2B5EF4-FFF2-40B4-BE49-F238E27FC236}">
                <a16:creationId xmlns:a16="http://schemas.microsoft.com/office/drawing/2014/main" id="{3CE71D64-C1FF-8C5F-DE4F-60F8D1A12BE7}"/>
              </a:ext>
            </a:extLst>
          </p:cNvPr>
          <p:cNvSpPr>
            <a:spLocks noGrp="1"/>
          </p:cNvSpPr>
          <p:nvPr>
            <p:ph type="sldNum" sz="quarter" idx="4"/>
          </p:nvPr>
        </p:nvSpPr>
        <p:spPr>
          <a:xfrm>
            <a:off x="9351764" y="101080"/>
            <a:ext cx="2743200" cy="228268"/>
          </a:xfrm>
          <a:prstGeom prst="rect">
            <a:avLst/>
          </a:prstGeom>
        </p:spPr>
        <p:txBody>
          <a:bodyPr vert="horz" lIns="0" tIns="0" rIns="0" bIns="0" rtlCol="0" anchor="b" anchorCtr="0"/>
          <a:lstStyle>
            <a:lvl1pPr algn="r">
              <a:defRPr sz="800">
                <a:solidFill>
                  <a:schemeClr val="tx1"/>
                </a:solidFill>
                <a:latin typeface="Aptos" panose="020B0004020202020204" pitchFamily="34" charset="0"/>
                <a:cs typeface="Calibri" panose="020F0502020204030204" pitchFamily="34" charset="0"/>
              </a:defRPr>
            </a:lvl1pPr>
          </a:lstStyle>
          <a:p>
            <a:fld id="{51AF2DE1-86B9-1246-84AA-50442F04AF74}" type="slidenum">
              <a:rPr kumimoji="1" lang="ja-JP" altLang="en-US" smtClean="0"/>
              <a:pPr/>
              <a:t>‹#›</a:t>
            </a:fld>
            <a:endParaRPr kumimoji="1" lang="ja-JP" altLang="en-US"/>
          </a:p>
        </p:txBody>
      </p:sp>
      <p:sp>
        <p:nvSpPr>
          <p:cNvPr id="4" name="Title 1">
            <a:extLst>
              <a:ext uri="{FF2B5EF4-FFF2-40B4-BE49-F238E27FC236}">
                <a16:creationId xmlns:a16="http://schemas.microsoft.com/office/drawing/2014/main" id="{7B357C7E-3E9B-1425-E28D-27BD98E95811}"/>
              </a:ext>
            </a:extLst>
          </p:cNvPr>
          <p:cNvSpPr>
            <a:spLocks noGrp="1"/>
          </p:cNvSpPr>
          <p:nvPr>
            <p:ph type="title" hasCustomPrompt="1"/>
          </p:nvPr>
        </p:nvSpPr>
        <p:spPr>
          <a:xfrm>
            <a:off x="1444724" y="112825"/>
            <a:ext cx="7106957" cy="218643"/>
          </a:xfrm>
          <a:prstGeom prst="rect">
            <a:avLst/>
          </a:prstGeom>
        </p:spPr>
        <p:txBody>
          <a:bodyPr anchor="ctr"/>
          <a:lstStyle>
            <a:lvl1pPr algn="l">
              <a:lnSpc>
                <a:spcPct val="85000"/>
              </a:lnSpc>
              <a:defRPr sz="1400" cap="all" spc="0" baseline="0">
                <a:solidFill>
                  <a:schemeClr val="tx1"/>
                </a:solidFill>
              </a:defRPr>
            </a:lvl1pPr>
          </a:lstStyle>
          <a:p>
            <a:r>
              <a:rPr lang="en-US"/>
              <a:t>ITEM NAME</a:t>
            </a:r>
          </a:p>
        </p:txBody>
      </p:sp>
      <p:sp>
        <p:nvSpPr>
          <p:cNvPr id="6" name="正方形/長方形 5">
            <a:extLst>
              <a:ext uri="{FF2B5EF4-FFF2-40B4-BE49-F238E27FC236}">
                <a16:creationId xmlns:a16="http://schemas.microsoft.com/office/drawing/2014/main" id="{C9325418-1C45-6A5C-5ECA-F14B9DBB9892}"/>
              </a:ext>
            </a:extLst>
          </p:cNvPr>
          <p:cNvSpPr/>
          <p:nvPr userDrawn="1"/>
        </p:nvSpPr>
        <p:spPr>
          <a:xfrm>
            <a:off x="1381127" y="329348"/>
            <a:ext cx="5370094" cy="107950"/>
          </a:xfrm>
          <a:prstGeom prst="rect">
            <a:avLst/>
          </a:prstGeom>
          <a:no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latin typeface="Calibri" panose="020F0502020204030204" pitchFamily="34" charset="0"/>
                <a:cs typeface="Calibri" panose="020F0502020204030204" pitchFamily="34" charset="0"/>
              </a:rPr>
              <a:t>Q1</a:t>
            </a:r>
            <a:endParaRPr kumimoji="1" lang="ja-JP" altLang="en-US" sz="80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136049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42" name="正方形/長方形 41">
            <a:extLst>
              <a:ext uri="{FF2B5EF4-FFF2-40B4-BE49-F238E27FC236}">
                <a16:creationId xmlns:a16="http://schemas.microsoft.com/office/drawing/2014/main" id="{0D0E1738-9372-7B8E-B40F-768BE40EE53F}"/>
              </a:ext>
            </a:extLst>
          </p:cNvPr>
          <p:cNvSpPr/>
          <p:nvPr userDrawn="1"/>
        </p:nvSpPr>
        <p:spPr>
          <a:xfrm>
            <a:off x="4961173" y="542922"/>
            <a:ext cx="1790033" cy="6226147"/>
          </a:xfrm>
          <a:prstGeom prst="rect">
            <a:avLst/>
          </a:prstGeom>
          <a:solidFill>
            <a:schemeClr val="bg1"/>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正方形/長方形 35">
            <a:extLst>
              <a:ext uri="{FF2B5EF4-FFF2-40B4-BE49-F238E27FC236}">
                <a16:creationId xmlns:a16="http://schemas.microsoft.com/office/drawing/2014/main" id="{F542801A-322E-8EB8-1B51-EDA967E10C80}"/>
              </a:ext>
            </a:extLst>
          </p:cNvPr>
          <p:cNvSpPr/>
          <p:nvPr userDrawn="1"/>
        </p:nvSpPr>
        <p:spPr>
          <a:xfrm>
            <a:off x="87411" y="72207"/>
            <a:ext cx="1290938" cy="470712"/>
          </a:xfrm>
          <a:prstGeom prst="rect">
            <a:avLst/>
          </a:prstGeom>
          <a:solidFill>
            <a:schemeClr val="bg1"/>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8" name="Google Shape;373;p62">
            <a:extLst>
              <a:ext uri="{FF2B5EF4-FFF2-40B4-BE49-F238E27FC236}">
                <a16:creationId xmlns:a16="http://schemas.microsoft.com/office/drawing/2014/main" id="{6BEC044E-2C15-47FB-BA5E-06089E7DB7CC}"/>
              </a:ext>
            </a:extLst>
          </p:cNvPr>
          <p:cNvPicPr preferRelativeResize="0"/>
          <p:nvPr userDrawn="1"/>
        </p:nvPicPr>
        <p:blipFill rotWithShape="1">
          <a:blip r:embed="rId2" cstate="screen">
            <a:alphaModFix/>
            <a:extLst>
              <a:ext uri="{28A0092B-C50C-407E-A947-70E740481C1C}">
                <a14:useLocalDpi xmlns:a14="http://schemas.microsoft.com/office/drawing/2010/main"/>
              </a:ext>
            </a:extLst>
          </a:blip>
          <a:srcRect/>
          <a:stretch/>
        </p:blipFill>
        <p:spPr>
          <a:xfrm>
            <a:off x="277852" y="136331"/>
            <a:ext cx="936671" cy="358100"/>
          </a:xfrm>
          <a:prstGeom prst="rect">
            <a:avLst/>
          </a:prstGeom>
          <a:noFill/>
          <a:ln>
            <a:noFill/>
          </a:ln>
        </p:spPr>
      </p:pic>
      <p:sp>
        <p:nvSpPr>
          <p:cNvPr id="3" name="正方形/長方形 2">
            <a:extLst>
              <a:ext uri="{FF2B5EF4-FFF2-40B4-BE49-F238E27FC236}">
                <a16:creationId xmlns:a16="http://schemas.microsoft.com/office/drawing/2014/main" id="{45264F4E-A355-379A-647F-347A6B8CAD94}"/>
              </a:ext>
            </a:extLst>
          </p:cNvPr>
          <p:cNvSpPr/>
          <p:nvPr userDrawn="1"/>
        </p:nvSpPr>
        <p:spPr>
          <a:xfrm>
            <a:off x="1381125" y="434975"/>
            <a:ext cx="1790033" cy="107950"/>
          </a:xfrm>
          <a:prstGeom prst="rect">
            <a:avLst/>
          </a:prstGeom>
          <a:solidFill>
            <a:schemeClr val="bg1">
              <a:lumMod val="75000"/>
            </a:schemeClr>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b="0">
                <a:solidFill>
                  <a:schemeClr val="tx1"/>
                </a:solidFill>
                <a:latin typeface="Calibri" panose="020F0502020204030204" pitchFamily="34" charset="0"/>
                <a:cs typeface="Calibri" panose="020F0502020204030204" pitchFamily="34" charset="0"/>
              </a:rPr>
              <a:t>DEC</a:t>
            </a:r>
            <a:endParaRPr kumimoji="1" lang="ja-JP" altLang="en-US" sz="800" b="0">
              <a:solidFill>
                <a:schemeClr val="tx1"/>
              </a:solidFill>
              <a:latin typeface="Calibri" panose="020F0502020204030204" pitchFamily="34" charset="0"/>
              <a:cs typeface="Calibri" panose="020F0502020204030204" pitchFamily="34" charset="0"/>
            </a:endParaRPr>
          </a:p>
        </p:txBody>
      </p:sp>
      <p:sp>
        <p:nvSpPr>
          <p:cNvPr id="19" name="正方形/長方形 18">
            <a:extLst>
              <a:ext uri="{FF2B5EF4-FFF2-40B4-BE49-F238E27FC236}">
                <a16:creationId xmlns:a16="http://schemas.microsoft.com/office/drawing/2014/main" id="{6F9F7720-B19C-4B83-4819-4AEC7AC2CCFA}"/>
              </a:ext>
            </a:extLst>
          </p:cNvPr>
          <p:cNvSpPr/>
          <p:nvPr userDrawn="1"/>
        </p:nvSpPr>
        <p:spPr>
          <a:xfrm>
            <a:off x="3171158" y="434975"/>
            <a:ext cx="1790033" cy="107950"/>
          </a:xfrm>
          <a:prstGeom prst="rect">
            <a:avLst/>
          </a:prstGeom>
          <a:solidFill>
            <a:schemeClr val="bg1">
              <a:lumMod val="75000"/>
            </a:schemeClr>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b="0">
                <a:solidFill>
                  <a:schemeClr val="tx1"/>
                </a:solidFill>
                <a:latin typeface="Calibri" panose="020F0502020204030204" pitchFamily="34" charset="0"/>
                <a:cs typeface="Calibri" panose="020F0502020204030204" pitchFamily="34" charset="0"/>
              </a:rPr>
              <a:t>JAN</a:t>
            </a:r>
            <a:endParaRPr kumimoji="1" lang="ja-JP" altLang="en-US" sz="800" b="0">
              <a:solidFill>
                <a:schemeClr val="tx1"/>
              </a:solidFill>
              <a:latin typeface="Calibri" panose="020F0502020204030204" pitchFamily="34" charset="0"/>
              <a:cs typeface="Calibri" panose="020F0502020204030204" pitchFamily="34" charset="0"/>
            </a:endParaRPr>
          </a:p>
        </p:txBody>
      </p:sp>
      <p:sp>
        <p:nvSpPr>
          <p:cNvPr id="20" name="正方形/長方形 19">
            <a:extLst>
              <a:ext uri="{FF2B5EF4-FFF2-40B4-BE49-F238E27FC236}">
                <a16:creationId xmlns:a16="http://schemas.microsoft.com/office/drawing/2014/main" id="{D150571D-8B17-C6E8-093F-CFBF961F300D}"/>
              </a:ext>
            </a:extLst>
          </p:cNvPr>
          <p:cNvSpPr/>
          <p:nvPr userDrawn="1"/>
        </p:nvSpPr>
        <p:spPr>
          <a:xfrm>
            <a:off x="4961188" y="434974"/>
            <a:ext cx="1790033" cy="107950"/>
          </a:xfrm>
          <a:prstGeom prst="rect">
            <a:avLst/>
          </a:prstGeom>
          <a:solidFill>
            <a:schemeClr val="bg1">
              <a:lumMod val="75000"/>
            </a:schemeClr>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b="0">
                <a:solidFill>
                  <a:schemeClr val="tx1"/>
                </a:solidFill>
                <a:latin typeface="Calibri" panose="020F0502020204030204" pitchFamily="34" charset="0"/>
                <a:cs typeface="Calibri" panose="020F0502020204030204" pitchFamily="34" charset="0"/>
              </a:rPr>
              <a:t>FEB</a:t>
            </a:r>
            <a:endParaRPr kumimoji="1" lang="ja-JP" altLang="en-US" sz="800" b="0">
              <a:solidFill>
                <a:schemeClr val="tx1"/>
              </a:solidFill>
              <a:latin typeface="Calibri" panose="020F0502020204030204" pitchFamily="34" charset="0"/>
              <a:cs typeface="Calibri" panose="020F0502020204030204" pitchFamily="34" charset="0"/>
            </a:endParaRPr>
          </a:p>
        </p:txBody>
      </p:sp>
      <p:sp>
        <p:nvSpPr>
          <p:cNvPr id="21" name="正方形/長方形 20">
            <a:extLst>
              <a:ext uri="{FF2B5EF4-FFF2-40B4-BE49-F238E27FC236}">
                <a16:creationId xmlns:a16="http://schemas.microsoft.com/office/drawing/2014/main" id="{8CE35FD1-C0D1-A6E5-A69E-66A86EAB084F}"/>
              </a:ext>
            </a:extLst>
          </p:cNvPr>
          <p:cNvSpPr/>
          <p:nvPr userDrawn="1"/>
        </p:nvSpPr>
        <p:spPr>
          <a:xfrm>
            <a:off x="6751222" y="434974"/>
            <a:ext cx="1790033" cy="107950"/>
          </a:xfrm>
          <a:prstGeom prst="rect">
            <a:avLst/>
          </a:prstGeom>
          <a:solidFill>
            <a:schemeClr val="bg1">
              <a:lumMod val="75000"/>
            </a:schemeClr>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b="0">
                <a:solidFill>
                  <a:schemeClr val="tx1"/>
                </a:solidFill>
                <a:latin typeface="Calibri" panose="020F0502020204030204" pitchFamily="34" charset="0"/>
                <a:cs typeface="Calibri" panose="020F0502020204030204" pitchFamily="34" charset="0"/>
              </a:rPr>
              <a:t>MAR</a:t>
            </a:r>
            <a:endParaRPr kumimoji="1" lang="ja-JP" altLang="en-US" sz="800" b="0">
              <a:solidFill>
                <a:schemeClr val="tx1"/>
              </a:solidFill>
              <a:latin typeface="Calibri" panose="020F0502020204030204" pitchFamily="34" charset="0"/>
              <a:cs typeface="Calibri" panose="020F0502020204030204" pitchFamily="34" charset="0"/>
            </a:endParaRPr>
          </a:p>
        </p:txBody>
      </p:sp>
      <p:sp>
        <p:nvSpPr>
          <p:cNvPr id="22" name="正方形/長方形 21">
            <a:extLst>
              <a:ext uri="{FF2B5EF4-FFF2-40B4-BE49-F238E27FC236}">
                <a16:creationId xmlns:a16="http://schemas.microsoft.com/office/drawing/2014/main" id="{CB8E22B0-DD2A-B10F-1C5B-CAE876B3FDB9}"/>
              </a:ext>
            </a:extLst>
          </p:cNvPr>
          <p:cNvSpPr/>
          <p:nvPr userDrawn="1"/>
        </p:nvSpPr>
        <p:spPr>
          <a:xfrm>
            <a:off x="8541253" y="434973"/>
            <a:ext cx="1790033" cy="107950"/>
          </a:xfrm>
          <a:prstGeom prst="rect">
            <a:avLst/>
          </a:prstGeom>
          <a:solidFill>
            <a:schemeClr val="bg1">
              <a:lumMod val="75000"/>
            </a:schemeClr>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b="0">
                <a:solidFill>
                  <a:schemeClr val="tx1"/>
                </a:solidFill>
                <a:latin typeface="Calibri" panose="020F0502020204030204" pitchFamily="34" charset="0"/>
                <a:cs typeface="Calibri" panose="020F0502020204030204" pitchFamily="34" charset="0"/>
              </a:rPr>
              <a:t>APR</a:t>
            </a:r>
            <a:endParaRPr kumimoji="1" lang="ja-JP" altLang="en-US" sz="800" b="0">
              <a:solidFill>
                <a:schemeClr val="tx1"/>
              </a:solidFill>
              <a:latin typeface="Calibri" panose="020F0502020204030204" pitchFamily="34" charset="0"/>
              <a:cs typeface="Calibri" panose="020F0502020204030204" pitchFamily="34" charset="0"/>
            </a:endParaRPr>
          </a:p>
        </p:txBody>
      </p:sp>
      <p:sp>
        <p:nvSpPr>
          <p:cNvPr id="23" name="正方形/長方形 22">
            <a:extLst>
              <a:ext uri="{FF2B5EF4-FFF2-40B4-BE49-F238E27FC236}">
                <a16:creationId xmlns:a16="http://schemas.microsoft.com/office/drawing/2014/main" id="{D395FACF-A7ED-1B95-2BC3-5AE3F606AA4C}"/>
              </a:ext>
            </a:extLst>
          </p:cNvPr>
          <p:cNvSpPr/>
          <p:nvPr userDrawn="1"/>
        </p:nvSpPr>
        <p:spPr>
          <a:xfrm>
            <a:off x="10331284" y="434973"/>
            <a:ext cx="1790033" cy="107950"/>
          </a:xfrm>
          <a:prstGeom prst="rect">
            <a:avLst/>
          </a:prstGeom>
          <a:solidFill>
            <a:schemeClr val="bg1">
              <a:lumMod val="75000"/>
            </a:schemeClr>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b="0">
                <a:solidFill>
                  <a:schemeClr val="tx1"/>
                </a:solidFill>
                <a:latin typeface="Calibri" panose="020F0502020204030204" pitchFamily="34" charset="0"/>
                <a:cs typeface="Calibri" panose="020F0502020204030204" pitchFamily="34" charset="0"/>
              </a:rPr>
              <a:t>MAY</a:t>
            </a:r>
            <a:endParaRPr kumimoji="1" lang="ja-JP" altLang="en-US" sz="800" b="0">
              <a:solidFill>
                <a:schemeClr val="tx1"/>
              </a:solidFill>
              <a:latin typeface="Calibri" panose="020F0502020204030204" pitchFamily="34" charset="0"/>
              <a:cs typeface="Calibri" panose="020F0502020204030204" pitchFamily="34" charset="0"/>
            </a:endParaRPr>
          </a:p>
        </p:txBody>
      </p:sp>
      <p:sp>
        <p:nvSpPr>
          <p:cNvPr id="25" name="正方形/長方形 24">
            <a:extLst>
              <a:ext uri="{FF2B5EF4-FFF2-40B4-BE49-F238E27FC236}">
                <a16:creationId xmlns:a16="http://schemas.microsoft.com/office/drawing/2014/main" id="{6ADDC43A-CBD3-DA9D-8657-23022BD354F5}"/>
              </a:ext>
            </a:extLst>
          </p:cNvPr>
          <p:cNvSpPr/>
          <p:nvPr userDrawn="1"/>
        </p:nvSpPr>
        <p:spPr>
          <a:xfrm>
            <a:off x="1381124" y="327023"/>
            <a:ext cx="5370094" cy="107950"/>
          </a:xfrm>
          <a:prstGeom prst="rect">
            <a:avLst/>
          </a:prstGeom>
          <a:solidFill>
            <a:schemeClr val="tx1">
              <a:lumMod val="75000"/>
              <a:lumOff val="25000"/>
            </a:schemeClr>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latin typeface="Calibri" panose="020F0502020204030204" pitchFamily="34" charset="0"/>
                <a:cs typeface="Calibri" panose="020F0502020204030204" pitchFamily="34" charset="0"/>
              </a:rPr>
              <a:t>Q1</a:t>
            </a:r>
            <a:endParaRPr kumimoji="1" lang="ja-JP" altLang="en-US" sz="800">
              <a:latin typeface="Calibri" panose="020F0502020204030204" pitchFamily="34" charset="0"/>
              <a:cs typeface="Calibri" panose="020F0502020204030204" pitchFamily="34" charset="0"/>
            </a:endParaRPr>
          </a:p>
        </p:txBody>
      </p:sp>
      <p:sp>
        <p:nvSpPr>
          <p:cNvPr id="26" name="正方形/長方形 25">
            <a:extLst>
              <a:ext uri="{FF2B5EF4-FFF2-40B4-BE49-F238E27FC236}">
                <a16:creationId xmlns:a16="http://schemas.microsoft.com/office/drawing/2014/main" id="{1C7F5035-418B-57C4-119F-D46A93164113}"/>
              </a:ext>
            </a:extLst>
          </p:cNvPr>
          <p:cNvSpPr/>
          <p:nvPr userDrawn="1"/>
        </p:nvSpPr>
        <p:spPr>
          <a:xfrm>
            <a:off x="6751223" y="327023"/>
            <a:ext cx="5370094" cy="107950"/>
          </a:xfrm>
          <a:prstGeom prst="rect">
            <a:avLst/>
          </a:prstGeom>
          <a:solidFill>
            <a:schemeClr val="tx1">
              <a:lumMod val="75000"/>
              <a:lumOff val="25000"/>
            </a:schemeClr>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latin typeface="Calibri" panose="020F0502020204030204" pitchFamily="34" charset="0"/>
                <a:cs typeface="Calibri" panose="020F0502020204030204" pitchFamily="34" charset="0"/>
              </a:rPr>
              <a:t>Q2</a:t>
            </a:r>
            <a:endParaRPr kumimoji="1" lang="ja-JP" altLang="en-US" sz="800">
              <a:latin typeface="Calibri" panose="020F0502020204030204" pitchFamily="34" charset="0"/>
              <a:cs typeface="Calibri" panose="020F0502020204030204" pitchFamily="34" charset="0"/>
            </a:endParaRPr>
          </a:p>
        </p:txBody>
      </p:sp>
      <p:sp>
        <p:nvSpPr>
          <p:cNvPr id="27" name="正方形/長方形 26">
            <a:extLst>
              <a:ext uri="{FF2B5EF4-FFF2-40B4-BE49-F238E27FC236}">
                <a16:creationId xmlns:a16="http://schemas.microsoft.com/office/drawing/2014/main" id="{A206C8A8-A21A-B8DD-B9BA-77850E77A86D}"/>
              </a:ext>
            </a:extLst>
          </p:cNvPr>
          <p:cNvSpPr/>
          <p:nvPr userDrawn="1"/>
        </p:nvSpPr>
        <p:spPr>
          <a:xfrm>
            <a:off x="1381123" y="72207"/>
            <a:ext cx="10740193" cy="254814"/>
          </a:xfrm>
          <a:prstGeom prst="rect">
            <a:avLst/>
          </a:prstGeom>
          <a:solidFill>
            <a:schemeClr val="bg1"/>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pc="0"/>
          </a:p>
        </p:txBody>
      </p:sp>
      <p:sp>
        <p:nvSpPr>
          <p:cNvPr id="28" name="正方形/長方形 27">
            <a:extLst>
              <a:ext uri="{FF2B5EF4-FFF2-40B4-BE49-F238E27FC236}">
                <a16:creationId xmlns:a16="http://schemas.microsoft.com/office/drawing/2014/main" id="{AFE00693-0877-5392-4551-9CBD9D1269A0}"/>
              </a:ext>
            </a:extLst>
          </p:cNvPr>
          <p:cNvSpPr/>
          <p:nvPr userDrawn="1"/>
        </p:nvSpPr>
        <p:spPr>
          <a:xfrm>
            <a:off x="1381123" y="542922"/>
            <a:ext cx="1790033" cy="6226147"/>
          </a:xfrm>
          <a:prstGeom prst="rect">
            <a:avLst/>
          </a:prstGeom>
          <a:solidFill>
            <a:schemeClr val="bg1"/>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正方形/長方形 28">
            <a:extLst>
              <a:ext uri="{FF2B5EF4-FFF2-40B4-BE49-F238E27FC236}">
                <a16:creationId xmlns:a16="http://schemas.microsoft.com/office/drawing/2014/main" id="{EFC75465-2661-0C69-FC4B-CD7E77591BAD}"/>
              </a:ext>
            </a:extLst>
          </p:cNvPr>
          <p:cNvSpPr/>
          <p:nvPr userDrawn="1"/>
        </p:nvSpPr>
        <p:spPr>
          <a:xfrm>
            <a:off x="3171153" y="542922"/>
            <a:ext cx="1790033" cy="6226147"/>
          </a:xfrm>
          <a:prstGeom prst="rect">
            <a:avLst/>
          </a:prstGeom>
          <a:solidFill>
            <a:schemeClr val="bg1"/>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正方形/長方形 30">
            <a:extLst>
              <a:ext uri="{FF2B5EF4-FFF2-40B4-BE49-F238E27FC236}">
                <a16:creationId xmlns:a16="http://schemas.microsoft.com/office/drawing/2014/main" id="{4265DDDD-AF1D-622A-A50F-8355EB6A0817}"/>
              </a:ext>
            </a:extLst>
          </p:cNvPr>
          <p:cNvSpPr/>
          <p:nvPr userDrawn="1"/>
        </p:nvSpPr>
        <p:spPr>
          <a:xfrm>
            <a:off x="6751211" y="542922"/>
            <a:ext cx="1790033" cy="6226147"/>
          </a:xfrm>
          <a:prstGeom prst="rect">
            <a:avLst/>
          </a:prstGeom>
          <a:solidFill>
            <a:schemeClr val="bg1"/>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正方形/長方形 31">
            <a:extLst>
              <a:ext uri="{FF2B5EF4-FFF2-40B4-BE49-F238E27FC236}">
                <a16:creationId xmlns:a16="http://schemas.microsoft.com/office/drawing/2014/main" id="{1AC32237-0EA6-0652-AF4C-D11FE77046F0}"/>
              </a:ext>
            </a:extLst>
          </p:cNvPr>
          <p:cNvSpPr/>
          <p:nvPr userDrawn="1"/>
        </p:nvSpPr>
        <p:spPr>
          <a:xfrm>
            <a:off x="8541243" y="542922"/>
            <a:ext cx="1790033" cy="6226147"/>
          </a:xfrm>
          <a:prstGeom prst="rect">
            <a:avLst/>
          </a:prstGeom>
          <a:solidFill>
            <a:schemeClr val="bg1"/>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正方形/長方形 32">
            <a:extLst>
              <a:ext uri="{FF2B5EF4-FFF2-40B4-BE49-F238E27FC236}">
                <a16:creationId xmlns:a16="http://schemas.microsoft.com/office/drawing/2014/main" id="{D0942C14-6351-5502-87AF-B48EA1E205AA}"/>
              </a:ext>
            </a:extLst>
          </p:cNvPr>
          <p:cNvSpPr/>
          <p:nvPr userDrawn="1"/>
        </p:nvSpPr>
        <p:spPr>
          <a:xfrm>
            <a:off x="10331283" y="542922"/>
            <a:ext cx="1790033" cy="6226147"/>
          </a:xfrm>
          <a:prstGeom prst="rect">
            <a:avLst/>
          </a:prstGeom>
          <a:solidFill>
            <a:schemeClr val="bg1"/>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正方形/長方形 33">
            <a:extLst>
              <a:ext uri="{FF2B5EF4-FFF2-40B4-BE49-F238E27FC236}">
                <a16:creationId xmlns:a16="http://schemas.microsoft.com/office/drawing/2014/main" id="{744BACB1-5BEF-6BA7-2F6E-5DB6380A9DDA}"/>
              </a:ext>
            </a:extLst>
          </p:cNvPr>
          <p:cNvSpPr/>
          <p:nvPr userDrawn="1"/>
        </p:nvSpPr>
        <p:spPr>
          <a:xfrm>
            <a:off x="87411" y="542920"/>
            <a:ext cx="1293702" cy="6226147"/>
          </a:xfrm>
          <a:prstGeom prst="rect">
            <a:avLst/>
          </a:prstGeom>
          <a:solidFill>
            <a:schemeClr val="bg1"/>
          </a:solidFill>
          <a:ln w="3175">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Slide Number Placeholder 5">
            <a:extLst>
              <a:ext uri="{FF2B5EF4-FFF2-40B4-BE49-F238E27FC236}">
                <a16:creationId xmlns:a16="http://schemas.microsoft.com/office/drawing/2014/main" id="{3CE71D64-C1FF-8C5F-DE4F-60F8D1A12BE7}"/>
              </a:ext>
            </a:extLst>
          </p:cNvPr>
          <p:cNvSpPr>
            <a:spLocks noGrp="1"/>
          </p:cNvSpPr>
          <p:nvPr>
            <p:ph type="sldNum" sz="quarter" idx="4"/>
          </p:nvPr>
        </p:nvSpPr>
        <p:spPr>
          <a:xfrm>
            <a:off x="9351764" y="101080"/>
            <a:ext cx="2743200" cy="228268"/>
          </a:xfrm>
          <a:prstGeom prst="rect">
            <a:avLst/>
          </a:prstGeom>
        </p:spPr>
        <p:txBody>
          <a:bodyPr vert="horz" lIns="0" tIns="0" rIns="0" bIns="0" rtlCol="0" anchor="b" anchorCtr="0"/>
          <a:lstStyle>
            <a:lvl1pPr algn="r">
              <a:defRPr sz="800">
                <a:solidFill>
                  <a:schemeClr val="tx1"/>
                </a:solidFill>
                <a:latin typeface="Aptos" panose="020B0004020202020204" pitchFamily="34" charset="0"/>
                <a:cs typeface="Calibri" panose="020F0502020204030204" pitchFamily="34" charset="0"/>
              </a:defRPr>
            </a:lvl1pPr>
          </a:lstStyle>
          <a:p>
            <a:fld id="{51AF2DE1-86B9-1246-84AA-50442F04AF74}" type="slidenum">
              <a:rPr kumimoji="1" lang="ja-JP" altLang="en-US" smtClean="0"/>
              <a:pPr/>
              <a:t>‹#›</a:t>
            </a:fld>
            <a:endParaRPr kumimoji="1" lang="ja-JP" altLang="en-US"/>
          </a:p>
        </p:txBody>
      </p:sp>
      <p:sp>
        <p:nvSpPr>
          <p:cNvPr id="4" name="Title 1">
            <a:extLst>
              <a:ext uri="{FF2B5EF4-FFF2-40B4-BE49-F238E27FC236}">
                <a16:creationId xmlns:a16="http://schemas.microsoft.com/office/drawing/2014/main" id="{7B357C7E-3E9B-1425-E28D-27BD98E95811}"/>
              </a:ext>
            </a:extLst>
          </p:cNvPr>
          <p:cNvSpPr>
            <a:spLocks noGrp="1"/>
          </p:cNvSpPr>
          <p:nvPr>
            <p:ph type="title" hasCustomPrompt="1"/>
          </p:nvPr>
        </p:nvSpPr>
        <p:spPr>
          <a:xfrm>
            <a:off x="1474057" y="128889"/>
            <a:ext cx="7106957" cy="218643"/>
          </a:xfrm>
          <a:prstGeom prst="rect">
            <a:avLst/>
          </a:prstGeom>
        </p:spPr>
        <p:txBody>
          <a:bodyPr anchor="ctr"/>
          <a:lstStyle>
            <a:lvl1pPr algn="l">
              <a:lnSpc>
                <a:spcPct val="85000"/>
              </a:lnSpc>
              <a:defRPr sz="1400" cap="all" spc="0" baseline="0">
                <a:solidFill>
                  <a:schemeClr val="tx1"/>
                </a:solidFill>
              </a:defRPr>
            </a:lvl1pPr>
          </a:lstStyle>
          <a:p>
            <a:r>
              <a:rPr lang="en-US"/>
              <a:t>ITEM NAME</a:t>
            </a:r>
          </a:p>
        </p:txBody>
      </p:sp>
    </p:spTree>
    <p:extLst>
      <p:ext uri="{BB962C8B-B14F-4D97-AF65-F5344CB8AC3E}">
        <p14:creationId xmlns:p14="http://schemas.microsoft.com/office/powerpoint/2010/main" val="34448824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34" Type="http://schemas.openxmlformats.org/officeDocument/2006/relationships/image" Target="../media/image1.emf"/><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33" Type="http://schemas.openxmlformats.org/officeDocument/2006/relationships/oleObject" Target="../embeddings/oleObject2.bin"/><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29" Type="http://schemas.openxmlformats.org/officeDocument/2006/relationships/slideLayout" Target="../slideLayouts/slideLayout39.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32" Type="http://schemas.openxmlformats.org/officeDocument/2006/relationships/tags" Target="../tags/tag2.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slideLayout" Target="../slideLayouts/slideLayout38.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31"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slideLayout" Target="../slideLayouts/slideLayout37.xml"/><Relationship Id="rId30" Type="http://schemas.openxmlformats.org/officeDocument/2006/relationships/slideLayout" Target="../slideLayouts/slideLayout40.xml"/><Relationship Id="rId35" Type="http://schemas.openxmlformats.org/officeDocument/2006/relationships/image" Target="../media/image12.png"/><Relationship Id="rId8"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34" Type="http://schemas.openxmlformats.org/officeDocument/2006/relationships/oleObject" Target="../embeddings/oleObject2.bin"/><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tags" Target="../tags/tag3.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theme" Target="../theme/theme3.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image" Target="../media/image12.png"/><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image" Target="../media/image1.emf"/><Relationship Id="rId8"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687F75B-012C-1A5F-3B46-5C682A5165FE}"/>
              </a:ext>
            </a:extLst>
          </p:cNvPr>
          <p:cNvGraphicFramePr>
            <a:graphicFrameLocks noChangeAspect="1"/>
          </p:cNvGraphicFramePr>
          <p:nvPr userDrawn="1">
            <p:custDataLst>
              <p:tags r:id="rId12"/>
            </p:custDataLst>
            <p:extLst>
              <p:ext uri="{D42A27DB-BD31-4B8C-83A1-F6EECF244321}">
                <p14:modId xmlns:p14="http://schemas.microsoft.com/office/powerpoint/2010/main" val="4060970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503" imgH="503" progId="TCLayout.ActiveDocument.1">
                  <p:embed/>
                </p:oleObj>
              </mc:Choice>
              <mc:Fallback>
                <p:oleObj name="think-cell Slide" r:id="rId13" imgW="503" imgH="503" progId="TCLayout.ActiveDocument.1">
                  <p:embed/>
                  <p:pic>
                    <p:nvPicPr>
                      <p:cNvPr id="2" name="think-cell data - do not delete" hidden="1">
                        <a:extLst>
                          <a:ext uri="{FF2B5EF4-FFF2-40B4-BE49-F238E27FC236}">
                            <a16:creationId xmlns:a16="http://schemas.microsoft.com/office/drawing/2014/main" id="{6687F75B-012C-1A5F-3B46-5C682A5165F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15553424"/>
      </p:ext>
    </p:extLst>
  </p:cSld>
  <p:clrMap bg1="lt1" tx1="dk1" bg2="lt2" tx2="dk2" accent1="accent1" accent2="accent2" accent3="accent3" accent4="accent4" accent5="accent5" accent6="accent6" hlink="hlink" folHlink="folHlink"/>
  <p:sldLayoutIdLst>
    <p:sldLayoutId id="2147490801" r:id="rId1"/>
    <p:sldLayoutId id="2147490802" r:id="rId2"/>
    <p:sldLayoutId id="2147490803" r:id="rId3"/>
    <p:sldLayoutId id="2147490804" r:id="rId4"/>
    <p:sldLayoutId id="2147490805" r:id="rId5"/>
    <p:sldLayoutId id="2147490806" r:id="rId6"/>
    <p:sldLayoutId id="2147490807" r:id="rId7"/>
    <p:sldLayoutId id="2147490797" r:id="rId8"/>
    <p:sldLayoutId id="2147490786" r:id="rId9"/>
    <p:sldLayoutId id="2147490787"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976556A-0419-B646-727C-E88A0B3701F1}"/>
              </a:ext>
            </a:extLst>
          </p:cNvPr>
          <p:cNvGraphicFramePr>
            <a:graphicFrameLocks noChangeAspect="1"/>
          </p:cNvGraphicFramePr>
          <p:nvPr>
            <p:custDataLst>
              <p:tags r:id="rId32"/>
            </p:custDataLst>
            <p:extLst>
              <p:ext uri="{D42A27DB-BD31-4B8C-83A1-F6EECF244321}">
                <p14:modId xmlns:p14="http://schemas.microsoft.com/office/powerpoint/2010/main" val="4022049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503" imgH="503" progId="TCLayout.ActiveDocument.1">
                  <p:embed/>
                </p:oleObj>
              </mc:Choice>
              <mc:Fallback>
                <p:oleObj name="think-cell Slide" r:id="rId33" imgW="503" imgH="503" progId="TCLayout.ActiveDocument.1">
                  <p:embed/>
                  <p:pic>
                    <p:nvPicPr>
                      <p:cNvPr id="5" name="Object 4" hidden="1">
                        <a:extLst>
                          <a:ext uri="{FF2B5EF4-FFF2-40B4-BE49-F238E27FC236}">
                            <a16:creationId xmlns:a16="http://schemas.microsoft.com/office/drawing/2014/main" id="{7976556A-0419-B646-727C-E88A0B3701F1}"/>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0AA7DA5-2429-6646-BAF1-4B18386BF8B8}"/>
              </a:ext>
            </a:extLst>
          </p:cNvPr>
          <p:cNvSpPr>
            <a:spLocks noGrp="1"/>
          </p:cNvSpPr>
          <p:nvPr>
            <p:ph type="title"/>
          </p:nvPr>
        </p:nvSpPr>
        <p:spPr>
          <a:xfrm>
            <a:off x="331678" y="244864"/>
            <a:ext cx="9559636" cy="1603931"/>
          </a:xfrm>
          <a:prstGeom prst="rect">
            <a:avLst/>
          </a:prstGeom>
        </p:spPr>
        <p:txBody>
          <a:bodyPr vert="horz" lIns="91440" tIns="45720" rIns="91440" bIns="45720" rtlCol="0" anchor="t">
            <a:noAutofit/>
          </a:bodyPr>
          <a:lstStyle/>
          <a:p>
            <a:r>
              <a:rPr lang="ja-JP" altLang="en-US"/>
              <a:t>マスター タイトルの書式設定</a:t>
            </a:r>
            <a:endParaRPr lang="en-US"/>
          </a:p>
        </p:txBody>
      </p:sp>
      <p:sp>
        <p:nvSpPr>
          <p:cNvPr id="3" name="Text Placeholder 2">
            <a:extLst>
              <a:ext uri="{FF2B5EF4-FFF2-40B4-BE49-F238E27FC236}">
                <a16:creationId xmlns:a16="http://schemas.microsoft.com/office/drawing/2014/main" id="{CF314398-3B94-E94C-8CA8-0984E6E8DABF}"/>
              </a:ext>
            </a:extLst>
          </p:cNvPr>
          <p:cNvSpPr>
            <a:spLocks noGrp="1"/>
          </p:cNvSpPr>
          <p:nvPr>
            <p:ph type="body" idx="1"/>
          </p:nvPr>
        </p:nvSpPr>
        <p:spPr>
          <a:xfrm>
            <a:off x="353291" y="2142778"/>
            <a:ext cx="9559636" cy="3955762"/>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pic>
        <p:nvPicPr>
          <p:cNvPr id="7" name="Picture 6">
            <a:extLst>
              <a:ext uri="{FF2B5EF4-FFF2-40B4-BE49-F238E27FC236}">
                <a16:creationId xmlns:a16="http://schemas.microsoft.com/office/drawing/2014/main" id="{D9EB46FD-BA5C-C342-BE78-6506183A2FD4}"/>
              </a:ext>
            </a:extLst>
          </p:cNvPr>
          <p:cNvPicPr>
            <a:picLocks noChangeAspect="1"/>
          </p:cNvPicPr>
          <p:nvPr/>
        </p:nvPicPr>
        <p:blipFill>
          <a:blip r:embed="rId35"/>
          <a:srcRect/>
          <a:stretch/>
        </p:blipFill>
        <p:spPr>
          <a:xfrm>
            <a:off x="10641295" y="6083167"/>
            <a:ext cx="1296674" cy="505334"/>
          </a:xfrm>
          <a:prstGeom prst="rect">
            <a:avLst/>
          </a:prstGeom>
        </p:spPr>
      </p:pic>
      <p:sp>
        <p:nvSpPr>
          <p:cNvPr id="8" name="Slide Number Placeholder 5">
            <a:extLst>
              <a:ext uri="{FF2B5EF4-FFF2-40B4-BE49-F238E27FC236}">
                <a16:creationId xmlns:a16="http://schemas.microsoft.com/office/drawing/2014/main" id="{41925158-BC52-A845-9DEC-5E3BF9A926AD}"/>
              </a:ext>
            </a:extLst>
          </p:cNvPr>
          <p:cNvSpPr>
            <a:spLocks noGrp="1"/>
          </p:cNvSpPr>
          <p:nvPr>
            <p:ph type="sldNum" sz="quarter" idx="4"/>
          </p:nvPr>
        </p:nvSpPr>
        <p:spPr>
          <a:xfrm>
            <a:off x="11080548" y="244864"/>
            <a:ext cx="753833" cy="365125"/>
          </a:xfrm>
          <a:prstGeom prst="rect">
            <a:avLst/>
          </a:prstGeom>
        </p:spPr>
        <p:txBody>
          <a:bodyPr vert="horz" lIns="91440" tIns="45720" rIns="91440" bIns="45720" rtlCol="0" anchor="t"/>
          <a:lstStyle>
            <a:lvl1pPr algn="r">
              <a:defRPr sz="1200" b="0" i="0">
                <a:solidFill>
                  <a:schemeClr val="tx1"/>
                </a:solidFill>
                <a:latin typeface="ASICS Font 3.0" pitchFamily="2" charset="77"/>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0CC6782-A7C1-AE43-BED6-519E5FEDBE2C}" type="slidenum">
              <a:rPr kumimoji="0" lang="en-US" sz="1200" b="0" i="0" u="none" strike="noStrike" kern="1200" cap="none" spc="0" normalizeH="0" baseline="0" noProof="0" smtClean="0">
                <a:ln>
                  <a:noFill/>
                </a:ln>
                <a:solidFill>
                  <a:srgbClr val="001E61"/>
                </a:solidFill>
                <a:effectLst/>
                <a:uLnTx/>
                <a:uFillTx/>
                <a:latin typeface="ASICS Font 3.0"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1E61"/>
              </a:solidFill>
              <a:effectLst/>
              <a:uLnTx/>
              <a:uFillTx/>
              <a:latin typeface="ASICS Font 3.0" pitchFamily="2" charset="77"/>
              <a:ea typeface="+mn-ea"/>
              <a:cs typeface="+mn-cs"/>
            </a:endParaRPr>
          </a:p>
        </p:txBody>
      </p:sp>
    </p:spTree>
    <p:extLst>
      <p:ext uri="{BB962C8B-B14F-4D97-AF65-F5344CB8AC3E}">
        <p14:creationId xmlns:p14="http://schemas.microsoft.com/office/powerpoint/2010/main" val="3621291679"/>
      </p:ext>
    </p:extLst>
  </p:cSld>
  <p:clrMap bg1="lt1" tx1="dk1" bg2="lt2" tx2="dk2" accent1="accent1" accent2="accent2" accent3="accent3" accent4="accent4" accent5="accent5" accent6="accent6" hlink="hlink" folHlink="folHlink"/>
  <p:sldLayoutIdLst>
    <p:sldLayoutId id="2147490809" r:id="rId1"/>
    <p:sldLayoutId id="2147490810" r:id="rId2"/>
    <p:sldLayoutId id="2147490811" r:id="rId3"/>
    <p:sldLayoutId id="2147490812" r:id="rId4"/>
    <p:sldLayoutId id="2147490813" r:id="rId5"/>
    <p:sldLayoutId id="2147490814" r:id="rId6"/>
    <p:sldLayoutId id="2147490815" r:id="rId7"/>
    <p:sldLayoutId id="2147490816" r:id="rId8"/>
    <p:sldLayoutId id="2147490817" r:id="rId9"/>
    <p:sldLayoutId id="2147490819" r:id="rId10"/>
    <p:sldLayoutId id="2147490820" r:id="rId11"/>
    <p:sldLayoutId id="2147490821" r:id="rId12"/>
    <p:sldLayoutId id="2147490822" r:id="rId13"/>
    <p:sldLayoutId id="2147490823" r:id="rId14"/>
    <p:sldLayoutId id="2147490824" r:id="rId15"/>
    <p:sldLayoutId id="2147490825" r:id="rId16"/>
    <p:sldLayoutId id="2147490826" r:id="rId17"/>
    <p:sldLayoutId id="2147490827" r:id="rId18"/>
    <p:sldLayoutId id="2147490828" r:id="rId19"/>
    <p:sldLayoutId id="2147490829" r:id="rId20"/>
    <p:sldLayoutId id="2147490830" r:id="rId21"/>
    <p:sldLayoutId id="2147490831" r:id="rId22"/>
    <p:sldLayoutId id="2147490832" r:id="rId23"/>
    <p:sldLayoutId id="2147490833" r:id="rId24"/>
    <p:sldLayoutId id="2147490834" r:id="rId25"/>
    <p:sldLayoutId id="2147490835" r:id="rId26"/>
    <p:sldLayoutId id="2147490836" r:id="rId27"/>
    <p:sldLayoutId id="2147490837" r:id="rId28"/>
    <p:sldLayoutId id="2147490838" r:id="rId29"/>
    <p:sldLayoutId id="2147490839" r:id="rId30"/>
  </p:sldLayoutIdLst>
  <p:hf hdr="0" dt="0"/>
  <p:txStyles>
    <p:titleStyle>
      <a:lvl1pPr algn="l" defTabSz="914400" rtl="0" eaLnBrk="1" latinLnBrk="0" hangingPunct="1">
        <a:lnSpc>
          <a:spcPct val="90000"/>
        </a:lnSpc>
        <a:spcBef>
          <a:spcPct val="0"/>
        </a:spcBef>
        <a:buNone/>
        <a:defRPr kumimoji="1" sz="6000" b="0" i="0" kern="1200">
          <a:solidFill>
            <a:srgbClr val="000000"/>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kumimoji="1" sz="1500" b="0" i="0" kern="1200">
          <a:solidFill>
            <a:srgbClr val="000000"/>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kumimoji="1" sz="1500" b="0" i="0" kern="1200">
          <a:solidFill>
            <a:srgbClr val="000000"/>
          </a:solidFill>
          <a:latin typeface="+mj-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kumimoji="1" sz="1500" b="0" i="0" kern="1200">
          <a:solidFill>
            <a:srgbClr val="000000"/>
          </a:solidFill>
          <a:latin typeface="+mj-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kumimoji="1" sz="1500" b="0" i="0" kern="1200">
          <a:solidFill>
            <a:srgbClr val="000000"/>
          </a:solidFill>
          <a:latin typeface="+mj-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kumimoji="1" sz="1500" b="0" i="0" kern="1200">
          <a:solidFill>
            <a:srgbClr val="000000"/>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840">
          <p15:clr>
            <a:srgbClr val="F26B43"/>
          </p15:clr>
        </p15:guide>
        <p15:guide id="4" orient="horz" pos="4020">
          <p15:clr>
            <a:srgbClr val="F26B43"/>
          </p15:clr>
        </p15:guide>
        <p15:guide id="5" pos="7401">
          <p15:clr>
            <a:srgbClr val="F26B43"/>
          </p15:clr>
        </p15:guide>
        <p15:guide id="6" orient="horz" pos="2160">
          <p15:clr>
            <a:srgbClr val="F26B43"/>
          </p15:clr>
        </p15:guide>
        <p15:guide id="7" pos="27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976556A-0419-B646-727C-E88A0B3701F1}"/>
              </a:ext>
            </a:extLst>
          </p:cNvPr>
          <p:cNvGraphicFramePr>
            <a:graphicFrameLocks noChangeAspect="1"/>
          </p:cNvGraphicFramePr>
          <p:nvPr>
            <p:custDataLst>
              <p:tags r:id="rId33"/>
            </p:custDataLst>
            <p:extLst>
              <p:ext uri="{D42A27DB-BD31-4B8C-83A1-F6EECF244321}">
                <p14:modId xmlns:p14="http://schemas.microsoft.com/office/powerpoint/2010/main" val="4022049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503" imgH="503" progId="TCLayout.ActiveDocument.1">
                  <p:embed/>
                </p:oleObj>
              </mc:Choice>
              <mc:Fallback>
                <p:oleObj name="think-cell Slide" r:id="rId34" imgW="503" imgH="503" progId="TCLayout.ActiveDocument.1">
                  <p:embed/>
                  <p:pic>
                    <p:nvPicPr>
                      <p:cNvPr id="5" name="Object 4" hidden="1">
                        <a:extLst>
                          <a:ext uri="{FF2B5EF4-FFF2-40B4-BE49-F238E27FC236}">
                            <a16:creationId xmlns:a16="http://schemas.microsoft.com/office/drawing/2014/main" id="{7976556A-0419-B646-727C-E88A0B3701F1}"/>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0AA7DA5-2429-6646-BAF1-4B18386BF8B8}"/>
              </a:ext>
            </a:extLst>
          </p:cNvPr>
          <p:cNvSpPr>
            <a:spLocks noGrp="1"/>
          </p:cNvSpPr>
          <p:nvPr>
            <p:ph type="title"/>
          </p:nvPr>
        </p:nvSpPr>
        <p:spPr>
          <a:xfrm>
            <a:off x="331678" y="244864"/>
            <a:ext cx="9559636" cy="1603931"/>
          </a:xfrm>
          <a:prstGeom prst="rect">
            <a:avLst/>
          </a:prstGeom>
        </p:spPr>
        <p:txBody>
          <a:bodyPr vert="horz" lIns="91440" tIns="45720" rIns="91440" bIns="45720" rtlCol="0" anchor="t">
            <a:noAutofit/>
          </a:bodyPr>
          <a:lstStyle/>
          <a:p>
            <a:r>
              <a:rPr lang="ja-JP" altLang="en-US"/>
              <a:t>マスター タイトルの書式設定</a:t>
            </a:r>
            <a:endParaRPr lang="en-US"/>
          </a:p>
        </p:txBody>
      </p:sp>
      <p:sp>
        <p:nvSpPr>
          <p:cNvPr id="3" name="Text Placeholder 2">
            <a:extLst>
              <a:ext uri="{FF2B5EF4-FFF2-40B4-BE49-F238E27FC236}">
                <a16:creationId xmlns:a16="http://schemas.microsoft.com/office/drawing/2014/main" id="{CF314398-3B94-E94C-8CA8-0984E6E8DABF}"/>
              </a:ext>
            </a:extLst>
          </p:cNvPr>
          <p:cNvSpPr>
            <a:spLocks noGrp="1"/>
          </p:cNvSpPr>
          <p:nvPr>
            <p:ph type="body" idx="1"/>
          </p:nvPr>
        </p:nvSpPr>
        <p:spPr>
          <a:xfrm>
            <a:off x="353291" y="2142778"/>
            <a:ext cx="9559636" cy="3955762"/>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pic>
        <p:nvPicPr>
          <p:cNvPr id="7" name="Picture 6">
            <a:extLst>
              <a:ext uri="{FF2B5EF4-FFF2-40B4-BE49-F238E27FC236}">
                <a16:creationId xmlns:a16="http://schemas.microsoft.com/office/drawing/2014/main" id="{D9EB46FD-BA5C-C342-BE78-6506183A2FD4}"/>
              </a:ext>
            </a:extLst>
          </p:cNvPr>
          <p:cNvPicPr>
            <a:picLocks noChangeAspect="1"/>
          </p:cNvPicPr>
          <p:nvPr/>
        </p:nvPicPr>
        <p:blipFill>
          <a:blip r:embed="rId36"/>
          <a:srcRect/>
          <a:stretch/>
        </p:blipFill>
        <p:spPr>
          <a:xfrm>
            <a:off x="10641295" y="6083167"/>
            <a:ext cx="1296674" cy="505334"/>
          </a:xfrm>
          <a:prstGeom prst="rect">
            <a:avLst/>
          </a:prstGeom>
        </p:spPr>
      </p:pic>
      <p:sp>
        <p:nvSpPr>
          <p:cNvPr id="8" name="Slide Number Placeholder 5">
            <a:extLst>
              <a:ext uri="{FF2B5EF4-FFF2-40B4-BE49-F238E27FC236}">
                <a16:creationId xmlns:a16="http://schemas.microsoft.com/office/drawing/2014/main" id="{41925158-BC52-A845-9DEC-5E3BF9A926AD}"/>
              </a:ext>
            </a:extLst>
          </p:cNvPr>
          <p:cNvSpPr>
            <a:spLocks noGrp="1"/>
          </p:cNvSpPr>
          <p:nvPr>
            <p:ph type="sldNum" sz="quarter" idx="4"/>
          </p:nvPr>
        </p:nvSpPr>
        <p:spPr>
          <a:xfrm>
            <a:off x="11080548" y="244864"/>
            <a:ext cx="753833" cy="365125"/>
          </a:xfrm>
          <a:prstGeom prst="rect">
            <a:avLst/>
          </a:prstGeom>
        </p:spPr>
        <p:txBody>
          <a:bodyPr vert="horz" lIns="91440" tIns="45720" rIns="91440" bIns="45720" rtlCol="0" anchor="t"/>
          <a:lstStyle>
            <a:lvl1pPr algn="r">
              <a:defRPr sz="1200" b="0" i="0">
                <a:solidFill>
                  <a:schemeClr val="tx1"/>
                </a:solidFill>
                <a:latin typeface="ASICS Font 3.0" pitchFamily="2" charset="77"/>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0CC6782-A7C1-AE43-BED6-519E5FEDBE2C}" type="slidenum">
              <a:rPr kumimoji="0" lang="en-US" sz="1200" b="0" i="0" u="none" strike="noStrike" kern="1200" cap="none" spc="0" normalizeH="0" baseline="0" noProof="0" smtClean="0">
                <a:ln>
                  <a:noFill/>
                </a:ln>
                <a:solidFill>
                  <a:srgbClr val="001E61"/>
                </a:solidFill>
                <a:effectLst/>
                <a:uLnTx/>
                <a:uFillTx/>
                <a:latin typeface="ASICS Font 3.0"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1E61"/>
              </a:solidFill>
              <a:effectLst/>
              <a:uLnTx/>
              <a:uFillTx/>
              <a:latin typeface="ASICS Font 3.0" pitchFamily="2" charset="77"/>
              <a:ea typeface="+mn-ea"/>
              <a:cs typeface="+mn-cs"/>
            </a:endParaRPr>
          </a:p>
        </p:txBody>
      </p:sp>
    </p:spTree>
    <p:extLst>
      <p:ext uri="{BB962C8B-B14F-4D97-AF65-F5344CB8AC3E}">
        <p14:creationId xmlns:p14="http://schemas.microsoft.com/office/powerpoint/2010/main" val="2739238882"/>
      </p:ext>
    </p:extLst>
  </p:cSld>
  <p:clrMap bg1="lt1" tx1="dk1" bg2="lt2" tx2="dk2" accent1="accent1" accent2="accent2" accent3="accent3" accent4="accent4" accent5="accent5" accent6="accent6" hlink="hlink" folHlink="folHlink"/>
  <p:sldLayoutIdLst>
    <p:sldLayoutId id="2147490841" r:id="rId1"/>
    <p:sldLayoutId id="2147490842" r:id="rId2"/>
    <p:sldLayoutId id="2147490843" r:id="rId3"/>
    <p:sldLayoutId id="2147490844" r:id="rId4"/>
    <p:sldLayoutId id="2147490845" r:id="rId5"/>
    <p:sldLayoutId id="2147490846" r:id="rId6"/>
    <p:sldLayoutId id="2147490847" r:id="rId7"/>
    <p:sldLayoutId id="2147490848" r:id="rId8"/>
    <p:sldLayoutId id="2147490849" r:id="rId9"/>
    <p:sldLayoutId id="2147490850" r:id="rId10"/>
    <p:sldLayoutId id="2147490851" r:id="rId11"/>
    <p:sldLayoutId id="2147490852" r:id="rId12"/>
    <p:sldLayoutId id="2147490853" r:id="rId13"/>
    <p:sldLayoutId id="2147490854" r:id="rId14"/>
    <p:sldLayoutId id="2147490855" r:id="rId15"/>
    <p:sldLayoutId id="2147490856" r:id="rId16"/>
    <p:sldLayoutId id="2147490857" r:id="rId17"/>
    <p:sldLayoutId id="2147490858" r:id="rId18"/>
    <p:sldLayoutId id="2147490859" r:id="rId19"/>
    <p:sldLayoutId id="2147490860" r:id="rId20"/>
    <p:sldLayoutId id="2147490861" r:id="rId21"/>
    <p:sldLayoutId id="2147490862" r:id="rId22"/>
    <p:sldLayoutId id="2147490863" r:id="rId23"/>
    <p:sldLayoutId id="2147490864" r:id="rId24"/>
    <p:sldLayoutId id="2147490865" r:id="rId25"/>
    <p:sldLayoutId id="2147490866" r:id="rId26"/>
    <p:sldLayoutId id="2147490867" r:id="rId27"/>
    <p:sldLayoutId id="2147490868" r:id="rId28"/>
    <p:sldLayoutId id="2147490869" r:id="rId29"/>
    <p:sldLayoutId id="2147490870" r:id="rId30"/>
    <p:sldLayoutId id="2147490871" r:id="rId31"/>
  </p:sldLayoutIdLst>
  <p:hf hdr="0" dt="0"/>
  <p:txStyles>
    <p:titleStyle>
      <a:lvl1pPr algn="l" defTabSz="914400" rtl="0" eaLnBrk="1" latinLnBrk="0" hangingPunct="1">
        <a:lnSpc>
          <a:spcPct val="90000"/>
        </a:lnSpc>
        <a:spcBef>
          <a:spcPct val="0"/>
        </a:spcBef>
        <a:buNone/>
        <a:defRPr kumimoji="1" sz="6000" b="0" i="0" kern="1200">
          <a:solidFill>
            <a:srgbClr val="000000"/>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kumimoji="1" sz="1500" b="0" i="0" kern="1200">
          <a:solidFill>
            <a:srgbClr val="000000"/>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kumimoji="1" sz="1500" b="0" i="0" kern="1200">
          <a:solidFill>
            <a:srgbClr val="000000"/>
          </a:solidFill>
          <a:latin typeface="+mj-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kumimoji="1" sz="1500" b="0" i="0" kern="1200">
          <a:solidFill>
            <a:srgbClr val="000000"/>
          </a:solidFill>
          <a:latin typeface="+mj-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kumimoji="1" sz="1500" b="0" i="0" kern="1200">
          <a:solidFill>
            <a:srgbClr val="000000"/>
          </a:solidFill>
          <a:latin typeface="+mj-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kumimoji="1" sz="1500" b="0" i="0" kern="1200">
          <a:solidFill>
            <a:srgbClr val="000000"/>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840">
          <p15:clr>
            <a:srgbClr val="F26B43"/>
          </p15:clr>
        </p15:guide>
        <p15:guide id="4" orient="horz" pos="4020">
          <p15:clr>
            <a:srgbClr val="F26B43"/>
          </p15:clr>
        </p15:guide>
        <p15:guide id="5" pos="7401">
          <p15:clr>
            <a:srgbClr val="F26B43"/>
          </p15:clr>
        </p15:guide>
        <p15:guide id="6" orient="horz" pos="2160">
          <p15:clr>
            <a:srgbClr val="F26B43"/>
          </p15:clr>
        </p15:guide>
        <p15:guide id="7" pos="27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image" Target="../media/image18.sv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19.sv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8" Type="http://schemas.openxmlformats.org/officeDocument/2006/relationships/image" Target="../media/image48.jpeg"/><Relationship Id="rId3" Type="http://schemas.openxmlformats.org/officeDocument/2006/relationships/oleObject" Target="../embeddings/oleObject8.bin"/><Relationship Id="rId7" Type="http://schemas.openxmlformats.org/officeDocument/2006/relationships/image" Target="../media/image47.jpeg"/><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46.jpeg"/><Relationship Id="rId5" Type="http://schemas.openxmlformats.org/officeDocument/2006/relationships/image" Target="../media/image45.png"/><Relationship Id="rId4" Type="http://schemas.openxmlformats.org/officeDocument/2006/relationships/image" Target="../media/image1.emf"/><Relationship Id="rId9" Type="http://schemas.openxmlformats.org/officeDocument/2006/relationships/image" Target="../media/image49.png"/></Relationships>
</file>

<file path=ppt/slides/_rels/slide13.xml.rels><?xml version="1.0" encoding="UTF-8" standalone="yes"?>
<Relationships xmlns="http://schemas.openxmlformats.org/package/2006/relationships"><Relationship Id="rId3" Type="http://schemas.openxmlformats.org/officeDocument/2006/relationships/image" Target="../media/image51.jpeg"/><Relationship Id="rId7" Type="http://schemas.openxmlformats.org/officeDocument/2006/relationships/image" Target="../media/image55.png"/><Relationship Id="rId2" Type="http://schemas.openxmlformats.org/officeDocument/2006/relationships/image" Target="../media/image50.jpeg"/><Relationship Id="rId1" Type="http://schemas.openxmlformats.org/officeDocument/2006/relationships/slideLayout" Target="../slideLayouts/slideLayout7.xml"/><Relationship Id="rId6" Type="http://schemas.openxmlformats.org/officeDocument/2006/relationships/image" Target="../media/image54.jpeg"/><Relationship Id="rId5" Type="http://schemas.openxmlformats.org/officeDocument/2006/relationships/image" Target="../media/image53.jpeg"/><Relationship Id="rId4" Type="http://schemas.openxmlformats.org/officeDocument/2006/relationships/image" Target="../media/image52.jpeg"/></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57.jpeg"/><Relationship Id="rId5" Type="http://schemas.openxmlformats.org/officeDocument/2006/relationships/image" Target="../media/image56.jpe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oleObject" Target="../embeddings/oleObject10.bin"/><Relationship Id="rId7" Type="http://schemas.openxmlformats.org/officeDocument/2006/relationships/image" Target="../media/image60.png"/><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59.png"/><Relationship Id="rId11" Type="http://schemas.openxmlformats.org/officeDocument/2006/relationships/image" Target="../media/image64.jpeg"/><Relationship Id="rId5" Type="http://schemas.openxmlformats.org/officeDocument/2006/relationships/image" Target="../media/image58.png"/><Relationship Id="rId10" Type="http://schemas.openxmlformats.org/officeDocument/2006/relationships/image" Target="../media/image63.png"/><Relationship Id="rId4" Type="http://schemas.openxmlformats.org/officeDocument/2006/relationships/image" Target="../media/image1.emf"/><Relationship Id="rId9" Type="http://schemas.openxmlformats.org/officeDocument/2006/relationships/image" Target="../media/image62.jpeg"/></Relationships>
</file>

<file path=ppt/slides/_rels/slide16.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oleObject" Target="../embeddings/oleObject11.bin"/><Relationship Id="rId7" Type="http://schemas.openxmlformats.org/officeDocument/2006/relationships/image" Target="../media/image67.png"/><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66.jpeg"/><Relationship Id="rId5" Type="http://schemas.openxmlformats.org/officeDocument/2006/relationships/image" Target="../media/image65.png"/><Relationship Id="rId4" Type="http://schemas.openxmlformats.org/officeDocument/2006/relationships/image" Target="../media/image1.emf"/><Relationship Id="rId9" Type="http://schemas.openxmlformats.org/officeDocument/2006/relationships/image" Target="../media/image69.png"/></Relationships>
</file>

<file path=ppt/slides/_rels/slide17.xml.rels><?xml version="1.0" encoding="UTF-8" standalone="yes"?>
<Relationships xmlns="http://schemas.openxmlformats.org/package/2006/relationships"><Relationship Id="rId8" Type="http://schemas.openxmlformats.org/officeDocument/2006/relationships/image" Target="../media/image72.jpeg"/><Relationship Id="rId3" Type="http://schemas.openxmlformats.org/officeDocument/2006/relationships/notesSlide" Target="../notesSlides/notesSlide5.xml"/><Relationship Id="rId7" Type="http://schemas.openxmlformats.org/officeDocument/2006/relationships/image" Target="../media/image71.jpeg"/><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70.jpeg"/><Relationship Id="rId11" Type="http://schemas.openxmlformats.org/officeDocument/2006/relationships/image" Target="../media/image75.jpeg"/><Relationship Id="rId5" Type="http://schemas.openxmlformats.org/officeDocument/2006/relationships/image" Target="../media/image1.emf"/><Relationship Id="rId10" Type="http://schemas.openxmlformats.org/officeDocument/2006/relationships/image" Target="../media/image74.jpeg"/><Relationship Id="rId4" Type="http://schemas.openxmlformats.org/officeDocument/2006/relationships/oleObject" Target="../embeddings/oleObject12.bin"/><Relationship Id="rId9" Type="http://schemas.openxmlformats.org/officeDocument/2006/relationships/image" Target="../media/image73.jpeg"/></Relationships>
</file>

<file path=ppt/slides/_rels/slide18.xml.rels><?xml version="1.0" encoding="UTF-8" standalone="yes"?>
<Relationships xmlns="http://schemas.openxmlformats.org/package/2006/relationships"><Relationship Id="rId8" Type="http://schemas.openxmlformats.org/officeDocument/2006/relationships/image" Target="../media/image78.jpeg"/><Relationship Id="rId13" Type="http://schemas.openxmlformats.org/officeDocument/2006/relationships/image" Target="../media/image83.jpeg"/><Relationship Id="rId3" Type="http://schemas.openxmlformats.org/officeDocument/2006/relationships/notesSlide" Target="../notesSlides/notesSlide6.xml"/><Relationship Id="rId7" Type="http://schemas.openxmlformats.org/officeDocument/2006/relationships/image" Target="../media/image77.jpeg"/><Relationship Id="rId12" Type="http://schemas.openxmlformats.org/officeDocument/2006/relationships/image" Target="../media/image82.jpeg"/><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76.jpeg"/><Relationship Id="rId11" Type="http://schemas.openxmlformats.org/officeDocument/2006/relationships/image" Target="../media/image81.jpeg"/><Relationship Id="rId5" Type="http://schemas.openxmlformats.org/officeDocument/2006/relationships/image" Target="../media/image1.emf"/><Relationship Id="rId10" Type="http://schemas.openxmlformats.org/officeDocument/2006/relationships/image" Target="../media/image80.jpeg"/><Relationship Id="rId4" Type="http://schemas.openxmlformats.org/officeDocument/2006/relationships/oleObject" Target="../embeddings/oleObject13.bin"/><Relationship Id="rId9" Type="http://schemas.openxmlformats.org/officeDocument/2006/relationships/image" Target="../media/image79.jpeg"/></Relationships>
</file>

<file path=ppt/slides/_rels/slide1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86.png"/><Relationship Id="rId4" Type="http://schemas.openxmlformats.org/officeDocument/2006/relationships/image" Target="../media/image85.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19.sv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19.svg"/></Relationships>
</file>

<file path=ppt/slides/_rels/slide22.xml.rels><?xml version="1.0" encoding="UTF-8" standalone="yes"?>
<Relationships xmlns="http://schemas.openxmlformats.org/package/2006/relationships"><Relationship Id="rId8" Type="http://schemas.openxmlformats.org/officeDocument/2006/relationships/image" Target="../media/image92.jpeg"/><Relationship Id="rId3" Type="http://schemas.openxmlformats.org/officeDocument/2006/relationships/oleObject" Target="../embeddings/oleObject15.bin"/><Relationship Id="rId7" Type="http://schemas.openxmlformats.org/officeDocument/2006/relationships/image" Target="../media/image91.png"/><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1.emf"/><Relationship Id="rId9" Type="http://schemas.openxmlformats.org/officeDocument/2006/relationships/image" Target="../media/image93.jpeg"/></Relationships>
</file>

<file path=ppt/slides/_rels/slide23.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oleObject" Target="../embeddings/oleObject16.bin"/><Relationship Id="rId7" Type="http://schemas.openxmlformats.org/officeDocument/2006/relationships/image" Target="../media/image96.png"/><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95.jpeg"/><Relationship Id="rId5" Type="http://schemas.openxmlformats.org/officeDocument/2006/relationships/image" Target="../media/image94.png"/><Relationship Id="rId10" Type="http://schemas.openxmlformats.org/officeDocument/2006/relationships/image" Target="../media/image99.png"/><Relationship Id="rId4" Type="http://schemas.openxmlformats.org/officeDocument/2006/relationships/image" Target="../media/image1.emf"/><Relationship Id="rId9" Type="http://schemas.openxmlformats.org/officeDocument/2006/relationships/image" Target="../media/image98.png"/></Relationships>
</file>

<file path=ppt/slides/_rels/slide24.xml.rels><?xml version="1.0" encoding="UTF-8" standalone="yes"?>
<Relationships xmlns="http://schemas.openxmlformats.org/package/2006/relationships"><Relationship Id="rId8" Type="http://schemas.openxmlformats.org/officeDocument/2006/relationships/image" Target="../media/image103.jpeg"/><Relationship Id="rId3" Type="http://schemas.openxmlformats.org/officeDocument/2006/relationships/oleObject" Target="../embeddings/oleObject17.bin"/><Relationship Id="rId7" Type="http://schemas.openxmlformats.org/officeDocument/2006/relationships/image" Target="../media/image102.jpeg"/><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image" Target="../media/image101.jpeg"/><Relationship Id="rId5" Type="http://schemas.openxmlformats.org/officeDocument/2006/relationships/image" Target="../media/image100.png"/><Relationship Id="rId4" Type="http://schemas.openxmlformats.org/officeDocument/2006/relationships/image" Target="../media/image1.emf"/><Relationship Id="rId9" Type="http://schemas.openxmlformats.org/officeDocument/2006/relationships/image" Target="../media/image104.jpeg"/></Relationships>
</file>

<file path=ppt/slides/_rels/slide25.xml.rels><?xml version="1.0" encoding="UTF-8" standalone="yes"?>
<Relationships xmlns="http://schemas.openxmlformats.org/package/2006/relationships"><Relationship Id="rId8" Type="http://schemas.openxmlformats.org/officeDocument/2006/relationships/image" Target="../media/image108.png"/><Relationship Id="rId13" Type="http://schemas.openxmlformats.org/officeDocument/2006/relationships/image" Target="../media/image113.jpeg"/><Relationship Id="rId18" Type="http://schemas.openxmlformats.org/officeDocument/2006/relationships/image" Target="../media/image118.jpeg"/><Relationship Id="rId3" Type="http://schemas.openxmlformats.org/officeDocument/2006/relationships/oleObject" Target="../embeddings/oleObject18.bin"/><Relationship Id="rId7" Type="http://schemas.openxmlformats.org/officeDocument/2006/relationships/image" Target="../media/image107.png"/><Relationship Id="rId12" Type="http://schemas.openxmlformats.org/officeDocument/2006/relationships/image" Target="../media/image112.jpeg"/><Relationship Id="rId17" Type="http://schemas.openxmlformats.org/officeDocument/2006/relationships/image" Target="../media/image117.jpeg"/><Relationship Id="rId2" Type="http://schemas.openxmlformats.org/officeDocument/2006/relationships/slideLayout" Target="../slideLayouts/slideLayout7.xml"/><Relationship Id="rId16" Type="http://schemas.openxmlformats.org/officeDocument/2006/relationships/image" Target="../media/image116.jpeg"/><Relationship Id="rId1" Type="http://schemas.openxmlformats.org/officeDocument/2006/relationships/tags" Target="../tags/tag19.xml"/><Relationship Id="rId6" Type="http://schemas.openxmlformats.org/officeDocument/2006/relationships/image" Target="../media/image106.png"/><Relationship Id="rId11" Type="http://schemas.openxmlformats.org/officeDocument/2006/relationships/image" Target="../media/image111.jpeg"/><Relationship Id="rId5" Type="http://schemas.openxmlformats.org/officeDocument/2006/relationships/image" Target="../media/image105.png"/><Relationship Id="rId15" Type="http://schemas.openxmlformats.org/officeDocument/2006/relationships/image" Target="../media/image115.jpeg"/><Relationship Id="rId10" Type="http://schemas.openxmlformats.org/officeDocument/2006/relationships/image" Target="../media/image110.jpeg"/><Relationship Id="rId4" Type="http://schemas.openxmlformats.org/officeDocument/2006/relationships/image" Target="../media/image1.emf"/><Relationship Id="rId9" Type="http://schemas.openxmlformats.org/officeDocument/2006/relationships/image" Target="../media/image109.png"/><Relationship Id="rId14" Type="http://schemas.openxmlformats.org/officeDocument/2006/relationships/image" Target="../media/image114.jpeg"/></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9.bin"/><Relationship Id="rId7" Type="http://schemas.openxmlformats.org/officeDocument/2006/relationships/image" Target="../media/image121.png"/><Relationship Id="rId2" Type="http://schemas.openxmlformats.org/officeDocument/2006/relationships/slideLayout" Target="../slideLayouts/slideLayout7.xml"/><Relationship Id="rId1" Type="http://schemas.openxmlformats.org/officeDocument/2006/relationships/tags" Target="../tags/tag20.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19.svg"/></Relationships>
</file>

<file path=ppt/slides/_rels/slide28.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oleObject" Target="../embeddings/oleObject20.bin"/><Relationship Id="rId7" Type="http://schemas.openxmlformats.org/officeDocument/2006/relationships/image" Target="../media/image124.png"/><Relationship Id="rId2" Type="http://schemas.openxmlformats.org/officeDocument/2006/relationships/slideLayout" Target="../slideLayouts/slideLayout7.xml"/><Relationship Id="rId1" Type="http://schemas.openxmlformats.org/officeDocument/2006/relationships/tags" Target="../tags/tag21.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emf"/><Relationship Id="rId9" Type="http://schemas.openxmlformats.org/officeDocument/2006/relationships/image" Target="../media/image126.png"/></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7.xml"/><Relationship Id="rId1" Type="http://schemas.openxmlformats.org/officeDocument/2006/relationships/tags" Target="../tags/tag22.xml"/><Relationship Id="rId5" Type="http://schemas.openxmlformats.org/officeDocument/2006/relationships/image" Target="../media/image127.jpe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19.svg"/></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7.xml"/><Relationship Id="rId1" Type="http://schemas.openxmlformats.org/officeDocument/2006/relationships/tags" Target="../tags/tag23.xml"/><Relationship Id="rId6" Type="http://schemas.openxmlformats.org/officeDocument/2006/relationships/image" Target="../media/image129.png"/><Relationship Id="rId5" Type="http://schemas.openxmlformats.org/officeDocument/2006/relationships/image" Target="../media/image128.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133.svg"/><Relationship Id="rId5" Type="http://schemas.openxmlformats.org/officeDocument/2006/relationships/image" Target="../media/image132.png"/><Relationship Id="rId4" Type="http://schemas.openxmlformats.org/officeDocument/2006/relationships/image" Target="../media/image131.jpeg"/></Relationships>
</file>

<file path=ppt/slides/_rels/slide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19.svg"/></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7.xml"/><Relationship Id="rId1" Type="http://schemas.openxmlformats.org/officeDocument/2006/relationships/tags" Target="../tags/tag24.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19.svg"/></Relationships>
</file>

<file path=ppt/slides/_rels/slide36.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oleObject" Target="../embeddings/oleObject24.bin"/><Relationship Id="rId7" Type="http://schemas.openxmlformats.org/officeDocument/2006/relationships/image" Target="../media/image138.png"/><Relationship Id="rId2" Type="http://schemas.openxmlformats.org/officeDocument/2006/relationships/slideLayout" Target="../slideLayouts/slideLayout7.xml"/><Relationship Id="rId1" Type="http://schemas.openxmlformats.org/officeDocument/2006/relationships/tags" Target="../tags/tag25.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image" Target="../media/image140.png"/><Relationship Id="rId1" Type="http://schemas.openxmlformats.org/officeDocument/2006/relationships/slideLayout" Target="../slideLayouts/slideLayout7.xml"/><Relationship Id="rId4" Type="http://schemas.openxmlformats.org/officeDocument/2006/relationships/image" Target="../media/image142.jpeg"/></Relationships>
</file>

<file path=ppt/slides/_rels/slide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oleObject" Target="../embeddings/oleObject4.bin"/><Relationship Id="rId7" Type="http://schemas.openxmlformats.org/officeDocument/2006/relationships/image" Target="../media/image24.png"/><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1.emf"/><Relationship Id="rId9" Type="http://schemas.openxmlformats.org/officeDocument/2006/relationships/image" Target="../media/image26.jpe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9.jpeg"/><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oleObject" Target="../embeddings/oleObject6.bin"/><Relationship Id="rId7" Type="http://schemas.openxmlformats.org/officeDocument/2006/relationships/image" Target="../media/image32.jpeg"/><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7.xml"/><Relationship Id="rId5" Type="http://schemas.openxmlformats.org/officeDocument/2006/relationships/image" Target="../media/image39.jpeg"/><Relationship Id="rId4" Type="http://schemas.openxmlformats.org/officeDocument/2006/relationships/image" Target="../media/image38.png"/></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7.xml"/><Relationship Id="rId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erson running across a crosswalk&#10;&#10;Description automatically generated">
            <a:extLst>
              <a:ext uri="{FF2B5EF4-FFF2-40B4-BE49-F238E27FC236}">
                <a16:creationId xmlns:a16="http://schemas.microsoft.com/office/drawing/2014/main" id="{62BA7D23-0751-2D1D-B241-697804FDA6D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287" t="19293"/>
          <a:stretch/>
        </p:blipFill>
        <p:spPr>
          <a:xfrm>
            <a:off x="0" y="0"/>
            <a:ext cx="12192000" cy="6858000"/>
          </a:xfrm>
          <a:prstGeom prst="rect">
            <a:avLst/>
          </a:prstGeom>
        </p:spPr>
      </p:pic>
      <p:sp>
        <p:nvSpPr>
          <p:cNvPr id="9" name="Rectangle 8">
            <a:extLst>
              <a:ext uri="{FF2B5EF4-FFF2-40B4-BE49-F238E27FC236}">
                <a16:creationId xmlns:a16="http://schemas.microsoft.com/office/drawing/2014/main" id="{CE86C925-9A96-9959-8F6B-C5BA847F4D8D}"/>
              </a:ext>
            </a:extLst>
          </p:cNvPr>
          <p:cNvSpPr/>
          <p:nvPr/>
        </p:nvSpPr>
        <p:spPr>
          <a:xfrm>
            <a:off x="5897881" y="1934882"/>
            <a:ext cx="6080760" cy="298823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i="0" u="none" strike="noStrike" kern="1200" cap="none" spc="0" normalizeH="0" baseline="0" noProof="0">
                <a:ln>
                  <a:noFill/>
                </a:ln>
                <a:solidFill>
                  <a:srgbClr val="F9F9F9"/>
                </a:solidFill>
                <a:effectLst/>
                <a:uLnTx/>
                <a:uFillTx/>
                <a:latin typeface="ASICS Font 3.0"/>
                <a:ea typeface="+mn-ea"/>
                <a:cs typeface="Calibri"/>
              </a:rPr>
              <a:t>ASICS SPORTSTYLE</a:t>
            </a:r>
            <a:endParaRPr kumimoji="0" lang="en-US" sz="4800" i="0" u="none" strike="noStrike" kern="1200" cap="none" spc="0" normalizeH="0" baseline="0" noProof="0">
              <a:ln>
                <a:noFill/>
              </a:ln>
              <a:solidFill>
                <a:srgbClr val="F9F9F9"/>
              </a:solidFill>
              <a:effectLst/>
              <a:uLnTx/>
              <a:uFillTx/>
              <a:latin typeface="ASICS Font 3.0"/>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F9F9F9"/>
                </a:solidFill>
                <a:effectLst/>
                <a:uLnTx/>
                <a:uFillTx/>
                <a:latin typeface="ASICS Font 3.0"/>
                <a:ea typeface="+mn-ea"/>
                <a:cs typeface="Calibri"/>
              </a:rPr>
              <a:t>SS26 VLP</a:t>
            </a:r>
          </a:p>
        </p:txBody>
      </p:sp>
      <p:pic>
        <p:nvPicPr>
          <p:cNvPr id="3" name="Graphic 2">
            <a:extLst>
              <a:ext uri="{FF2B5EF4-FFF2-40B4-BE49-F238E27FC236}">
                <a16:creationId xmlns:a16="http://schemas.microsoft.com/office/drawing/2014/main" id="{E8E63255-59E8-6C8E-F97A-4D6CA991493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713265" y="6100531"/>
            <a:ext cx="1478735" cy="698400"/>
          </a:xfrm>
          <a:prstGeom prst="rect">
            <a:avLst/>
          </a:prstGeom>
        </p:spPr>
      </p:pic>
      <p:sp>
        <p:nvSpPr>
          <p:cNvPr id="4" name="Text Placeholder 5">
            <a:extLst>
              <a:ext uri="{FF2B5EF4-FFF2-40B4-BE49-F238E27FC236}">
                <a16:creationId xmlns:a16="http://schemas.microsoft.com/office/drawing/2014/main" id="{E6A4A0C4-E3EC-A21F-7F6E-49D10F9B3D43}"/>
              </a:ext>
            </a:extLst>
          </p:cNvPr>
          <p:cNvSpPr>
            <a:spLocks noGrp="1"/>
          </p:cNvSpPr>
          <p:nvPr/>
        </p:nvSpPr>
        <p:spPr>
          <a:xfrm>
            <a:off x="184631" y="6248400"/>
            <a:ext cx="4816473" cy="492514"/>
          </a:xfrm>
          <a:prstGeom prst="rect">
            <a:avLst/>
          </a:prstGeom>
        </p:spPr>
        <p:txBody>
          <a:bodyPr vert="horz" lIns="0" tIns="0" rIns="0" bIns="0" rtlCol="0" anchor="b"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FFFFFF"/>
              </a:solidFill>
              <a:latin typeface="Aptos"/>
              <a:cs typeface="Arial"/>
            </a:endParaRPr>
          </a:p>
          <a:p>
            <a:endParaRPr lang="en-US">
              <a:solidFill>
                <a:srgbClr val="FFFFFF"/>
              </a:solidFill>
              <a:latin typeface="Aptos"/>
              <a:cs typeface="Arial"/>
            </a:endParaRPr>
          </a:p>
          <a:p>
            <a:endParaRPr lang="en-US" sz="700">
              <a:solidFill>
                <a:srgbClr val="FFFFFF"/>
              </a:solidFill>
              <a:latin typeface="Aptos Narrow"/>
              <a:ea typeface="+mn-lt"/>
              <a:cs typeface="+mn-lt"/>
            </a:endParaRPr>
          </a:p>
          <a:p>
            <a:r>
              <a:rPr lang="en-US" sz="700">
                <a:solidFill>
                  <a:srgbClr val="FFFFFF"/>
                </a:solidFill>
                <a:latin typeface="Aptos Narrow"/>
                <a:ea typeface="+mn-lt"/>
                <a:cs typeface="+mn-lt"/>
              </a:rPr>
              <a:t>The contents of this document are the proprietary and confidential information of ASICS Corporation and intended solely for informational purposes and internal use.  You are prohibited from copying, reproducing, disseminating or otherwise providing this information to, or use for the benefit of, any third party. Such dissemination or improper use may result in penalties. ASICS reserves all legal rights. If you have received this communication in error or do not agree to the above, please return this material to ASICS.</a:t>
            </a:r>
            <a:endParaRPr lang="en-US" sz="700">
              <a:latin typeface="Aptos Narrow"/>
            </a:endParaRPr>
          </a:p>
        </p:txBody>
      </p:sp>
    </p:spTree>
    <p:extLst>
      <p:ext uri="{BB962C8B-B14F-4D97-AF65-F5344CB8AC3E}">
        <p14:creationId xmlns:p14="http://schemas.microsoft.com/office/powerpoint/2010/main" val="701443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327"/>
        <p:cNvGrpSpPr/>
        <p:nvPr/>
      </p:nvGrpSpPr>
      <p:grpSpPr>
        <a:xfrm>
          <a:off x="0" y="0"/>
          <a:ext cx="0" cy="0"/>
          <a:chOff x="0" y="0"/>
          <a:chExt cx="0" cy="0"/>
        </a:xfrm>
      </p:grpSpPr>
      <p:sp>
        <p:nvSpPr>
          <p:cNvPr id="19" name="Google Shape;3459;p436">
            <a:extLst>
              <a:ext uri="{FF2B5EF4-FFF2-40B4-BE49-F238E27FC236}">
                <a16:creationId xmlns:a16="http://schemas.microsoft.com/office/drawing/2014/main" id="{35ED4F10-2E0B-4C28-B659-55D6669C6FD5}"/>
              </a:ext>
            </a:extLst>
          </p:cNvPr>
          <p:cNvSpPr/>
          <p:nvPr/>
        </p:nvSpPr>
        <p:spPr>
          <a:xfrm>
            <a:off x="0" y="214178"/>
            <a:ext cx="12192000" cy="4021226"/>
          </a:xfrm>
          <a:prstGeom prst="rect">
            <a:avLst/>
          </a:prstGeom>
          <a:solidFill>
            <a:srgbClr val="E3E3FF"/>
          </a:solidFill>
          <a:ln>
            <a:noFill/>
          </a:ln>
        </p:spPr>
        <p:txBody>
          <a:bodyPr spcFirstLastPara="1" wrap="square" lIns="85722" tIns="42845" rIns="85722" bIns="42845" anchor="ctr" anchorCtr="0">
            <a:noAutofit/>
          </a:bodyPr>
          <a:lstStyle/>
          <a:p>
            <a:pPr marL="0" marR="0" lvl="0" indent="0" algn="ctr" defTabSz="1143111" rtl="0" eaLnBrk="1" fontAlgn="auto" latinLnBrk="0" hangingPunct="1">
              <a:lnSpc>
                <a:spcPct val="100000"/>
              </a:lnSpc>
              <a:spcBef>
                <a:spcPts val="0"/>
              </a:spcBef>
              <a:spcAft>
                <a:spcPts val="0"/>
              </a:spcAft>
              <a:buClrTx/>
              <a:buSzTx/>
              <a:buFontTx/>
              <a:buNone/>
              <a:tabLst/>
              <a:defRPr/>
            </a:pPr>
            <a:endParaRPr kumimoji="0" lang="en-US" altLang="ja" sz="1125" b="0" i="0" u="none" strike="noStrike" kern="1200" cap="none" spc="0" normalizeH="0" baseline="0" noProof="0">
              <a:ln>
                <a:noFill/>
              </a:ln>
              <a:solidFill>
                <a:srgbClr val="FFFFFF"/>
              </a:solidFill>
              <a:effectLst/>
              <a:uLnTx/>
              <a:uFillTx/>
              <a:latin typeface="ASICS Font 3.0" panose="00000500000000000000" pitchFamily="50" charset="0"/>
              <a:ea typeface="+mn-ea"/>
              <a:cs typeface="+mn-cs"/>
            </a:endParaRPr>
          </a:p>
        </p:txBody>
      </p:sp>
      <p:sp>
        <p:nvSpPr>
          <p:cNvPr id="20" name="Title 2">
            <a:extLst>
              <a:ext uri="{FF2B5EF4-FFF2-40B4-BE49-F238E27FC236}">
                <a16:creationId xmlns:a16="http://schemas.microsoft.com/office/drawing/2014/main" id="{D986FB76-CFAA-4039-B71C-D9F118378972}"/>
              </a:ext>
            </a:extLst>
          </p:cNvPr>
          <p:cNvSpPr>
            <a:spLocks noGrp="1"/>
          </p:cNvSpPr>
          <p:nvPr>
            <p:ph type="title"/>
          </p:nvPr>
        </p:nvSpPr>
        <p:spPr>
          <a:xfrm>
            <a:off x="653055" y="2508497"/>
            <a:ext cx="6372185" cy="1563887"/>
          </a:xfrm>
        </p:spPr>
        <p:txBody>
          <a:bodyPr>
            <a:normAutofit/>
          </a:bodyPr>
          <a:lstStyle/>
          <a:p>
            <a:pPr>
              <a:lnSpc>
                <a:spcPct val="150000"/>
              </a:lnSpc>
            </a:pPr>
            <a:r>
              <a:rPr lang="en-GB" sz="3000" spc="375">
                <a:solidFill>
                  <a:schemeClr val="bg1"/>
                </a:solidFill>
                <a:latin typeface="ASICS Font 3.0" panose="00000500000000000000" pitchFamily="50" charset="0"/>
              </a:rPr>
              <a:t>VINTAGE TECH</a:t>
            </a:r>
            <a:endParaRPr lang="en-NL" sz="3000" spc="375">
              <a:solidFill>
                <a:schemeClr val="bg1"/>
              </a:solidFill>
              <a:latin typeface="ASICS Font 3.0" panose="00000500000000000000" pitchFamily="50" charset="0"/>
            </a:endParaRPr>
          </a:p>
        </p:txBody>
      </p:sp>
      <p:pic>
        <p:nvPicPr>
          <p:cNvPr id="2" name="Graphic 1">
            <a:extLst>
              <a:ext uri="{FF2B5EF4-FFF2-40B4-BE49-F238E27FC236}">
                <a16:creationId xmlns:a16="http://schemas.microsoft.com/office/drawing/2014/main" id="{A89EE5BA-0AC3-D0E4-9E43-4670649AECD8}"/>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59157" y="424004"/>
            <a:ext cx="1478735" cy="698400"/>
          </a:xfrm>
          <a:prstGeom prst="rect">
            <a:avLst/>
          </a:prstGeom>
        </p:spPr>
      </p:pic>
    </p:spTree>
    <p:extLst>
      <p:ext uri="{BB962C8B-B14F-4D97-AF65-F5344CB8AC3E}">
        <p14:creationId xmlns:p14="http://schemas.microsoft.com/office/powerpoint/2010/main" val="16775064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19C4181-4801-E6E0-9A63-F25048D33103}"/>
              </a:ext>
            </a:extLst>
          </p:cNvPr>
          <p:cNvGraphicFramePr>
            <a:graphicFrameLocks noChangeAspect="1"/>
          </p:cNvGraphicFramePr>
          <p:nvPr>
            <p:custDataLst>
              <p:tags r:id="rId1"/>
            </p:custDataLst>
            <p:extLst>
              <p:ext uri="{D42A27DB-BD31-4B8C-83A1-F6EECF244321}">
                <p14:modId xmlns:p14="http://schemas.microsoft.com/office/powerpoint/2010/main" val="1326471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12" name="think-cell data - do not delete" hidden="1">
                        <a:extLst>
                          <a:ext uri="{FF2B5EF4-FFF2-40B4-BE49-F238E27FC236}">
                            <a16:creationId xmlns:a16="http://schemas.microsoft.com/office/drawing/2014/main" id="{019C4181-4801-E6E0-9A63-F25048D331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3A3F3CD9-1903-D28A-43C5-D65E80965B42}"/>
              </a:ext>
            </a:extLst>
          </p:cNvPr>
          <p:cNvPicPr>
            <a:picLocks noChangeAspect="1"/>
          </p:cNvPicPr>
          <p:nvPr/>
        </p:nvPicPr>
        <p:blipFill>
          <a:blip r:embed="rId5"/>
          <a:stretch>
            <a:fillRect/>
          </a:stretch>
        </p:blipFill>
        <p:spPr>
          <a:xfrm>
            <a:off x="5128314" y="729232"/>
            <a:ext cx="1504614" cy="720000"/>
          </a:xfrm>
          <a:prstGeom prst="rect">
            <a:avLst/>
          </a:prstGeom>
        </p:spPr>
      </p:pic>
      <p:pic>
        <p:nvPicPr>
          <p:cNvPr id="11" name="Picture 10">
            <a:extLst>
              <a:ext uri="{FF2B5EF4-FFF2-40B4-BE49-F238E27FC236}">
                <a16:creationId xmlns:a16="http://schemas.microsoft.com/office/drawing/2014/main" id="{B9376B7A-BBA0-8F4A-4DCA-8FCBA85EDC3F}"/>
              </a:ext>
            </a:extLst>
          </p:cNvPr>
          <p:cNvPicPr>
            <a:picLocks noChangeAspect="1"/>
          </p:cNvPicPr>
          <p:nvPr/>
        </p:nvPicPr>
        <p:blipFill>
          <a:blip r:embed="rId6"/>
          <a:stretch>
            <a:fillRect/>
          </a:stretch>
        </p:blipFill>
        <p:spPr>
          <a:xfrm>
            <a:off x="1538825" y="729232"/>
            <a:ext cx="1504606" cy="720000"/>
          </a:xfrm>
          <a:prstGeom prst="rect">
            <a:avLst/>
          </a:prstGeom>
        </p:spPr>
      </p:pic>
      <p:sp>
        <p:nvSpPr>
          <p:cNvPr id="70" name="Rectangle 2">
            <a:extLst>
              <a:ext uri="{FF2B5EF4-FFF2-40B4-BE49-F238E27FC236}">
                <a16:creationId xmlns:a16="http://schemas.microsoft.com/office/drawing/2014/main" id="{806B8040-186A-DF35-242B-F6AD41CEFC9B}"/>
              </a:ext>
            </a:extLst>
          </p:cNvPr>
          <p:cNvSpPr/>
          <p:nvPr/>
        </p:nvSpPr>
        <p:spPr>
          <a:xfrm>
            <a:off x="275673" y="540586"/>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rgbClr val="202322"/>
                </a:solidFill>
                <a:latin typeface="Aptos Narrow"/>
                <a:ea typeface="+mn-lt"/>
                <a:cs typeface="+mn-lt"/>
              </a:rPr>
              <a:t>GEL-SD-LYTE</a:t>
            </a:r>
          </a:p>
          <a:p>
            <a:r>
              <a:rPr lang="en-US" sz="800" b="1" dirty="0">
                <a:solidFill>
                  <a:srgbClr val="202322"/>
                </a:solidFill>
                <a:latin typeface="Aptos Narrow"/>
                <a:ea typeface="+mn-lt"/>
                <a:cs typeface="+mn-lt"/>
              </a:rPr>
              <a:t>1203A886</a:t>
            </a:r>
          </a:p>
          <a:p>
            <a:r>
              <a:rPr lang="en-US" sz="800" dirty="0">
                <a:solidFill>
                  <a:srgbClr val="202322"/>
                </a:solidFill>
                <a:latin typeface="Aptos Narrow"/>
                <a:ea typeface="+mn-lt"/>
                <a:cs typeface="+mn-lt"/>
              </a:rPr>
              <a:t>NEW</a:t>
            </a:r>
          </a:p>
          <a:p>
            <a:r>
              <a:rPr lang="en-US" sz="800" dirty="0">
                <a:solidFill>
                  <a:srgbClr val="202322"/>
                </a:solidFill>
                <a:latin typeface="Aptos Narrow"/>
                <a:ea typeface="+mn-lt"/>
                <a:cs typeface="+mn-lt"/>
              </a:rPr>
              <a:t>UNI</a:t>
            </a:r>
          </a:p>
          <a:p>
            <a:r>
              <a:rPr lang="en-US" sz="800" dirty="0">
                <a:solidFill>
                  <a:srgbClr val="202322"/>
                </a:solidFill>
                <a:latin typeface="Aptos Narrow"/>
                <a:ea typeface="+mn-lt"/>
                <a:cs typeface="+mn-lt"/>
              </a:rPr>
              <a:t>BASE</a:t>
            </a:r>
          </a:p>
          <a:p>
            <a:r>
              <a:rPr lang="en-US" sz="800" dirty="0">
                <a:solidFill>
                  <a:schemeClr val="tx1"/>
                </a:solidFill>
                <a:latin typeface="Aptos Narrow" panose="020B0004020202020204" pitchFamily="34" charset="0"/>
                <a:ea typeface="+mn-lt"/>
                <a:cs typeface="+mn-lt"/>
              </a:rPr>
              <a:t>€17</a:t>
            </a:r>
            <a:r>
              <a:rPr lang="el-GR" sz="800" dirty="0">
                <a:solidFill>
                  <a:schemeClr val="tx1"/>
                </a:solidFill>
                <a:latin typeface="Aptos Narrow" panose="020B0004020202020204" pitchFamily="34" charset="0"/>
                <a:ea typeface="+mn-lt"/>
                <a:cs typeface="+mn-lt"/>
              </a:rPr>
              <a:t>5</a:t>
            </a:r>
            <a:endParaRPr lang="en-US" sz="800" dirty="0">
              <a:solidFill>
                <a:schemeClr val="tx1"/>
              </a:solidFill>
              <a:latin typeface="Aptos Narrow" panose="020B0004020202020204" pitchFamily="34" charset="0"/>
              <a:ea typeface="+mn-lt"/>
              <a:cs typeface="+mn-lt"/>
            </a:endParaRPr>
          </a:p>
          <a:p>
            <a:endParaRPr lang="en-US" sz="800" dirty="0">
              <a:solidFill>
                <a:srgbClr val="202322"/>
              </a:solidFill>
              <a:latin typeface="Aptos Narrow"/>
              <a:ea typeface="+mn-lt"/>
              <a:cs typeface="+mn-lt"/>
            </a:endParaRPr>
          </a:p>
        </p:txBody>
      </p:sp>
      <p:sp>
        <p:nvSpPr>
          <p:cNvPr id="10" name="タイトル 5">
            <a:extLst>
              <a:ext uri="{FF2B5EF4-FFF2-40B4-BE49-F238E27FC236}">
                <a16:creationId xmlns:a16="http://schemas.microsoft.com/office/drawing/2014/main" id="{0B412A69-80CD-F242-DEA4-EC485828E12C}"/>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r>
              <a:rPr lang="en-US" altLang="ja-JP">
                <a:latin typeface="Aptos"/>
                <a:cs typeface="Calibri"/>
              </a:rPr>
              <a:t>GEL-sd-lyte</a:t>
            </a:r>
            <a:endParaRPr lang="ja-JP" altLang="en-US" err="1"/>
          </a:p>
        </p:txBody>
      </p:sp>
      <p:sp>
        <p:nvSpPr>
          <p:cNvPr id="15" name="正方形/長方形 8">
            <a:extLst>
              <a:ext uri="{FF2B5EF4-FFF2-40B4-BE49-F238E27FC236}">
                <a16:creationId xmlns:a16="http://schemas.microsoft.com/office/drawing/2014/main" id="{807CE7CA-85DB-3F11-CD82-ABE9E1422532}"/>
              </a:ext>
            </a:extLst>
          </p:cNvPr>
          <p:cNvSpPr/>
          <p:nvPr/>
        </p:nvSpPr>
        <p:spPr>
          <a:xfrm rot="16200000">
            <a:off x="-2932101" y="3568394"/>
            <a:ext cx="6219424" cy="180063"/>
          </a:xfrm>
          <a:prstGeom prst="rect">
            <a:avLst/>
          </a:prstGeom>
          <a:solidFill>
            <a:srgbClr val="EDEEEE"/>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solidFill>
                  <a:schemeClr val="tx1"/>
                </a:solidFill>
                <a:latin typeface="Aptos" panose="020B0004020202020204" pitchFamily="34" charset="0"/>
              </a:rPr>
              <a:t>PLATINUM PLUS</a:t>
            </a:r>
            <a:endParaRPr kumimoji="1" lang="ja-JP" altLang="en-US" sz="800">
              <a:solidFill>
                <a:schemeClr val="tx1"/>
              </a:solidFill>
              <a:latin typeface="Aptos" panose="020B0004020202020204" pitchFamily="34" charset="0"/>
            </a:endParaRPr>
          </a:p>
        </p:txBody>
      </p:sp>
      <p:sp>
        <p:nvSpPr>
          <p:cNvPr id="6" name="Google Shape;84;p13">
            <a:extLst>
              <a:ext uri="{FF2B5EF4-FFF2-40B4-BE49-F238E27FC236}">
                <a16:creationId xmlns:a16="http://schemas.microsoft.com/office/drawing/2014/main" id="{89559E3A-48F9-5A61-43DB-FDF6C406D47B}"/>
              </a:ext>
            </a:extLst>
          </p:cNvPr>
          <p:cNvSpPr txBox="1"/>
          <p:nvPr/>
        </p:nvSpPr>
        <p:spPr>
          <a:xfrm>
            <a:off x="1538825" y="613816"/>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ltLang="ja">
                <a:latin typeface="Aptos Narrow" panose="020B0004020202020204" pitchFamily="34" charset="0"/>
              </a:rPr>
              <a:t>750</a:t>
            </a:r>
          </a:p>
        </p:txBody>
      </p:sp>
      <p:sp>
        <p:nvSpPr>
          <p:cNvPr id="8" name="Google Shape;84;p13">
            <a:extLst>
              <a:ext uri="{FF2B5EF4-FFF2-40B4-BE49-F238E27FC236}">
                <a16:creationId xmlns:a16="http://schemas.microsoft.com/office/drawing/2014/main" id="{8419AFA7-5685-7E4F-DCFD-3DE4C873D585}"/>
              </a:ext>
            </a:extLst>
          </p:cNvPr>
          <p:cNvSpPr txBox="1"/>
          <p:nvPr/>
        </p:nvSpPr>
        <p:spPr>
          <a:xfrm>
            <a:off x="5128314" y="613816"/>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ltLang="ja">
                <a:latin typeface="Aptos Narrow" panose="020B0004020202020204" pitchFamily="34" charset="0"/>
              </a:rPr>
              <a:t>400</a:t>
            </a:r>
          </a:p>
        </p:txBody>
      </p:sp>
    </p:spTree>
    <p:extLst>
      <p:ext uri="{BB962C8B-B14F-4D97-AF65-F5344CB8AC3E}">
        <p14:creationId xmlns:p14="http://schemas.microsoft.com/office/powerpoint/2010/main" val="41661161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5147141A-9E95-E891-688F-A6928AB4FDAA}"/>
              </a:ext>
            </a:extLst>
          </p:cNvPr>
          <p:cNvGraphicFramePr>
            <a:graphicFrameLocks noChangeAspect="1"/>
          </p:cNvGraphicFramePr>
          <p:nvPr>
            <p:custDataLst>
              <p:tags r:id="rId1"/>
            </p:custDataLst>
            <p:extLst>
              <p:ext uri="{D42A27DB-BD31-4B8C-83A1-F6EECF244321}">
                <p14:modId xmlns:p14="http://schemas.microsoft.com/office/powerpoint/2010/main" val="4096828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15" name="think-cell data - do not delete" hidden="1">
                        <a:extLst>
                          <a:ext uri="{FF2B5EF4-FFF2-40B4-BE49-F238E27FC236}">
                            <a16:creationId xmlns:a16="http://schemas.microsoft.com/office/drawing/2014/main" id="{5147141A-9E95-E891-688F-A6928AB4FD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id="{606E8792-80F5-A2D3-A83D-B69388822E41}"/>
              </a:ext>
            </a:extLst>
          </p:cNvPr>
          <p:cNvPicPr>
            <a:picLocks noChangeAspect="1"/>
          </p:cNvPicPr>
          <p:nvPr/>
        </p:nvPicPr>
        <p:blipFill>
          <a:blip r:embed="rId5"/>
          <a:stretch>
            <a:fillRect/>
          </a:stretch>
        </p:blipFill>
        <p:spPr>
          <a:xfrm>
            <a:off x="3305442" y="631151"/>
            <a:ext cx="1496102" cy="720000"/>
          </a:xfrm>
          <a:prstGeom prst="rect">
            <a:avLst/>
          </a:prstGeom>
        </p:spPr>
      </p:pic>
      <p:sp>
        <p:nvSpPr>
          <p:cNvPr id="11" name="正方形/長方形 10">
            <a:extLst>
              <a:ext uri="{FF2B5EF4-FFF2-40B4-BE49-F238E27FC236}">
                <a16:creationId xmlns:a16="http://schemas.microsoft.com/office/drawing/2014/main" id="{98392D4A-E041-7E1F-EF3D-6CB99BC30EA3}"/>
              </a:ext>
            </a:extLst>
          </p:cNvPr>
          <p:cNvSpPr/>
          <p:nvPr/>
        </p:nvSpPr>
        <p:spPr>
          <a:xfrm>
            <a:off x="190500" y="540591"/>
            <a:ext cx="11930814" cy="2702583"/>
          </a:xfrm>
          <a:prstGeom prst="rect">
            <a:avLst/>
          </a:prstGeom>
          <a:no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latin typeface="Aptos" panose="020B0004020202020204" pitchFamily="34" charset="0"/>
            </a:endParaRPr>
          </a:p>
        </p:txBody>
      </p:sp>
      <p:pic>
        <p:nvPicPr>
          <p:cNvPr id="30" name="Picture 5">
            <a:extLst>
              <a:ext uri="{FF2B5EF4-FFF2-40B4-BE49-F238E27FC236}">
                <a16:creationId xmlns:a16="http://schemas.microsoft.com/office/drawing/2014/main" id="{211331C7-4C8E-EC6B-9499-336BED4FA3C0}"/>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3335092" y="1511177"/>
            <a:ext cx="1466452" cy="720000"/>
          </a:xfrm>
          <a:prstGeom prst="rect">
            <a:avLst/>
          </a:prstGeom>
        </p:spPr>
      </p:pic>
      <p:sp>
        <p:nvSpPr>
          <p:cNvPr id="71" name="Rectangle 2">
            <a:extLst>
              <a:ext uri="{FF2B5EF4-FFF2-40B4-BE49-F238E27FC236}">
                <a16:creationId xmlns:a16="http://schemas.microsoft.com/office/drawing/2014/main" id="{2AD15FC7-13C1-7EAF-160A-6AFB645E257B}"/>
              </a:ext>
            </a:extLst>
          </p:cNvPr>
          <p:cNvSpPr/>
          <p:nvPr/>
        </p:nvSpPr>
        <p:spPr>
          <a:xfrm>
            <a:off x="347951" y="795988"/>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KAYANO 20</a:t>
            </a:r>
          </a:p>
          <a:p>
            <a:r>
              <a:rPr lang="en-US" sz="800" b="1" dirty="0">
                <a:solidFill>
                  <a:schemeClr val="tx1"/>
                </a:solidFill>
                <a:latin typeface="Aptos Narrow"/>
                <a:ea typeface="+mn-lt"/>
                <a:cs typeface="+mn-lt"/>
              </a:rPr>
              <a:t>1203A388</a:t>
            </a:r>
          </a:p>
          <a:p>
            <a:r>
              <a:rPr lang="en-US" sz="800" dirty="0">
                <a:solidFill>
                  <a:schemeClr val="tx1"/>
                </a:solidFill>
                <a:latin typeface="Aptos Narrow"/>
                <a:ea typeface="+mn-lt"/>
                <a:cs typeface="+mn-lt"/>
              </a:rPr>
              <a:t>CUD</a:t>
            </a:r>
          </a:p>
          <a:p>
            <a:r>
              <a:rPr lang="en-US" sz="800" dirty="0">
                <a:solidFill>
                  <a:schemeClr val="tx1"/>
                </a:solidFill>
                <a:latin typeface="Aptos Narrow"/>
                <a:ea typeface="+mn-lt"/>
                <a:cs typeface="+mn-lt"/>
              </a:rPr>
              <a:t>UNI</a:t>
            </a:r>
          </a:p>
          <a:p>
            <a:r>
              <a:rPr lang="en-US" sz="800" dirty="0">
                <a:solidFill>
                  <a:schemeClr val="tx1"/>
                </a:solidFill>
                <a:latin typeface="Aptos Narrow"/>
                <a:ea typeface="+mn-lt"/>
                <a:cs typeface="+mn-lt"/>
              </a:rPr>
              <a:t>OG</a:t>
            </a:r>
          </a:p>
          <a:p>
            <a:r>
              <a:rPr lang="en-US" sz="800" dirty="0">
                <a:solidFill>
                  <a:schemeClr val="tx1"/>
                </a:solidFill>
                <a:latin typeface="Aptos Narrow"/>
                <a:ea typeface="+mn-lt"/>
                <a:cs typeface="+mn-lt"/>
              </a:rPr>
              <a:t>€18</a:t>
            </a:r>
            <a:r>
              <a:rPr lang="el-GR" sz="800" dirty="0">
                <a:solidFill>
                  <a:schemeClr val="tx1"/>
                </a:solidFill>
                <a:latin typeface="Aptos Narrow"/>
                <a:ea typeface="+mn-lt"/>
                <a:cs typeface="+mn-lt"/>
              </a:rPr>
              <a:t>5</a:t>
            </a:r>
            <a:endParaRPr lang="en-US" sz="800" dirty="0">
              <a:solidFill>
                <a:schemeClr val="tx1"/>
              </a:solidFill>
              <a:latin typeface="Aptos Narrow"/>
              <a:ea typeface="+mn-lt"/>
              <a:cs typeface="+mn-lt"/>
            </a:endParaRPr>
          </a:p>
          <a:p>
            <a:endParaRPr lang="en-US" sz="800" dirty="0">
              <a:solidFill>
                <a:schemeClr val="tx1"/>
              </a:solidFill>
              <a:latin typeface="Aptos Narrow"/>
            </a:endParaRPr>
          </a:p>
        </p:txBody>
      </p:sp>
      <p:sp>
        <p:nvSpPr>
          <p:cNvPr id="10" name="正方形/長方形 9">
            <a:extLst>
              <a:ext uri="{FF2B5EF4-FFF2-40B4-BE49-F238E27FC236}">
                <a16:creationId xmlns:a16="http://schemas.microsoft.com/office/drawing/2014/main" id="{4AC399DE-D4E4-C4AF-59E7-215433152576}"/>
              </a:ext>
            </a:extLst>
          </p:cNvPr>
          <p:cNvSpPr/>
          <p:nvPr/>
        </p:nvSpPr>
        <p:spPr>
          <a:xfrm rot="16200000">
            <a:off x="-2944701" y="3575441"/>
            <a:ext cx="6227149" cy="157450"/>
          </a:xfrm>
          <a:prstGeom prst="rect">
            <a:avLst/>
          </a:prstGeom>
          <a:solidFill>
            <a:srgbClr val="F2EEDE"/>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solidFill>
                  <a:schemeClr val="tx1"/>
                </a:solidFill>
                <a:latin typeface="Aptos" panose="020B0004020202020204" pitchFamily="34" charset="0"/>
              </a:rPr>
              <a:t>PLATINUM</a:t>
            </a:r>
            <a:endParaRPr kumimoji="1" lang="ja-JP" altLang="en-US" sz="800">
              <a:solidFill>
                <a:schemeClr val="tx1"/>
              </a:solidFill>
              <a:latin typeface="Aptos" panose="020B0004020202020204" pitchFamily="34" charset="0"/>
            </a:endParaRPr>
          </a:p>
        </p:txBody>
      </p:sp>
      <p:pic>
        <p:nvPicPr>
          <p:cNvPr id="6" name="Picture 5">
            <a:extLst>
              <a:ext uri="{FF2B5EF4-FFF2-40B4-BE49-F238E27FC236}">
                <a16:creationId xmlns:a16="http://schemas.microsoft.com/office/drawing/2014/main" id="{1CB1D092-4F50-3019-62FF-0E9523CF3624}"/>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6891872" y="635377"/>
            <a:ext cx="1503425" cy="720000"/>
          </a:xfrm>
          <a:prstGeom prst="rect">
            <a:avLst/>
          </a:prstGeom>
        </p:spPr>
      </p:pic>
      <p:pic>
        <p:nvPicPr>
          <p:cNvPr id="7" name="Picture 5">
            <a:extLst>
              <a:ext uri="{FF2B5EF4-FFF2-40B4-BE49-F238E27FC236}">
                <a16:creationId xmlns:a16="http://schemas.microsoft.com/office/drawing/2014/main" id="{A6CFB719-0CDA-E2A9-9192-9A2C474396B8}"/>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6891872" y="1450163"/>
            <a:ext cx="1444512" cy="720000"/>
          </a:xfrm>
          <a:prstGeom prst="rect">
            <a:avLst/>
          </a:prstGeom>
        </p:spPr>
      </p:pic>
      <p:sp>
        <p:nvSpPr>
          <p:cNvPr id="13" name="タイトル 5">
            <a:extLst>
              <a:ext uri="{FF2B5EF4-FFF2-40B4-BE49-F238E27FC236}">
                <a16:creationId xmlns:a16="http://schemas.microsoft.com/office/drawing/2014/main" id="{9FF345BE-73CA-498A-D836-41BC1A914EB8}"/>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r>
              <a:rPr lang="en-US" altLang="ja-JP">
                <a:latin typeface="Aptos"/>
                <a:cs typeface="Calibri"/>
              </a:rPr>
              <a:t>GEL-</a:t>
            </a:r>
            <a:r>
              <a:rPr lang="en-US" altLang="ja-JP" err="1">
                <a:latin typeface="Aptos"/>
                <a:cs typeface="Calibri"/>
              </a:rPr>
              <a:t>kayano</a:t>
            </a:r>
            <a:r>
              <a:rPr lang="en-US" altLang="ja-JP">
                <a:latin typeface="Aptos"/>
                <a:cs typeface="Calibri"/>
              </a:rPr>
              <a:t> 20</a:t>
            </a:r>
            <a:endParaRPr lang="ja-JP" altLang="en-US"/>
          </a:p>
        </p:txBody>
      </p:sp>
      <p:sp>
        <p:nvSpPr>
          <p:cNvPr id="20" name="Google Shape;84;p13">
            <a:extLst>
              <a:ext uri="{FF2B5EF4-FFF2-40B4-BE49-F238E27FC236}">
                <a16:creationId xmlns:a16="http://schemas.microsoft.com/office/drawing/2014/main" id="{4DF470D2-A451-2DA4-C8B9-80CAD037405B}"/>
              </a:ext>
            </a:extLst>
          </p:cNvPr>
          <p:cNvSpPr txBox="1"/>
          <p:nvPr/>
        </p:nvSpPr>
        <p:spPr>
          <a:xfrm>
            <a:off x="3352550" y="1450163"/>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003</a:t>
            </a:r>
          </a:p>
        </p:txBody>
      </p:sp>
      <p:sp>
        <p:nvSpPr>
          <p:cNvPr id="21" name="Google Shape;84;p13">
            <a:extLst>
              <a:ext uri="{FF2B5EF4-FFF2-40B4-BE49-F238E27FC236}">
                <a16:creationId xmlns:a16="http://schemas.microsoft.com/office/drawing/2014/main" id="{4F0BFE79-AD9B-3204-27A2-EFA8F2511BB2}"/>
              </a:ext>
            </a:extLst>
          </p:cNvPr>
          <p:cNvSpPr txBox="1"/>
          <p:nvPr/>
        </p:nvSpPr>
        <p:spPr>
          <a:xfrm>
            <a:off x="3335092" y="618656"/>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104</a:t>
            </a:r>
          </a:p>
        </p:txBody>
      </p:sp>
      <p:sp>
        <p:nvSpPr>
          <p:cNvPr id="24" name="Google Shape;84;p13">
            <a:extLst>
              <a:ext uri="{FF2B5EF4-FFF2-40B4-BE49-F238E27FC236}">
                <a16:creationId xmlns:a16="http://schemas.microsoft.com/office/drawing/2014/main" id="{40E8D209-84A8-7DC6-8030-1E43A5C846C9}"/>
              </a:ext>
            </a:extLst>
          </p:cNvPr>
          <p:cNvSpPr txBox="1"/>
          <p:nvPr/>
        </p:nvSpPr>
        <p:spPr>
          <a:xfrm>
            <a:off x="6892774" y="612980"/>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a:latin typeface="Aptos Narrow" panose="020B0004020202020204" pitchFamily="34" charset="0"/>
              </a:rPr>
              <a:t>023</a:t>
            </a:r>
          </a:p>
        </p:txBody>
      </p:sp>
      <p:sp>
        <p:nvSpPr>
          <p:cNvPr id="25" name="Google Shape;84;p13">
            <a:extLst>
              <a:ext uri="{FF2B5EF4-FFF2-40B4-BE49-F238E27FC236}">
                <a16:creationId xmlns:a16="http://schemas.microsoft.com/office/drawing/2014/main" id="{01DAC9CA-8E2D-A706-5416-D243E5B2B7F4}"/>
              </a:ext>
            </a:extLst>
          </p:cNvPr>
          <p:cNvSpPr txBox="1"/>
          <p:nvPr/>
        </p:nvSpPr>
        <p:spPr>
          <a:xfrm>
            <a:off x="6927126" y="1452954"/>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105</a:t>
            </a:r>
          </a:p>
        </p:txBody>
      </p:sp>
      <p:pic>
        <p:nvPicPr>
          <p:cNvPr id="2" name="Εικόνα 1">
            <a:extLst>
              <a:ext uri="{FF2B5EF4-FFF2-40B4-BE49-F238E27FC236}">
                <a16:creationId xmlns:a16="http://schemas.microsoft.com/office/drawing/2014/main" id="{D521A7DE-E340-28A0-B89C-68D41DC6A740}"/>
              </a:ext>
            </a:extLst>
          </p:cNvPr>
          <p:cNvPicPr>
            <a:picLocks noChangeAspect="1"/>
          </p:cNvPicPr>
          <p:nvPr/>
        </p:nvPicPr>
        <p:blipFill>
          <a:blip r:embed="rId9"/>
          <a:stretch>
            <a:fillRect/>
          </a:stretch>
        </p:blipFill>
        <p:spPr>
          <a:xfrm flipH="1">
            <a:off x="3305442" y="2420443"/>
            <a:ext cx="1466452" cy="692991"/>
          </a:xfrm>
          <a:prstGeom prst="rect">
            <a:avLst/>
          </a:prstGeom>
        </p:spPr>
      </p:pic>
      <p:sp>
        <p:nvSpPr>
          <p:cNvPr id="3" name="Google Shape;84;p13">
            <a:extLst>
              <a:ext uri="{FF2B5EF4-FFF2-40B4-BE49-F238E27FC236}">
                <a16:creationId xmlns:a16="http://schemas.microsoft.com/office/drawing/2014/main" id="{110106D4-7FC8-72D8-29AA-DF22D914515B}"/>
              </a:ext>
            </a:extLst>
          </p:cNvPr>
          <p:cNvSpPr txBox="1"/>
          <p:nvPr/>
        </p:nvSpPr>
        <p:spPr>
          <a:xfrm>
            <a:off x="3344090" y="2391203"/>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020</a:t>
            </a:r>
          </a:p>
        </p:txBody>
      </p:sp>
    </p:spTree>
    <p:extLst>
      <p:ext uri="{BB962C8B-B14F-4D97-AF65-F5344CB8AC3E}">
        <p14:creationId xmlns:p14="http://schemas.microsoft.com/office/powerpoint/2010/main" val="39642333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正方形/長方形 10">
            <a:extLst>
              <a:ext uri="{FF2B5EF4-FFF2-40B4-BE49-F238E27FC236}">
                <a16:creationId xmlns:a16="http://schemas.microsoft.com/office/drawing/2014/main" id="{6B58D09C-27DC-8D67-B884-F2891883F76C}"/>
              </a:ext>
            </a:extLst>
          </p:cNvPr>
          <p:cNvSpPr/>
          <p:nvPr/>
        </p:nvSpPr>
        <p:spPr>
          <a:xfrm flipV="1">
            <a:off x="276715" y="542831"/>
            <a:ext cx="11835680" cy="1912418"/>
          </a:xfrm>
          <a:prstGeom prst="rect">
            <a:avLst/>
          </a:prstGeom>
          <a:no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latin typeface="Aptos" panose="020B0004020202020204" pitchFamily="34" charset="0"/>
            </a:endParaRPr>
          </a:p>
        </p:txBody>
      </p:sp>
      <p:pic>
        <p:nvPicPr>
          <p:cNvPr id="26" name="Picture 5">
            <a:extLst>
              <a:ext uri="{FF2B5EF4-FFF2-40B4-BE49-F238E27FC236}">
                <a16:creationId xmlns:a16="http://schemas.microsoft.com/office/drawing/2014/main" id="{FB29675E-6582-94DB-7F85-CDC65F7255B6}"/>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120560" y="2541090"/>
            <a:ext cx="1458480" cy="731520"/>
          </a:xfrm>
          <a:prstGeom prst="rect">
            <a:avLst/>
          </a:prstGeom>
        </p:spPr>
      </p:pic>
      <p:sp>
        <p:nvSpPr>
          <p:cNvPr id="70" name="Rectangle 2">
            <a:extLst>
              <a:ext uri="{FF2B5EF4-FFF2-40B4-BE49-F238E27FC236}">
                <a16:creationId xmlns:a16="http://schemas.microsoft.com/office/drawing/2014/main" id="{806B8040-186A-DF35-242B-F6AD41CEFC9B}"/>
              </a:ext>
            </a:extLst>
          </p:cNvPr>
          <p:cNvSpPr/>
          <p:nvPr/>
        </p:nvSpPr>
        <p:spPr>
          <a:xfrm>
            <a:off x="283498" y="2455249"/>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KAYANO 14</a:t>
            </a:r>
          </a:p>
          <a:p>
            <a:r>
              <a:rPr lang="en-US" sz="800" b="1" dirty="0">
                <a:solidFill>
                  <a:schemeClr val="tx1"/>
                </a:solidFill>
                <a:latin typeface="Aptos Narrow"/>
                <a:ea typeface="+mn-lt"/>
                <a:cs typeface="+mn-lt"/>
              </a:rPr>
              <a:t>1203A537</a:t>
            </a:r>
          </a:p>
          <a:p>
            <a:r>
              <a:rPr lang="en-US" sz="800" dirty="0">
                <a:solidFill>
                  <a:schemeClr val="tx1"/>
                </a:solidFill>
                <a:latin typeface="Aptos Narrow"/>
                <a:ea typeface="+mn-lt"/>
                <a:cs typeface="+mn-lt"/>
              </a:rPr>
              <a:t>CUD</a:t>
            </a:r>
          </a:p>
          <a:p>
            <a:r>
              <a:rPr lang="en-US" sz="800" dirty="0">
                <a:solidFill>
                  <a:schemeClr val="tx1"/>
                </a:solidFill>
                <a:latin typeface="Aptos Narrow"/>
                <a:ea typeface="+mn-lt"/>
                <a:cs typeface="+mn-lt"/>
              </a:rPr>
              <a:t>UNI</a:t>
            </a:r>
          </a:p>
          <a:p>
            <a:r>
              <a:rPr lang="en-US" sz="800" dirty="0">
                <a:solidFill>
                  <a:schemeClr val="tx1"/>
                </a:solidFill>
                <a:latin typeface="Aptos Narrow"/>
                <a:ea typeface="+mn-lt"/>
                <a:cs typeface="+mn-lt"/>
              </a:rPr>
              <a:t>OG</a:t>
            </a:r>
          </a:p>
          <a:p>
            <a:r>
              <a:rPr lang="en-US" sz="800" dirty="0">
                <a:solidFill>
                  <a:schemeClr val="tx1"/>
                </a:solidFill>
                <a:latin typeface="Aptos Narrow"/>
                <a:ea typeface="+mn-lt"/>
                <a:cs typeface="+mn-lt"/>
              </a:rPr>
              <a:t>€17</a:t>
            </a:r>
            <a:r>
              <a:rPr lang="el-GR" sz="800" dirty="0">
                <a:solidFill>
                  <a:schemeClr val="tx1"/>
                </a:solidFill>
                <a:latin typeface="Aptos Narrow"/>
                <a:ea typeface="+mn-lt"/>
                <a:cs typeface="+mn-lt"/>
              </a:rPr>
              <a:t>5</a:t>
            </a:r>
            <a:endParaRPr lang="en-US" sz="800" dirty="0">
              <a:solidFill>
                <a:schemeClr val="tx1"/>
              </a:solidFill>
              <a:latin typeface="Aptos Narrow"/>
              <a:ea typeface="+mn-lt"/>
              <a:cs typeface="+mn-lt"/>
            </a:endParaRPr>
          </a:p>
          <a:p>
            <a:endParaRPr lang="en-US" sz="800" dirty="0">
              <a:solidFill>
                <a:schemeClr val="tx1"/>
              </a:solidFill>
              <a:latin typeface="Aptos Narrow"/>
            </a:endParaRPr>
          </a:p>
        </p:txBody>
      </p:sp>
      <p:sp>
        <p:nvSpPr>
          <p:cNvPr id="72" name="Rectangle 2">
            <a:extLst>
              <a:ext uri="{FF2B5EF4-FFF2-40B4-BE49-F238E27FC236}">
                <a16:creationId xmlns:a16="http://schemas.microsoft.com/office/drawing/2014/main" id="{234DE21D-50CF-DB20-39D6-AED9A2B1BE66}"/>
              </a:ext>
            </a:extLst>
          </p:cNvPr>
          <p:cNvSpPr/>
          <p:nvPr/>
        </p:nvSpPr>
        <p:spPr>
          <a:xfrm>
            <a:off x="283000" y="545066"/>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KAYANO 14</a:t>
            </a:r>
          </a:p>
          <a:p>
            <a:r>
              <a:rPr lang="en-US" sz="800" b="1" dirty="0">
                <a:solidFill>
                  <a:schemeClr val="tx1"/>
                </a:solidFill>
                <a:latin typeface="Aptos Narrow"/>
                <a:ea typeface="+mn-lt"/>
                <a:cs typeface="+mn-lt"/>
              </a:rPr>
              <a:t>1203A740</a:t>
            </a:r>
          </a:p>
          <a:p>
            <a:r>
              <a:rPr lang="en-US" sz="800" dirty="0">
                <a:solidFill>
                  <a:schemeClr val="tx1"/>
                </a:solidFill>
                <a:latin typeface="Aptos Narrow"/>
                <a:ea typeface="+mn-lt"/>
                <a:cs typeface="+mn-lt"/>
              </a:rPr>
              <a:t>CUD</a:t>
            </a:r>
          </a:p>
          <a:p>
            <a:r>
              <a:rPr lang="en-US" sz="800" dirty="0">
                <a:solidFill>
                  <a:schemeClr val="tx1"/>
                </a:solidFill>
                <a:latin typeface="Aptos Narrow"/>
                <a:ea typeface="+mn-lt"/>
                <a:cs typeface="+mn-lt"/>
              </a:rPr>
              <a:t>UNI</a:t>
            </a:r>
          </a:p>
          <a:p>
            <a:r>
              <a:rPr lang="en-US" sz="800" dirty="0">
                <a:solidFill>
                  <a:schemeClr val="tx1"/>
                </a:solidFill>
                <a:latin typeface="Aptos Narrow"/>
                <a:ea typeface="+mn-lt"/>
                <a:cs typeface="+mn-lt"/>
              </a:rPr>
              <a:t>OG - 2 TONE MESH</a:t>
            </a:r>
          </a:p>
          <a:p>
            <a:r>
              <a:rPr lang="en-US" sz="800" dirty="0">
                <a:solidFill>
                  <a:schemeClr val="tx1"/>
                </a:solidFill>
                <a:latin typeface="Aptos Narrow"/>
                <a:ea typeface="+mn-lt"/>
                <a:cs typeface="+mn-lt"/>
              </a:rPr>
              <a:t>€17</a:t>
            </a:r>
            <a:r>
              <a:rPr lang="el-GR" sz="800" dirty="0">
                <a:solidFill>
                  <a:schemeClr val="tx1"/>
                </a:solidFill>
                <a:latin typeface="Aptos Narrow"/>
                <a:ea typeface="+mn-lt"/>
                <a:cs typeface="+mn-lt"/>
              </a:rPr>
              <a:t>5</a:t>
            </a:r>
            <a:endParaRPr lang="en-US" sz="800" dirty="0">
              <a:solidFill>
                <a:schemeClr val="tx1"/>
              </a:solidFill>
              <a:latin typeface="Aptos Narrow"/>
              <a:ea typeface="+mn-lt"/>
              <a:cs typeface="+mn-lt"/>
            </a:endParaRPr>
          </a:p>
          <a:p>
            <a:endParaRPr lang="en-US" sz="800" dirty="0">
              <a:solidFill>
                <a:schemeClr val="tx1"/>
              </a:solidFill>
              <a:latin typeface="Aptos Narrow"/>
            </a:endParaRPr>
          </a:p>
        </p:txBody>
      </p:sp>
      <p:pic>
        <p:nvPicPr>
          <p:cNvPr id="4" name="Picture 5">
            <a:extLst>
              <a:ext uri="{FF2B5EF4-FFF2-40B4-BE49-F238E27FC236}">
                <a16:creationId xmlns:a16="http://schemas.microsoft.com/office/drawing/2014/main" id="{48C21262-1EFC-8A50-F04D-2DA161E282B1}"/>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6973172" y="5253990"/>
            <a:ext cx="1451696" cy="731520"/>
          </a:xfrm>
          <a:prstGeom prst="rect">
            <a:avLst/>
          </a:prstGeom>
        </p:spPr>
      </p:pic>
      <p:sp>
        <p:nvSpPr>
          <p:cNvPr id="6" name="正方形/長方形 5">
            <a:extLst>
              <a:ext uri="{FF2B5EF4-FFF2-40B4-BE49-F238E27FC236}">
                <a16:creationId xmlns:a16="http://schemas.microsoft.com/office/drawing/2014/main" id="{4E7379E7-B223-5265-17E2-5038E7A504EE}"/>
              </a:ext>
            </a:extLst>
          </p:cNvPr>
          <p:cNvSpPr/>
          <p:nvPr/>
        </p:nvSpPr>
        <p:spPr>
          <a:xfrm rot="16200000">
            <a:off x="-1078289" y="5403991"/>
            <a:ext cx="2531708" cy="208545"/>
          </a:xfrm>
          <a:prstGeom prst="rect">
            <a:avLst/>
          </a:prstGeom>
          <a:solidFill>
            <a:srgbClr val="F2EEDE"/>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solidFill>
                  <a:schemeClr val="tx1"/>
                </a:solidFill>
                <a:latin typeface="Aptos" panose="020B0004020202020204" pitchFamily="34" charset="0"/>
              </a:rPr>
              <a:t>PLATINUM</a:t>
            </a:r>
            <a:endParaRPr kumimoji="1" lang="ja-JP" altLang="en-US" sz="800">
              <a:solidFill>
                <a:schemeClr val="tx1"/>
              </a:solidFill>
              <a:latin typeface="Aptos" panose="020B0004020202020204" pitchFamily="34" charset="0"/>
            </a:endParaRPr>
          </a:p>
        </p:txBody>
      </p:sp>
      <p:sp>
        <p:nvSpPr>
          <p:cNvPr id="7" name="正方形/長方形 6">
            <a:extLst>
              <a:ext uri="{FF2B5EF4-FFF2-40B4-BE49-F238E27FC236}">
                <a16:creationId xmlns:a16="http://schemas.microsoft.com/office/drawing/2014/main" id="{3A59C27C-B009-804E-038F-B88B1D633C09}"/>
              </a:ext>
            </a:extLst>
          </p:cNvPr>
          <p:cNvSpPr/>
          <p:nvPr/>
        </p:nvSpPr>
        <p:spPr>
          <a:xfrm rot="16200000">
            <a:off x="-1661338" y="2293073"/>
            <a:ext cx="3703416" cy="202929"/>
          </a:xfrm>
          <a:prstGeom prst="rect">
            <a:avLst/>
          </a:prstGeom>
          <a:solidFill>
            <a:srgbClr val="EDEEEE"/>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solidFill>
                  <a:schemeClr val="tx1"/>
                </a:solidFill>
                <a:latin typeface="Aptos" panose="020B0004020202020204" pitchFamily="34" charset="0"/>
              </a:rPr>
              <a:t>PLATINUM PLUS</a:t>
            </a:r>
            <a:endParaRPr kumimoji="1" lang="ja-JP" altLang="en-US" sz="800">
              <a:solidFill>
                <a:schemeClr val="tx1"/>
              </a:solidFill>
              <a:latin typeface="Aptos" panose="020B0004020202020204" pitchFamily="34" charset="0"/>
            </a:endParaRPr>
          </a:p>
        </p:txBody>
      </p:sp>
      <p:pic>
        <p:nvPicPr>
          <p:cNvPr id="12" name="Picture 5">
            <a:extLst>
              <a:ext uri="{FF2B5EF4-FFF2-40B4-BE49-F238E27FC236}">
                <a16:creationId xmlns:a16="http://schemas.microsoft.com/office/drawing/2014/main" id="{F26B8D16-34E9-29AC-57ED-85913D960F5E}"/>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578406" y="678890"/>
            <a:ext cx="1512672" cy="731520"/>
          </a:xfrm>
          <a:prstGeom prst="rect">
            <a:avLst/>
          </a:prstGeom>
        </p:spPr>
      </p:pic>
      <p:pic>
        <p:nvPicPr>
          <p:cNvPr id="14" name="Picture 5">
            <a:extLst>
              <a:ext uri="{FF2B5EF4-FFF2-40B4-BE49-F238E27FC236}">
                <a16:creationId xmlns:a16="http://schemas.microsoft.com/office/drawing/2014/main" id="{168BF0FF-5E09-81C4-770F-203E359F279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1595431" y="1506870"/>
            <a:ext cx="1495647" cy="731520"/>
          </a:xfrm>
          <a:prstGeom prst="rect">
            <a:avLst/>
          </a:prstGeom>
        </p:spPr>
      </p:pic>
      <p:sp>
        <p:nvSpPr>
          <p:cNvPr id="10" name="タイトル 5">
            <a:extLst>
              <a:ext uri="{FF2B5EF4-FFF2-40B4-BE49-F238E27FC236}">
                <a16:creationId xmlns:a16="http://schemas.microsoft.com/office/drawing/2014/main" id="{89B79249-8CEC-4AD7-3632-D5B621D4712A}"/>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r>
              <a:rPr lang="en-US" altLang="ja-JP" dirty="0">
                <a:latin typeface="Aptos"/>
                <a:cs typeface="Calibri"/>
              </a:rPr>
              <a:t>GEL-</a:t>
            </a:r>
            <a:r>
              <a:rPr lang="en-US" altLang="ja-JP" dirty="0" err="1">
                <a:latin typeface="Aptos"/>
                <a:cs typeface="Calibri"/>
              </a:rPr>
              <a:t>kayano</a:t>
            </a:r>
            <a:r>
              <a:rPr lang="en-US" altLang="ja-JP" dirty="0">
                <a:latin typeface="Aptos"/>
                <a:cs typeface="Calibri"/>
              </a:rPr>
              <a:t> 14</a:t>
            </a:r>
            <a:endParaRPr lang="ja-JP" altLang="en-US" dirty="0"/>
          </a:p>
        </p:txBody>
      </p:sp>
      <p:pic>
        <p:nvPicPr>
          <p:cNvPr id="9" name="Picture 8">
            <a:extLst>
              <a:ext uri="{FF2B5EF4-FFF2-40B4-BE49-F238E27FC236}">
                <a16:creationId xmlns:a16="http://schemas.microsoft.com/office/drawing/2014/main" id="{F96C32CA-C05D-F873-B752-A15117F12087}"/>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6940232" y="4402420"/>
            <a:ext cx="1451696" cy="731520"/>
          </a:xfrm>
          <a:prstGeom prst="rect">
            <a:avLst/>
          </a:prstGeom>
        </p:spPr>
      </p:pic>
      <p:sp>
        <p:nvSpPr>
          <p:cNvPr id="13" name="正方形/長方形 10">
            <a:extLst>
              <a:ext uri="{FF2B5EF4-FFF2-40B4-BE49-F238E27FC236}">
                <a16:creationId xmlns:a16="http://schemas.microsoft.com/office/drawing/2014/main" id="{FC2920FA-35A4-5DDE-E5C9-4E3E452A4941}"/>
              </a:ext>
            </a:extLst>
          </p:cNvPr>
          <p:cNvSpPr/>
          <p:nvPr/>
        </p:nvSpPr>
        <p:spPr>
          <a:xfrm flipV="1">
            <a:off x="1381081" y="4246245"/>
            <a:ext cx="10731314" cy="2519722"/>
          </a:xfrm>
          <a:prstGeom prst="rect">
            <a:avLst/>
          </a:prstGeom>
          <a:no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latin typeface="Aptos" panose="020B0004020202020204" pitchFamily="34" charset="0"/>
            </a:endParaRPr>
          </a:p>
        </p:txBody>
      </p:sp>
      <p:sp>
        <p:nvSpPr>
          <p:cNvPr id="15" name="Google Shape;84;p13">
            <a:extLst>
              <a:ext uri="{FF2B5EF4-FFF2-40B4-BE49-F238E27FC236}">
                <a16:creationId xmlns:a16="http://schemas.microsoft.com/office/drawing/2014/main" id="{1AA69007-B1E3-CDF7-1929-529AB2B8D7E1}"/>
              </a:ext>
            </a:extLst>
          </p:cNvPr>
          <p:cNvSpPr txBox="1"/>
          <p:nvPr/>
        </p:nvSpPr>
        <p:spPr>
          <a:xfrm>
            <a:off x="1568368" y="668163"/>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a:latin typeface="Aptos Narrow" panose="020B0004020202020204" pitchFamily="34" charset="0"/>
              </a:rPr>
              <a:t>103</a:t>
            </a:r>
          </a:p>
        </p:txBody>
      </p:sp>
      <p:sp>
        <p:nvSpPr>
          <p:cNvPr id="16" name="Google Shape;84;p13">
            <a:extLst>
              <a:ext uri="{FF2B5EF4-FFF2-40B4-BE49-F238E27FC236}">
                <a16:creationId xmlns:a16="http://schemas.microsoft.com/office/drawing/2014/main" id="{65B5D05E-CB21-A417-D183-DD8DBC6BECF6}"/>
              </a:ext>
            </a:extLst>
          </p:cNvPr>
          <p:cNvSpPr txBox="1"/>
          <p:nvPr/>
        </p:nvSpPr>
        <p:spPr>
          <a:xfrm>
            <a:off x="1568368" y="1506068"/>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a:latin typeface="Aptos Narrow" panose="020B0004020202020204" pitchFamily="34" charset="0"/>
              </a:rPr>
              <a:t>104</a:t>
            </a:r>
          </a:p>
        </p:txBody>
      </p:sp>
      <p:sp>
        <p:nvSpPr>
          <p:cNvPr id="17" name="Google Shape;84;p13">
            <a:extLst>
              <a:ext uri="{FF2B5EF4-FFF2-40B4-BE49-F238E27FC236}">
                <a16:creationId xmlns:a16="http://schemas.microsoft.com/office/drawing/2014/main" id="{8556EE6B-4511-288D-AE9A-CC239383B5A1}"/>
              </a:ext>
            </a:extLst>
          </p:cNvPr>
          <p:cNvSpPr txBox="1"/>
          <p:nvPr/>
        </p:nvSpPr>
        <p:spPr>
          <a:xfrm>
            <a:off x="5159679" y="2541090"/>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a:latin typeface="Aptos Narrow" panose="020B0004020202020204" pitchFamily="34" charset="0"/>
              </a:rPr>
              <a:t>116</a:t>
            </a:r>
          </a:p>
        </p:txBody>
      </p:sp>
      <p:sp>
        <p:nvSpPr>
          <p:cNvPr id="19" name="Google Shape;84;p13">
            <a:extLst>
              <a:ext uri="{FF2B5EF4-FFF2-40B4-BE49-F238E27FC236}">
                <a16:creationId xmlns:a16="http://schemas.microsoft.com/office/drawing/2014/main" id="{71DA0682-323A-CA17-11EB-DCCE38547794}"/>
              </a:ext>
            </a:extLst>
          </p:cNvPr>
          <p:cNvSpPr txBox="1"/>
          <p:nvPr/>
        </p:nvSpPr>
        <p:spPr>
          <a:xfrm>
            <a:off x="6973172" y="4387243"/>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a:latin typeface="Aptos Narrow" panose="020B0004020202020204" pitchFamily="34" charset="0"/>
              </a:rPr>
              <a:t>115</a:t>
            </a:r>
          </a:p>
        </p:txBody>
      </p:sp>
      <p:sp>
        <p:nvSpPr>
          <p:cNvPr id="20" name="Google Shape;84;p13">
            <a:extLst>
              <a:ext uri="{FF2B5EF4-FFF2-40B4-BE49-F238E27FC236}">
                <a16:creationId xmlns:a16="http://schemas.microsoft.com/office/drawing/2014/main" id="{B76F7AF8-DA26-E55D-4931-20695D00FE48}"/>
              </a:ext>
            </a:extLst>
          </p:cNvPr>
          <p:cNvSpPr txBox="1"/>
          <p:nvPr/>
        </p:nvSpPr>
        <p:spPr>
          <a:xfrm>
            <a:off x="6976998" y="5239092"/>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a:latin typeface="Aptos Narrow" panose="020B0004020202020204" pitchFamily="34" charset="0"/>
              </a:rPr>
              <a:t>111</a:t>
            </a:r>
          </a:p>
        </p:txBody>
      </p:sp>
      <p:pic>
        <p:nvPicPr>
          <p:cNvPr id="2" name="Picture 1">
            <a:extLst>
              <a:ext uri="{FF2B5EF4-FFF2-40B4-BE49-F238E27FC236}">
                <a16:creationId xmlns:a16="http://schemas.microsoft.com/office/drawing/2014/main" id="{23E643E8-AE93-4D0F-8392-902BEB78943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1647" b="1647"/>
          <a:stretch/>
        </p:blipFill>
        <p:spPr>
          <a:xfrm>
            <a:off x="1572011" y="4402420"/>
            <a:ext cx="1487234" cy="732611"/>
          </a:xfrm>
          <a:prstGeom prst="rect">
            <a:avLst/>
          </a:prstGeom>
        </p:spPr>
      </p:pic>
      <p:sp>
        <p:nvSpPr>
          <p:cNvPr id="24" name="Google Shape;84;p13">
            <a:extLst>
              <a:ext uri="{FF2B5EF4-FFF2-40B4-BE49-F238E27FC236}">
                <a16:creationId xmlns:a16="http://schemas.microsoft.com/office/drawing/2014/main" id="{DC92F888-D6F9-FB98-B293-A5B454772AEB}"/>
              </a:ext>
            </a:extLst>
          </p:cNvPr>
          <p:cNvSpPr txBox="1"/>
          <p:nvPr/>
        </p:nvSpPr>
        <p:spPr>
          <a:xfrm>
            <a:off x="1572011" y="4306193"/>
            <a:ext cx="372218" cy="3693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a:latin typeface="Aptos Narrow" panose="020B0004020202020204" pitchFamily="34" charset="0"/>
              </a:rPr>
              <a:t>103</a:t>
            </a:r>
          </a:p>
          <a:p>
            <a:r>
              <a:rPr lang="en-US" altLang="ja">
                <a:latin typeface="Aptos Narrow" panose="020B0004020202020204" pitchFamily="34" charset="0"/>
              </a:rPr>
              <a:t>C/O</a:t>
            </a:r>
          </a:p>
        </p:txBody>
      </p:sp>
    </p:spTree>
    <p:extLst>
      <p:ext uri="{BB962C8B-B14F-4D97-AF65-F5344CB8AC3E}">
        <p14:creationId xmlns:p14="http://schemas.microsoft.com/office/powerpoint/2010/main" val="24838038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F09C2EB-5563-7E3E-A123-1052E10D51EF}"/>
              </a:ext>
            </a:extLst>
          </p:cNvPr>
          <p:cNvGraphicFramePr>
            <a:graphicFrameLocks noChangeAspect="1"/>
          </p:cNvGraphicFramePr>
          <p:nvPr>
            <p:custDataLst>
              <p:tags r:id="rId1"/>
            </p:custDataLst>
            <p:extLst>
              <p:ext uri="{D42A27DB-BD31-4B8C-83A1-F6EECF244321}">
                <p14:modId xmlns:p14="http://schemas.microsoft.com/office/powerpoint/2010/main" val="2838521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13" name="think-cell data - do not delete" hidden="1">
                        <a:extLst>
                          <a:ext uri="{FF2B5EF4-FFF2-40B4-BE49-F238E27FC236}">
                            <a16:creationId xmlns:a16="http://schemas.microsoft.com/office/drawing/2014/main" id="{BF09C2EB-5563-7E3E-A123-1052E10D51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正方形/長方形 9">
            <a:extLst>
              <a:ext uri="{FF2B5EF4-FFF2-40B4-BE49-F238E27FC236}">
                <a16:creationId xmlns:a16="http://schemas.microsoft.com/office/drawing/2014/main" id="{39547CE7-B49C-E17A-F12B-02B91B759A82}"/>
              </a:ext>
            </a:extLst>
          </p:cNvPr>
          <p:cNvSpPr/>
          <p:nvPr/>
        </p:nvSpPr>
        <p:spPr>
          <a:xfrm>
            <a:off x="263184" y="540591"/>
            <a:ext cx="11858130" cy="2353737"/>
          </a:xfrm>
          <a:prstGeom prst="rect">
            <a:avLst/>
          </a:prstGeom>
          <a:no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latin typeface="Aptos" panose="020B0004020202020204" pitchFamily="34" charset="0"/>
            </a:endParaRPr>
          </a:p>
        </p:txBody>
      </p:sp>
      <p:sp>
        <p:nvSpPr>
          <p:cNvPr id="5" name="タイトル 5">
            <a:extLst>
              <a:ext uri="{FF2B5EF4-FFF2-40B4-BE49-F238E27FC236}">
                <a16:creationId xmlns:a16="http://schemas.microsoft.com/office/drawing/2014/main" id="{CD77C823-4212-562D-9818-BB3A5BF9E5E5}"/>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r>
              <a:rPr lang="en-US" altLang="ja-JP">
                <a:latin typeface="Aptos"/>
                <a:cs typeface="Calibri"/>
              </a:rPr>
              <a:t>GEL-CUMULUS 16 (PAGE 1 OF 2)</a:t>
            </a:r>
            <a:endParaRPr lang="ja-JP" altLang="en-US"/>
          </a:p>
        </p:txBody>
      </p:sp>
      <p:sp>
        <p:nvSpPr>
          <p:cNvPr id="4" name="正方形/長方形 9">
            <a:extLst>
              <a:ext uri="{FF2B5EF4-FFF2-40B4-BE49-F238E27FC236}">
                <a16:creationId xmlns:a16="http://schemas.microsoft.com/office/drawing/2014/main" id="{0C6AEC1A-20A0-4FBD-ADFB-3AEE8E4ED04B}"/>
              </a:ext>
            </a:extLst>
          </p:cNvPr>
          <p:cNvSpPr/>
          <p:nvPr/>
        </p:nvSpPr>
        <p:spPr>
          <a:xfrm rot="16200000">
            <a:off x="-2937725" y="3567217"/>
            <a:ext cx="6227534" cy="174282"/>
          </a:xfrm>
          <a:prstGeom prst="rect">
            <a:avLst/>
          </a:prstGeom>
          <a:solidFill>
            <a:srgbClr val="EDEEEE"/>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solidFill>
                  <a:schemeClr val="tx1"/>
                </a:solidFill>
                <a:latin typeface="Aptos" panose="020B0004020202020204" pitchFamily="34" charset="0"/>
              </a:rPr>
              <a:t>PLATINUM PLUS</a:t>
            </a:r>
            <a:endParaRPr kumimoji="1" lang="ja-JP" altLang="en-US" sz="800">
              <a:solidFill>
                <a:schemeClr val="tx1"/>
              </a:solidFill>
              <a:latin typeface="Aptos" panose="020B0004020202020204" pitchFamily="34" charset="0"/>
            </a:endParaRPr>
          </a:p>
        </p:txBody>
      </p:sp>
      <p:pic>
        <p:nvPicPr>
          <p:cNvPr id="6" name="Picture 5">
            <a:extLst>
              <a:ext uri="{FF2B5EF4-FFF2-40B4-BE49-F238E27FC236}">
                <a16:creationId xmlns:a16="http://schemas.microsoft.com/office/drawing/2014/main" id="{7C300A7A-D773-50EC-5EA0-8ACFFB5AAB4B}"/>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3322680" y="625114"/>
            <a:ext cx="1527480" cy="731520"/>
          </a:xfrm>
          <a:prstGeom prst="rect">
            <a:avLst/>
          </a:prstGeom>
        </p:spPr>
      </p:pic>
      <p:pic>
        <p:nvPicPr>
          <p:cNvPr id="7" name="Picture 5">
            <a:extLst>
              <a:ext uri="{FF2B5EF4-FFF2-40B4-BE49-F238E27FC236}">
                <a16:creationId xmlns:a16="http://schemas.microsoft.com/office/drawing/2014/main" id="{1246A809-9EEC-3568-386B-C3F9287BA22C}"/>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3322680" y="1432300"/>
            <a:ext cx="1512672" cy="731520"/>
          </a:xfrm>
          <a:prstGeom prst="rect">
            <a:avLst/>
          </a:prstGeom>
        </p:spPr>
      </p:pic>
      <p:sp>
        <p:nvSpPr>
          <p:cNvPr id="8" name="Rectangle 2">
            <a:extLst>
              <a:ext uri="{FF2B5EF4-FFF2-40B4-BE49-F238E27FC236}">
                <a16:creationId xmlns:a16="http://schemas.microsoft.com/office/drawing/2014/main" id="{E9828DA0-DCAD-AF5E-762F-947E17553293}"/>
              </a:ext>
            </a:extLst>
          </p:cNvPr>
          <p:cNvSpPr/>
          <p:nvPr/>
        </p:nvSpPr>
        <p:spPr>
          <a:xfrm>
            <a:off x="263184" y="580844"/>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CUMULUS 16</a:t>
            </a:r>
          </a:p>
          <a:p>
            <a:r>
              <a:rPr lang="en-US" sz="800" b="1" dirty="0">
                <a:solidFill>
                  <a:schemeClr val="tx1"/>
                </a:solidFill>
                <a:latin typeface="Aptos Narrow"/>
                <a:ea typeface="+mn-lt"/>
                <a:cs typeface="+mn-lt"/>
              </a:rPr>
              <a:t>1203A888</a:t>
            </a:r>
          </a:p>
          <a:p>
            <a:r>
              <a:rPr lang="en-US" sz="800" dirty="0">
                <a:solidFill>
                  <a:schemeClr val="tx1"/>
                </a:solidFill>
                <a:latin typeface="Aptos Narrow"/>
                <a:ea typeface="+mn-lt"/>
                <a:cs typeface="+mn-lt"/>
              </a:rPr>
              <a:t>MUD</a:t>
            </a:r>
          </a:p>
          <a:p>
            <a:r>
              <a:rPr lang="en-US" sz="800" dirty="0">
                <a:solidFill>
                  <a:schemeClr val="tx1"/>
                </a:solidFill>
                <a:latin typeface="Aptos Narrow"/>
                <a:ea typeface="+mn-lt"/>
                <a:cs typeface="+mn-lt"/>
              </a:rPr>
              <a:t>UNI</a:t>
            </a:r>
          </a:p>
          <a:p>
            <a:r>
              <a:rPr lang="en-US" sz="800" dirty="0">
                <a:solidFill>
                  <a:schemeClr val="tx1"/>
                </a:solidFill>
                <a:latin typeface="Aptos Narrow"/>
                <a:ea typeface="+mn-lt"/>
                <a:cs typeface="+mn-lt"/>
              </a:rPr>
              <a:t>SPORTY MESH</a:t>
            </a:r>
          </a:p>
          <a:p>
            <a:r>
              <a:rPr lang="en-US" sz="800" dirty="0">
                <a:solidFill>
                  <a:schemeClr val="tx1"/>
                </a:solidFill>
                <a:latin typeface="Aptos Narrow"/>
                <a:ea typeface="+mn-lt"/>
                <a:cs typeface="+mn-lt"/>
              </a:rPr>
              <a:t>€15</a:t>
            </a:r>
            <a:r>
              <a:rPr lang="el-GR" sz="800" dirty="0">
                <a:solidFill>
                  <a:schemeClr val="tx1"/>
                </a:solidFill>
                <a:latin typeface="Aptos Narrow"/>
                <a:ea typeface="+mn-lt"/>
                <a:cs typeface="+mn-lt"/>
              </a:rPr>
              <a:t>5</a:t>
            </a:r>
            <a:endParaRPr lang="en-US" sz="800" dirty="0">
              <a:solidFill>
                <a:schemeClr val="tx1"/>
              </a:solidFill>
              <a:latin typeface="Aptos Narrow"/>
              <a:ea typeface="+mn-lt"/>
              <a:cs typeface="+mn-lt"/>
            </a:endParaRPr>
          </a:p>
        </p:txBody>
      </p:sp>
      <p:sp>
        <p:nvSpPr>
          <p:cNvPr id="10" name="Google Shape;84;p13">
            <a:extLst>
              <a:ext uri="{FF2B5EF4-FFF2-40B4-BE49-F238E27FC236}">
                <a16:creationId xmlns:a16="http://schemas.microsoft.com/office/drawing/2014/main" id="{3CA3DB86-34BD-F40E-D32D-4D7C32441505}"/>
              </a:ext>
            </a:extLst>
          </p:cNvPr>
          <p:cNvSpPr txBox="1"/>
          <p:nvPr/>
        </p:nvSpPr>
        <p:spPr>
          <a:xfrm>
            <a:off x="3265674" y="602560"/>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a:latin typeface="Aptos Narrow" panose="020B0004020202020204" pitchFamily="34" charset="0"/>
              </a:rPr>
              <a:t>001</a:t>
            </a:r>
          </a:p>
        </p:txBody>
      </p:sp>
      <p:sp>
        <p:nvSpPr>
          <p:cNvPr id="12" name="Google Shape;84;p13">
            <a:extLst>
              <a:ext uri="{FF2B5EF4-FFF2-40B4-BE49-F238E27FC236}">
                <a16:creationId xmlns:a16="http://schemas.microsoft.com/office/drawing/2014/main" id="{4C2F91C7-6418-A591-EE53-ED8E05EB0906}"/>
              </a:ext>
            </a:extLst>
          </p:cNvPr>
          <p:cNvSpPr txBox="1"/>
          <p:nvPr/>
        </p:nvSpPr>
        <p:spPr>
          <a:xfrm>
            <a:off x="3263539" y="1409746"/>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750</a:t>
            </a:r>
          </a:p>
        </p:txBody>
      </p:sp>
    </p:spTree>
    <p:extLst>
      <p:ext uri="{BB962C8B-B14F-4D97-AF65-F5344CB8AC3E}">
        <p14:creationId xmlns:p14="http://schemas.microsoft.com/office/powerpoint/2010/main" val="6735120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70A4A91-98C8-B041-0084-E6E4A002543E}"/>
              </a:ext>
            </a:extLst>
          </p:cNvPr>
          <p:cNvGraphicFramePr>
            <a:graphicFrameLocks noChangeAspect="1"/>
          </p:cNvGraphicFramePr>
          <p:nvPr>
            <p:custDataLst>
              <p:tags r:id="rId1"/>
            </p:custDataLst>
            <p:extLst>
              <p:ext uri="{D42A27DB-BD31-4B8C-83A1-F6EECF244321}">
                <p14:modId xmlns:p14="http://schemas.microsoft.com/office/powerpoint/2010/main" val="688089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4" name="think-cell data - do not delete" hidden="1">
                        <a:extLst>
                          <a:ext uri="{FF2B5EF4-FFF2-40B4-BE49-F238E27FC236}">
                            <a16:creationId xmlns:a16="http://schemas.microsoft.com/office/drawing/2014/main" id="{570A4A91-98C8-B041-0084-E6E4A00254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2E685ED8-F9C6-8264-8E92-867D89CFA097}"/>
              </a:ext>
            </a:extLst>
          </p:cNvPr>
          <p:cNvPicPr>
            <a:picLocks noChangeAspect="1"/>
          </p:cNvPicPr>
          <p:nvPr/>
        </p:nvPicPr>
        <p:blipFill>
          <a:blip r:embed="rId5"/>
          <a:stretch>
            <a:fillRect/>
          </a:stretch>
        </p:blipFill>
        <p:spPr>
          <a:xfrm>
            <a:off x="6897733" y="670997"/>
            <a:ext cx="1488850" cy="720000"/>
          </a:xfrm>
          <a:prstGeom prst="rect">
            <a:avLst/>
          </a:prstGeom>
        </p:spPr>
      </p:pic>
      <p:pic>
        <p:nvPicPr>
          <p:cNvPr id="37" name="Picture 36">
            <a:extLst>
              <a:ext uri="{FF2B5EF4-FFF2-40B4-BE49-F238E27FC236}">
                <a16:creationId xmlns:a16="http://schemas.microsoft.com/office/drawing/2014/main" id="{004FC54E-A80D-DA3C-F865-A3241051FDED}"/>
              </a:ext>
            </a:extLst>
          </p:cNvPr>
          <p:cNvPicPr>
            <a:picLocks noChangeAspect="1"/>
          </p:cNvPicPr>
          <p:nvPr/>
        </p:nvPicPr>
        <p:blipFill>
          <a:blip r:embed="rId6"/>
          <a:stretch>
            <a:fillRect/>
          </a:stretch>
        </p:blipFill>
        <p:spPr>
          <a:xfrm>
            <a:off x="6897733" y="1717781"/>
            <a:ext cx="1510819" cy="720000"/>
          </a:xfrm>
          <a:prstGeom prst="rect">
            <a:avLst/>
          </a:prstGeom>
        </p:spPr>
      </p:pic>
      <p:pic>
        <p:nvPicPr>
          <p:cNvPr id="8" name="Picture 7">
            <a:extLst>
              <a:ext uri="{FF2B5EF4-FFF2-40B4-BE49-F238E27FC236}">
                <a16:creationId xmlns:a16="http://schemas.microsoft.com/office/drawing/2014/main" id="{02B4C5B3-C6F9-6972-5A23-5BBF8AD6B2DE}"/>
              </a:ext>
            </a:extLst>
          </p:cNvPr>
          <p:cNvPicPr>
            <a:picLocks noChangeAspect="1"/>
          </p:cNvPicPr>
          <p:nvPr/>
        </p:nvPicPr>
        <p:blipFill>
          <a:blip r:embed="rId7"/>
          <a:stretch>
            <a:fillRect/>
          </a:stretch>
        </p:blipFill>
        <p:spPr>
          <a:xfrm>
            <a:off x="1537991" y="1750415"/>
            <a:ext cx="1486449" cy="720000"/>
          </a:xfrm>
          <a:prstGeom prst="rect">
            <a:avLst/>
          </a:prstGeom>
        </p:spPr>
      </p:pic>
      <p:pic>
        <p:nvPicPr>
          <p:cNvPr id="11" name="Picture 10">
            <a:extLst>
              <a:ext uri="{FF2B5EF4-FFF2-40B4-BE49-F238E27FC236}">
                <a16:creationId xmlns:a16="http://schemas.microsoft.com/office/drawing/2014/main" id="{B43A7AFE-ED33-81B6-91F7-A15F3616494E}"/>
              </a:ext>
            </a:extLst>
          </p:cNvPr>
          <p:cNvPicPr>
            <a:picLocks noChangeAspect="1"/>
          </p:cNvPicPr>
          <p:nvPr/>
        </p:nvPicPr>
        <p:blipFill>
          <a:blip r:embed="rId8"/>
          <a:stretch>
            <a:fillRect/>
          </a:stretch>
        </p:blipFill>
        <p:spPr>
          <a:xfrm>
            <a:off x="1528338" y="2709000"/>
            <a:ext cx="1496102" cy="720000"/>
          </a:xfrm>
          <a:prstGeom prst="rect">
            <a:avLst/>
          </a:prstGeom>
        </p:spPr>
      </p:pic>
      <p:pic>
        <p:nvPicPr>
          <p:cNvPr id="34" name="Picture 5">
            <a:extLst>
              <a:ext uri="{FF2B5EF4-FFF2-40B4-BE49-F238E27FC236}">
                <a16:creationId xmlns:a16="http://schemas.microsoft.com/office/drawing/2014/main" id="{ED515A1A-6DB2-E305-A20C-CFCB0F1AFE91}"/>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1531620" y="728753"/>
            <a:ext cx="1496102" cy="720000"/>
          </a:xfrm>
          <a:prstGeom prst="rect">
            <a:avLst/>
          </a:prstGeom>
        </p:spPr>
      </p:pic>
      <p:pic>
        <p:nvPicPr>
          <p:cNvPr id="2" name="Picture 1">
            <a:extLst>
              <a:ext uri="{FF2B5EF4-FFF2-40B4-BE49-F238E27FC236}">
                <a16:creationId xmlns:a16="http://schemas.microsoft.com/office/drawing/2014/main" id="{55DCF4F8-6A91-B2CF-493F-4CFBAE97BF60}"/>
              </a:ext>
            </a:extLst>
          </p:cNvPr>
          <p:cNvPicPr>
            <a:picLocks noChangeAspect="1"/>
          </p:cNvPicPr>
          <p:nvPr/>
        </p:nvPicPr>
        <p:blipFill>
          <a:blip r:embed="rId10"/>
          <a:stretch>
            <a:fillRect/>
          </a:stretch>
        </p:blipFill>
        <p:spPr>
          <a:xfrm>
            <a:off x="5121263" y="5635179"/>
            <a:ext cx="1520795" cy="720000"/>
          </a:xfrm>
          <a:prstGeom prst="rect">
            <a:avLst/>
          </a:prstGeom>
        </p:spPr>
      </p:pic>
      <p:sp>
        <p:nvSpPr>
          <p:cNvPr id="71" name="Rectangle 2">
            <a:extLst>
              <a:ext uri="{FF2B5EF4-FFF2-40B4-BE49-F238E27FC236}">
                <a16:creationId xmlns:a16="http://schemas.microsoft.com/office/drawing/2014/main" id="{2AD15FC7-13C1-7EAF-160A-6AFB645E257B}"/>
              </a:ext>
            </a:extLst>
          </p:cNvPr>
          <p:cNvSpPr/>
          <p:nvPr/>
        </p:nvSpPr>
        <p:spPr>
          <a:xfrm>
            <a:off x="275673" y="551462"/>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CUMULUS 16</a:t>
            </a:r>
          </a:p>
          <a:p>
            <a:r>
              <a:rPr lang="en-US" sz="800" b="1" dirty="0">
                <a:solidFill>
                  <a:schemeClr val="tx1"/>
                </a:solidFill>
                <a:latin typeface="Aptos Narrow"/>
                <a:ea typeface="+mn-lt"/>
                <a:cs typeface="+mn-lt"/>
              </a:rPr>
              <a:t>1203A733</a:t>
            </a:r>
          </a:p>
          <a:p>
            <a:r>
              <a:rPr lang="en-US" sz="800" dirty="0">
                <a:solidFill>
                  <a:schemeClr val="tx1"/>
                </a:solidFill>
                <a:latin typeface="Aptos Narrow"/>
                <a:ea typeface="+mn-lt"/>
                <a:cs typeface="+mn-lt"/>
              </a:rPr>
              <a:t>CUD</a:t>
            </a:r>
          </a:p>
          <a:p>
            <a:r>
              <a:rPr lang="en-US" sz="800" dirty="0">
                <a:solidFill>
                  <a:schemeClr val="tx1"/>
                </a:solidFill>
                <a:latin typeface="Aptos Narrow"/>
                <a:ea typeface="+mn-lt"/>
                <a:cs typeface="+mn-lt"/>
              </a:rPr>
              <a:t>UNI</a:t>
            </a:r>
          </a:p>
          <a:p>
            <a:r>
              <a:rPr lang="en-US" sz="800" dirty="0">
                <a:solidFill>
                  <a:schemeClr val="tx1"/>
                </a:solidFill>
                <a:latin typeface="Aptos Narrow"/>
                <a:ea typeface="+mn-lt"/>
                <a:cs typeface="+mn-lt"/>
              </a:rPr>
              <a:t>OG</a:t>
            </a:r>
          </a:p>
          <a:p>
            <a:r>
              <a:rPr lang="en-US" sz="800" dirty="0">
                <a:solidFill>
                  <a:schemeClr val="tx1"/>
                </a:solidFill>
                <a:latin typeface="Aptos Narrow"/>
                <a:ea typeface="+mn-lt"/>
                <a:cs typeface="+mn-lt"/>
              </a:rPr>
              <a:t>€15</a:t>
            </a:r>
            <a:r>
              <a:rPr lang="el-GR" sz="800" dirty="0">
                <a:solidFill>
                  <a:schemeClr val="tx1"/>
                </a:solidFill>
                <a:latin typeface="Aptos Narrow"/>
                <a:ea typeface="+mn-lt"/>
                <a:cs typeface="+mn-lt"/>
              </a:rPr>
              <a:t>5</a:t>
            </a:r>
            <a:endParaRPr lang="en-US" sz="800" dirty="0">
              <a:solidFill>
                <a:schemeClr val="tx1"/>
              </a:solidFill>
              <a:latin typeface="Aptos Narrow"/>
              <a:ea typeface="+mn-lt"/>
              <a:cs typeface="+mn-lt"/>
            </a:endParaRPr>
          </a:p>
          <a:p>
            <a:endParaRPr lang="en-US" sz="800" dirty="0">
              <a:solidFill>
                <a:schemeClr val="tx1"/>
              </a:solidFill>
              <a:latin typeface="Aptos Narrow"/>
            </a:endParaRPr>
          </a:p>
        </p:txBody>
      </p:sp>
      <p:sp>
        <p:nvSpPr>
          <p:cNvPr id="5" name="タイトル 5">
            <a:extLst>
              <a:ext uri="{FF2B5EF4-FFF2-40B4-BE49-F238E27FC236}">
                <a16:creationId xmlns:a16="http://schemas.microsoft.com/office/drawing/2014/main" id="{CD77C823-4212-562D-9818-BB3A5BF9E5E5}"/>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r>
              <a:rPr lang="en-US" altLang="ja-JP">
                <a:latin typeface="Aptos"/>
                <a:cs typeface="Calibri"/>
              </a:rPr>
              <a:t>GEL-CUMULUS 16 (PAGE 2 OF 2)</a:t>
            </a:r>
            <a:endParaRPr lang="ja-JP" altLang="en-US"/>
          </a:p>
        </p:txBody>
      </p:sp>
      <p:sp>
        <p:nvSpPr>
          <p:cNvPr id="54" name="正方形/長方形 9">
            <a:extLst>
              <a:ext uri="{FF2B5EF4-FFF2-40B4-BE49-F238E27FC236}">
                <a16:creationId xmlns:a16="http://schemas.microsoft.com/office/drawing/2014/main" id="{4568DC2C-13A6-CFBF-4D07-7EF0F6B00876}"/>
              </a:ext>
            </a:extLst>
          </p:cNvPr>
          <p:cNvSpPr/>
          <p:nvPr/>
        </p:nvSpPr>
        <p:spPr>
          <a:xfrm rot="16200000">
            <a:off x="-2939330" y="3568822"/>
            <a:ext cx="6230744" cy="174282"/>
          </a:xfrm>
          <a:prstGeom prst="rect">
            <a:avLst/>
          </a:prstGeom>
          <a:solidFill>
            <a:srgbClr val="F2EEDE"/>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solidFill>
                  <a:schemeClr val="tx1"/>
                </a:solidFill>
                <a:latin typeface="Aptos" panose="020B0004020202020204" pitchFamily="34" charset="0"/>
              </a:rPr>
              <a:t>PLATINUM</a:t>
            </a:r>
            <a:endParaRPr kumimoji="1" lang="ja-JP" altLang="en-US" sz="800">
              <a:solidFill>
                <a:schemeClr val="tx1"/>
              </a:solidFill>
              <a:latin typeface="Aptos" panose="020B0004020202020204" pitchFamily="34" charset="0"/>
            </a:endParaRPr>
          </a:p>
        </p:txBody>
      </p:sp>
      <p:sp>
        <p:nvSpPr>
          <p:cNvPr id="16" name="Google Shape;84;p13">
            <a:extLst>
              <a:ext uri="{FF2B5EF4-FFF2-40B4-BE49-F238E27FC236}">
                <a16:creationId xmlns:a16="http://schemas.microsoft.com/office/drawing/2014/main" id="{2C945890-94DC-3A8C-6912-239AACE3E129}"/>
              </a:ext>
            </a:extLst>
          </p:cNvPr>
          <p:cNvSpPr txBox="1"/>
          <p:nvPr/>
        </p:nvSpPr>
        <p:spPr>
          <a:xfrm>
            <a:off x="1530906" y="703719"/>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200</a:t>
            </a:r>
          </a:p>
        </p:txBody>
      </p:sp>
      <p:sp>
        <p:nvSpPr>
          <p:cNvPr id="17" name="Google Shape;84;p13">
            <a:extLst>
              <a:ext uri="{FF2B5EF4-FFF2-40B4-BE49-F238E27FC236}">
                <a16:creationId xmlns:a16="http://schemas.microsoft.com/office/drawing/2014/main" id="{36FFB85C-44C5-7566-13CC-DBC4EBFCE7E4}"/>
              </a:ext>
            </a:extLst>
          </p:cNvPr>
          <p:cNvSpPr txBox="1"/>
          <p:nvPr/>
        </p:nvSpPr>
        <p:spPr>
          <a:xfrm>
            <a:off x="1532372" y="1717781"/>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021</a:t>
            </a:r>
          </a:p>
        </p:txBody>
      </p:sp>
      <p:sp>
        <p:nvSpPr>
          <p:cNvPr id="18" name="Google Shape;84;p13">
            <a:extLst>
              <a:ext uri="{FF2B5EF4-FFF2-40B4-BE49-F238E27FC236}">
                <a16:creationId xmlns:a16="http://schemas.microsoft.com/office/drawing/2014/main" id="{19C9EBC3-B88F-D176-917C-58AFD6164B83}"/>
              </a:ext>
            </a:extLst>
          </p:cNvPr>
          <p:cNvSpPr txBox="1"/>
          <p:nvPr/>
        </p:nvSpPr>
        <p:spPr>
          <a:xfrm>
            <a:off x="1525035" y="2694408"/>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002</a:t>
            </a:r>
          </a:p>
        </p:txBody>
      </p:sp>
      <p:sp>
        <p:nvSpPr>
          <p:cNvPr id="19" name="Google Shape;84;p13">
            <a:extLst>
              <a:ext uri="{FF2B5EF4-FFF2-40B4-BE49-F238E27FC236}">
                <a16:creationId xmlns:a16="http://schemas.microsoft.com/office/drawing/2014/main" id="{B99D296E-9ED5-0EB3-2193-CE604BD1755B}"/>
              </a:ext>
            </a:extLst>
          </p:cNvPr>
          <p:cNvSpPr txBox="1"/>
          <p:nvPr/>
        </p:nvSpPr>
        <p:spPr>
          <a:xfrm>
            <a:off x="6841911" y="1681749"/>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105</a:t>
            </a:r>
          </a:p>
        </p:txBody>
      </p:sp>
      <p:sp>
        <p:nvSpPr>
          <p:cNvPr id="21" name="Google Shape;84;p13">
            <a:extLst>
              <a:ext uri="{FF2B5EF4-FFF2-40B4-BE49-F238E27FC236}">
                <a16:creationId xmlns:a16="http://schemas.microsoft.com/office/drawing/2014/main" id="{C9D1CC8C-F76C-2070-7CA7-E2EBC309C125}"/>
              </a:ext>
            </a:extLst>
          </p:cNvPr>
          <p:cNvSpPr txBox="1"/>
          <p:nvPr/>
        </p:nvSpPr>
        <p:spPr>
          <a:xfrm>
            <a:off x="6830752" y="597581"/>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104</a:t>
            </a:r>
          </a:p>
        </p:txBody>
      </p:sp>
      <p:pic>
        <p:nvPicPr>
          <p:cNvPr id="6" name="Picture 5">
            <a:extLst>
              <a:ext uri="{FF2B5EF4-FFF2-40B4-BE49-F238E27FC236}">
                <a16:creationId xmlns:a16="http://schemas.microsoft.com/office/drawing/2014/main" id="{3ED7EBE3-DD29-6B51-CC8C-95E3732DCE37}"/>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5121262" y="4807786"/>
            <a:ext cx="1486450" cy="668306"/>
          </a:xfrm>
          <a:prstGeom prst="rect">
            <a:avLst/>
          </a:prstGeom>
        </p:spPr>
      </p:pic>
      <p:sp>
        <p:nvSpPr>
          <p:cNvPr id="7" name="Rectangle 2">
            <a:extLst>
              <a:ext uri="{FF2B5EF4-FFF2-40B4-BE49-F238E27FC236}">
                <a16:creationId xmlns:a16="http://schemas.microsoft.com/office/drawing/2014/main" id="{2E995693-47C1-0A34-F32F-236EA1524FC5}"/>
              </a:ext>
            </a:extLst>
          </p:cNvPr>
          <p:cNvSpPr/>
          <p:nvPr/>
        </p:nvSpPr>
        <p:spPr>
          <a:xfrm>
            <a:off x="284324" y="4700302"/>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CUMULUS 16</a:t>
            </a:r>
          </a:p>
          <a:p>
            <a:r>
              <a:rPr lang="en-US" sz="800" b="1" dirty="0">
                <a:solidFill>
                  <a:schemeClr val="tx1"/>
                </a:solidFill>
                <a:latin typeface="Aptos Narrow"/>
                <a:ea typeface="+mn-lt"/>
                <a:cs typeface="+mn-lt"/>
              </a:rPr>
              <a:t>1203A887</a:t>
            </a:r>
          </a:p>
          <a:p>
            <a:r>
              <a:rPr lang="en-US" sz="800" dirty="0">
                <a:solidFill>
                  <a:schemeClr val="tx1"/>
                </a:solidFill>
                <a:latin typeface="Aptos Narrow"/>
                <a:ea typeface="+mn-lt"/>
                <a:cs typeface="+mn-lt"/>
              </a:rPr>
              <a:t>MUD</a:t>
            </a:r>
          </a:p>
          <a:p>
            <a:r>
              <a:rPr lang="en-US" sz="800" dirty="0">
                <a:solidFill>
                  <a:schemeClr val="tx1"/>
                </a:solidFill>
                <a:latin typeface="Aptos Narrow"/>
                <a:ea typeface="+mn-lt"/>
                <a:cs typeface="+mn-lt"/>
              </a:rPr>
              <a:t>UNI</a:t>
            </a:r>
          </a:p>
          <a:p>
            <a:r>
              <a:rPr lang="en-US" sz="800" dirty="0">
                <a:solidFill>
                  <a:schemeClr val="tx1"/>
                </a:solidFill>
                <a:latin typeface="Aptos Narrow"/>
                <a:ea typeface="+mn-lt"/>
                <a:cs typeface="+mn-lt"/>
              </a:rPr>
              <a:t>AURORA</a:t>
            </a:r>
          </a:p>
          <a:p>
            <a:r>
              <a:rPr lang="en-US" sz="800" dirty="0">
                <a:solidFill>
                  <a:schemeClr val="tx1"/>
                </a:solidFill>
                <a:latin typeface="Aptos Narrow"/>
                <a:ea typeface="+mn-lt"/>
                <a:cs typeface="+mn-lt"/>
              </a:rPr>
              <a:t>€16</a:t>
            </a:r>
            <a:r>
              <a:rPr lang="el-GR" sz="800" dirty="0">
                <a:solidFill>
                  <a:schemeClr val="tx1"/>
                </a:solidFill>
                <a:latin typeface="Aptos Narrow"/>
                <a:ea typeface="+mn-lt"/>
                <a:cs typeface="+mn-lt"/>
              </a:rPr>
              <a:t>5</a:t>
            </a:r>
            <a:endParaRPr lang="en-US" sz="800" dirty="0">
              <a:solidFill>
                <a:schemeClr val="tx1"/>
              </a:solidFill>
              <a:latin typeface="Aptos Narrow"/>
              <a:ea typeface="+mn-lt"/>
              <a:cs typeface="+mn-lt"/>
            </a:endParaRPr>
          </a:p>
        </p:txBody>
      </p:sp>
      <p:sp>
        <p:nvSpPr>
          <p:cNvPr id="10" name="Google Shape;84;p13">
            <a:extLst>
              <a:ext uri="{FF2B5EF4-FFF2-40B4-BE49-F238E27FC236}">
                <a16:creationId xmlns:a16="http://schemas.microsoft.com/office/drawing/2014/main" id="{D7B099B0-2991-CE04-F7E5-95282FF17D5A}"/>
              </a:ext>
            </a:extLst>
          </p:cNvPr>
          <p:cNvSpPr txBox="1"/>
          <p:nvPr/>
        </p:nvSpPr>
        <p:spPr>
          <a:xfrm>
            <a:off x="5100122" y="4781405"/>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400</a:t>
            </a:r>
          </a:p>
        </p:txBody>
      </p:sp>
      <p:sp>
        <p:nvSpPr>
          <p:cNvPr id="12" name="Google Shape;84;p13">
            <a:extLst>
              <a:ext uri="{FF2B5EF4-FFF2-40B4-BE49-F238E27FC236}">
                <a16:creationId xmlns:a16="http://schemas.microsoft.com/office/drawing/2014/main" id="{0909BFDD-3758-2E28-D7C7-3A3621E849CE}"/>
              </a:ext>
            </a:extLst>
          </p:cNvPr>
          <p:cNvSpPr txBox="1"/>
          <p:nvPr/>
        </p:nvSpPr>
        <p:spPr>
          <a:xfrm>
            <a:off x="5100122" y="5635179"/>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100</a:t>
            </a:r>
          </a:p>
        </p:txBody>
      </p:sp>
      <p:sp>
        <p:nvSpPr>
          <p:cNvPr id="13" name="正方形/長方形 9">
            <a:extLst>
              <a:ext uri="{FF2B5EF4-FFF2-40B4-BE49-F238E27FC236}">
                <a16:creationId xmlns:a16="http://schemas.microsoft.com/office/drawing/2014/main" id="{2038051F-B4C5-BC20-A19A-C1E4609913EF}"/>
              </a:ext>
            </a:extLst>
          </p:cNvPr>
          <p:cNvSpPr/>
          <p:nvPr/>
        </p:nvSpPr>
        <p:spPr>
          <a:xfrm>
            <a:off x="263184" y="540584"/>
            <a:ext cx="11858130" cy="4108115"/>
          </a:xfrm>
          <a:prstGeom prst="rect">
            <a:avLst/>
          </a:prstGeom>
          <a:no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latin typeface="Aptos" panose="020B0004020202020204" pitchFamily="34" charset="0"/>
            </a:endParaRPr>
          </a:p>
        </p:txBody>
      </p:sp>
    </p:spTree>
    <p:extLst>
      <p:ext uri="{BB962C8B-B14F-4D97-AF65-F5344CB8AC3E}">
        <p14:creationId xmlns:p14="http://schemas.microsoft.com/office/powerpoint/2010/main" val="10050588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E1590B-115C-4D3E-DAAE-F106F21D42E6}"/>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84C5C0AB-7C9B-98FE-646B-6AFA5269CBD1}"/>
              </a:ext>
            </a:extLst>
          </p:cNvPr>
          <p:cNvGraphicFramePr>
            <a:graphicFrameLocks noChangeAspect="1"/>
          </p:cNvGraphicFramePr>
          <p:nvPr>
            <p:custDataLst>
              <p:tags r:id="rId1"/>
            </p:custDataLst>
            <p:extLst>
              <p:ext uri="{D42A27DB-BD31-4B8C-83A1-F6EECF244321}">
                <p14:modId xmlns:p14="http://schemas.microsoft.com/office/powerpoint/2010/main" val="2897567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13" name="think-cell data - do not delete" hidden="1">
                        <a:extLst>
                          <a:ext uri="{FF2B5EF4-FFF2-40B4-BE49-F238E27FC236}">
                            <a16:creationId xmlns:a16="http://schemas.microsoft.com/office/drawing/2014/main" id="{84C5C0AB-7C9B-98FE-646B-6AFA5269CB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94699D15-6EAF-E3CC-A84B-26784C2E434C}"/>
              </a:ext>
            </a:extLst>
          </p:cNvPr>
          <p:cNvPicPr>
            <a:picLocks noChangeAspect="1"/>
          </p:cNvPicPr>
          <p:nvPr/>
        </p:nvPicPr>
        <p:blipFill>
          <a:blip r:embed="rId5"/>
          <a:stretch>
            <a:fillRect/>
          </a:stretch>
        </p:blipFill>
        <p:spPr>
          <a:xfrm>
            <a:off x="1564722" y="1509607"/>
            <a:ext cx="1493110" cy="731520"/>
          </a:xfrm>
          <a:prstGeom prst="rect">
            <a:avLst/>
          </a:prstGeom>
        </p:spPr>
      </p:pic>
      <p:sp>
        <p:nvSpPr>
          <p:cNvPr id="70" name="Rectangle 2">
            <a:extLst>
              <a:ext uri="{FF2B5EF4-FFF2-40B4-BE49-F238E27FC236}">
                <a16:creationId xmlns:a16="http://schemas.microsoft.com/office/drawing/2014/main" id="{012F8679-9849-592E-D97B-8720B351CEEC}"/>
              </a:ext>
            </a:extLst>
          </p:cNvPr>
          <p:cNvSpPr/>
          <p:nvPr/>
        </p:nvSpPr>
        <p:spPr>
          <a:xfrm>
            <a:off x="275673" y="540586"/>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T-2160</a:t>
            </a:r>
          </a:p>
          <a:p>
            <a:r>
              <a:rPr lang="en-US" sz="800" b="1" dirty="0">
                <a:solidFill>
                  <a:schemeClr val="tx1"/>
                </a:solidFill>
                <a:latin typeface="Aptos Narrow"/>
                <a:ea typeface="+mn-lt"/>
                <a:cs typeface="+mn-lt"/>
              </a:rPr>
              <a:t>1203A275</a:t>
            </a:r>
            <a:endParaRPr lang="en-US" sz="800" b="1" dirty="0">
              <a:solidFill>
                <a:srgbClr val="F9F9F9"/>
              </a:solidFill>
              <a:latin typeface="Aptos Narrow"/>
              <a:ea typeface="+mn-lt"/>
              <a:cs typeface="+mn-lt"/>
            </a:endParaRPr>
          </a:p>
          <a:p>
            <a:r>
              <a:rPr lang="en-US" sz="800" dirty="0">
                <a:solidFill>
                  <a:schemeClr val="tx1"/>
                </a:solidFill>
                <a:latin typeface="Aptos Narrow"/>
                <a:ea typeface="+mn-lt"/>
                <a:cs typeface="+mn-lt"/>
              </a:rPr>
              <a:t>CUD</a:t>
            </a:r>
          </a:p>
          <a:p>
            <a:r>
              <a:rPr lang="en-US" sz="800" dirty="0">
                <a:solidFill>
                  <a:schemeClr val="tx1"/>
                </a:solidFill>
                <a:latin typeface="Aptos Narrow"/>
                <a:ea typeface="+mn-lt"/>
                <a:cs typeface="+mn-lt"/>
              </a:rPr>
              <a:t>UNI</a:t>
            </a:r>
            <a:endParaRPr lang="en-US" sz="800" dirty="0">
              <a:solidFill>
                <a:srgbClr val="F9F9F9"/>
              </a:solidFill>
              <a:latin typeface="Aptos Narrow"/>
              <a:ea typeface="+mn-lt"/>
              <a:cs typeface="+mn-lt"/>
            </a:endParaRPr>
          </a:p>
          <a:p>
            <a:r>
              <a:rPr lang="en-US" sz="800" dirty="0">
                <a:solidFill>
                  <a:schemeClr val="tx1"/>
                </a:solidFill>
                <a:latin typeface="Aptos Narrow"/>
                <a:ea typeface="+mn-lt"/>
                <a:cs typeface="+mn-lt"/>
              </a:rPr>
              <a:t>OG</a:t>
            </a:r>
          </a:p>
          <a:p>
            <a:r>
              <a:rPr lang="en-US" sz="800" dirty="0">
                <a:solidFill>
                  <a:schemeClr val="tx1"/>
                </a:solidFill>
                <a:latin typeface="Aptos Narrow"/>
                <a:ea typeface="+mn-lt"/>
                <a:cs typeface="+mn-lt"/>
              </a:rPr>
              <a:t>€13</a:t>
            </a:r>
            <a:r>
              <a:rPr lang="el-GR" sz="800" dirty="0">
                <a:solidFill>
                  <a:schemeClr val="tx1"/>
                </a:solidFill>
                <a:latin typeface="Aptos Narrow"/>
                <a:ea typeface="+mn-lt"/>
                <a:cs typeface="+mn-lt"/>
              </a:rPr>
              <a:t>5</a:t>
            </a:r>
            <a:endParaRPr lang="en-US" sz="800" dirty="0">
              <a:solidFill>
                <a:schemeClr val="tx1"/>
              </a:solidFill>
              <a:latin typeface="Aptos Narrow"/>
              <a:ea typeface="+mn-lt"/>
              <a:cs typeface="+mn-lt"/>
            </a:endParaRPr>
          </a:p>
          <a:p>
            <a:endParaRPr lang="en-US" sz="800" dirty="0">
              <a:latin typeface="Aptos Narrow"/>
            </a:endParaRPr>
          </a:p>
        </p:txBody>
      </p:sp>
      <p:sp>
        <p:nvSpPr>
          <p:cNvPr id="10" name="正方形/長方形 9">
            <a:extLst>
              <a:ext uri="{FF2B5EF4-FFF2-40B4-BE49-F238E27FC236}">
                <a16:creationId xmlns:a16="http://schemas.microsoft.com/office/drawing/2014/main" id="{6BD86430-E89E-5E55-881E-8E6FB12B6D76}"/>
              </a:ext>
            </a:extLst>
          </p:cNvPr>
          <p:cNvSpPr/>
          <p:nvPr/>
        </p:nvSpPr>
        <p:spPr>
          <a:xfrm rot="16200000">
            <a:off x="-2935561" y="3562078"/>
            <a:ext cx="6230753" cy="187766"/>
          </a:xfrm>
          <a:prstGeom prst="rect">
            <a:avLst/>
          </a:prstGeom>
          <a:solidFill>
            <a:srgbClr val="F2EEDE"/>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solidFill>
                  <a:schemeClr val="tx1"/>
                </a:solidFill>
                <a:latin typeface="Aptos" panose="020B0004020202020204" pitchFamily="34" charset="0"/>
              </a:rPr>
              <a:t>PLATINUM</a:t>
            </a:r>
            <a:endParaRPr kumimoji="1" lang="ja-JP" altLang="en-US" sz="800">
              <a:solidFill>
                <a:schemeClr val="tx1"/>
              </a:solidFill>
              <a:latin typeface="Aptos" panose="020B0004020202020204" pitchFamily="34" charset="0"/>
            </a:endParaRPr>
          </a:p>
        </p:txBody>
      </p:sp>
      <p:sp>
        <p:nvSpPr>
          <p:cNvPr id="4" name="タイトル 5">
            <a:extLst>
              <a:ext uri="{FF2B5EF4-FFF2-40B4-BE49-F238E27FC236}">
                <a16:creationId xmlns:a16="http://schemas.microsoft.com/office/drawing/2014/main" id="{2F238DCE-7962-59AE-625F-AE1415707A1B}"/>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r>
              <a:rPr lang="en-US" altLang="ja-JP" dirty="0">
                <a:latin typeface="Aptos"/>
                <a:cs typeface="Calibri"/>
              </a:rPr>
              <a:t>GT-2160</a:t>
            </a:r>
            <a:endParaRPr lang="ja-JP" altLang="en-US" dirty="0"/>
          </a:p>
        </p:txBody>
      </p:sp>
      <p:pic>
        <p:nvPicPr>
          <p:cNvPr id="79" name="Picture 78">
            <a:extLst>
              <a:ext uri="{FF2B5EF4-FFF2-40B4-BE49-F238E27FC236}">
                <a16:creationId xmlns:a16="http://schemas.microsoft.com/office/drawing/2014/main" id="{7CB3BE07-5D76-EF79-7DC6-F39AAD6AF4CF}"/>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564722" y="652985"/>
            <a:ext cx="1484055" cy="720000"/>
          </a:xfrm>
          <a:prstGeom prst="rect">
            <a:avLst/>
          </a:prstGeom>
        </p:spPr>
      </p:pic>
      <p:sp>
        <p:nvSpPr>
          <p:cNvPr id="6" name="Google Shape;84;p13">
            <a:extLst>
              <a:ext uri="{FF2B5EF4-FFF2-40B4-BE49-F238E27FC236}">
                <a16:creationId xmlns:a16="http://schemas.microsoft.com/office/drawing/2014/main" id="{D836308D-A8CC-F0F6-B825-93A38191AFD3}"/>
              </a:ext>
            </a:extLst>
          </p:cNvPr>
          <p:cNvSpPr txBox="1"/>
          <p:nvPr/>
        </p:nvSpPr>
        <p:spPr>
          <a:xfrm>
            <a:off x="1527400" y="609120"/>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a:latin typeface="Aptos Narrow" panose="020B0004020202020204" pitchFamily="34" charset="0"/>
              </a:rPr>
              <a:t>115</a:t>
            </a:r>
          </a:p>
        </p:txBody>
      </p:sp>
      <p:sp>
        <p:nvSpPr>
          <p:cNvPr id="8" name="Google Shape;84;p13">
            <a:extLst>
              <a:ext uri="{FF2B5EF4-FFF2-40B4-BE49-F238E27FC236}">
                <a16:creationId xmlns:a16="http://schemas.microsoft.com/office/drawing/2014/main" id="{06ADBD8E-40C8-94CF-28E9-3825DC324D79}"/>
              </a:ext>
            </a:extLst>
          </p:cNvPr>
          <p:cNvSpPr txBox="1"/>
          <p:nvPr/>
        </p:nvSpPr>
        <p:spPr>
          <a:xfrm>
            <a:off x="1549061" y="1449452"/>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a:latin typeface="Aptos Narrow" panose="020B0004020202020204" pitchFamily="34" charset="0"/>
              </a:rPr>
              <a:t>004</a:t>
            </a:r>
          </a:p>
        </p:txBody>
      </p:sp>
      <p:pic>
        <p:nvPicPr>
          <p:cNvPr id="3" name="Picture 2">
            <a:extLst>
              <a:ext uri="{FF2B5EF4-FFF2-40B4-BE49-F238E27FC236}">
                <a16:creationId xmlns:a16="http://schemas.microsoft.com/office/drawing/2014/main" id="{A5EA4FC6-FAA2-C223-6DCD-118720F59D6B}"/>
              </a:ext>
            </a:extLst>
          </p:cNvPr>
          <p:cNvPicPr>
            <a:picLocks noChangeAspect="1"/>
          </p:cNvPicPr>
          <p:nvPr/>
        </p:nvPicPr>
        <p:blipFill>
          <a:blip r:embed="rId7"/>
          <a:stretch>
            <a:fillRect/>
          </a:stretch>
        </p:blipFill>
        <p:spPr>
          <a:xfrm>
            <a:off x="3328998" y="2719615"/>
            <a:ext cx="1467624" cy="731520"/>
          </a:xfrm>
          <a:prstGeom prst="rect">
            <a:avLst/>
          </a:prstGeom>
        </p:spPr>
      </p:pic>
      <p:pic>
        <p:nvPicPr>
          <p:cNvPr id="9" name="Picture 8">
            <a:extLst>
              <a:ext uri="{FF2B5EF4-FFF2-40B4-BE49-F238E27FC236}">
                <a16:creationId xmlns:a16="http://schemas.microsoft.com/office/drawing/2014/main" id="{73F32CAD-28AC-F139-D052-3591F5A1B7AD}"/>
              </a:ext>
            </a:extLst>
          </p:cNvPr>
          <p:cNvPicPr>
            <a:picLocks noChangeAspect="1"/>
          </p:cNvPicPr>
          <p:nvPr/>
        </p:nvPicPr>
        <p:blipFill>
          <a:blip r:embed="rId8"/>
          <a:stretch>
            <a:fillRect/>
          </a:stretch>
        </p:blipFill>
        <p:spPr>
          <a:xfrm>
            <a:off x="3342546" y="3437120"/>
            <a:ext cx="1440528" cy="731520"/>
          </a:xfrm>
          <a:prstGeom prst="rect">
            <a:avLst/>
          </a:prstGeom>
        </p:spPr>
      </p:pic>
      <p:sp>
        <p:nvSpPr>
          <p:cNvPr id="5" name="Rectangle 2">
            <a:extLst>
              <a:ext uri="{FF2B5EF4-FFF2-40B4-BE49-F238E27FC236}">
                <a16:creationId xmlns:a16="http://schemas.microsoft.com/office/drawing/2014/main" id="{E7270841-1DC2-9947-A2AA-281F493E704F}"/>
              </a:ext>
            </a:extLst>
          </p:cNvPr>
          <p:cNvSpPr/>
          <p:nvPr/>
        </p:nvSpPr>
        <p:spPr>
          <a:xfrm>
            <a:off x="341450" y="2675345"/>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T-2160</a:t>
            </a:r>
          </a:p>
          <a:p>
            <a:r>
              <a:rPr lang="en-US" sz="800" b="1" dirty="0">
                <a:solidFill>
                  <a:schemeClr val="tx1"/>
                </a:solidFill>
                <a:latin typeface="Aptos Narrow"/>
                <a:ea typeface="+mn-lt"/>
                <a:cs typeface="+mn-lt"/>
              </a:rPr>
              <a:t>1203A605</a:t>
            </a:r>
          </a:p>
          <a:p>
            <a:r>
              <a:rPr lang="en-US" sz="800" dirty="0">
                <a:solidFill>
                  <a:schemeClr val="tx1"/>
                </a:solidFill>
                <a:latin typeface="Aptos Narrow"/>
                <a:ea typeface="+mn-lt"/>
                <a:cs typeface="+mn-lt"/>
              </a:rPr>
              <a:t>CUD</a:t>
            </a:r>
          </a:p>
          <a:p>
            <a:r>
              <a:rPr lang="en-US" sz="800" dirty="0">
                <a:solidFill>
                  <a:schemeClr val="tx1"/>
                </a:solidFill>
                <a:latin typeface="Aptos Narrow"/>
                <a:ea typeface="+mn-lt"/>
                <a:cs typeface="+mn-lt"/>
              </a:rPr>
              <a:t>UNI</a:t>
            </a:r>
          </a:p>
          <a:p>
            <a:r>
              <a:rPr lang="en-US" sz="800" dirty="0">
                <a:solidFill>
                  <a:schemeClr val="tx1"/>
                </a:solidFill>
                <a:latin typeface="Aptos Narrow"/>
                <a:ea typeface="+mn-lt"/>
                <a:cs typeface="+mn-lt"/>
              </a:rPr>
              <a:t>SUEDE/MESH</a:t>
            </a:r>
          </a:p>
          <a:p>
            <a:r>
              <a:rPr lang="en-US" sz="800" dirty="0">
                <a:solidFill>
                  <a:schemeClr val="tx1"/>
                </a:solidFill>
                <a:latin typeface="Aptos Narrow"/>
                <a:ea typeface="+mn-lt"/>
                <a:cs typeface="+mn-lt"/>
              </a:rPr>
              <a:t>€13</a:t>
            </a:r>
            <a:r>
              <a:rPr lang="el-GR" sz="800" dirty="0">
                <a:solidFill>
                  <a:schemeClr val="tx1"/>
                </a:solidFill>
                <a:latin typeface="Aptos Narrow"/>
                <a:ea typeface="+mn-lt"/>
                <a:cs typeface="+mn-lt"/>
              </a:rPr>
              <a:t>5</a:t>
            </a:r>
            <a:endParaRPr lang="en-US" sz="800" dirty="0">
              <a:solidFill>
                <a:schemeClr val="tx1"/>
              </a:solidFill>
              <a:latin typeface="Aptos Narrow"/>
              <a:ea typeface="+mn-lt"/>
              <a:cs typeface="+mn-lt"/>
            </a:endParaRPr>
          </a:p>
          <a:p>
            <a:endParaRPr lang="en-US" sz="800" dirty="0">
              <a:solidFill>
                <a:schemeClr val="tx1"/>
              </a:solidFill>
              <a:latin typeface="Aptos Narrow"/>
            </a:endParaRPr>
          </a:p>
        </p:txBody>
      </p:sp>
      <p:sp>
        <p:nvSpPr>
          <p:cNvPr id="11" name="Google Shape;84;p13">
            <a:extLst>
              <a:ext uri="{FF2B5EF4-FFF2-40B4-BE49-F238E27FC236}">
                <a16:creationId xmlns:a16="http://schemas.microsoft.com/office/drawing/2014/main" id="{02CCBD12-3159-4950-BF1B-38C427A91F18}"/>
              </a:ext>
            </a:extLst>
          </p:cNvPr>
          <p:cNvSpPr txBox="1"/>
          <p:nvPr/>
        </p:nvSpPr>
        <p:spPr>
          <a:xfrm>
            <a:off x="3329001" y="2649666"/>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101</a:t>
            </a:r>
          </a:p>
        </p:txBody>
      </p:sp>
      <p:sp>
        <p:nvSpPr>
          <p:cNvPr id="21" name="Google Shape;84;p13">
            <a:extLst>
              <a:ext uri="{FF2B5EF4-FFF2-40B4-BE49-F238E27FC236}">
                <a16:creationId xmlns:a16="http://schemas.microsoft.com/office/drawing/2014/main" id="{D1FB4527-F1BF-87BD-B0AF-A7A4C758A5F2}"/>
              </a:ext>
            </a:extLst>
          </p:cNvPr>
          <p:cNvSpPr txBox="1"/>
          <p:nvPr/>
        </p:nvSpPr>
        <p:spPr>
          <a:xfrm>
            <a:off x="3332827" y="3405355"/>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a:latin typeface="Aptos Narrow" panose="020B0004020202020204" pitchFamily="34" charset="0"/>
              </a:rPr>
              <a:t>022</a:t>
            </a:r>
          </a:p>
        </p:txBody>
      </p:sp>
      <p:pic>
        <p:nvPicPr>
          <p:cNvPr id="14" name="Picture 13">
            <a:extLst>
              <a:ext uri="{FF2B5EF4-FFF2-40B4-BE49-F238E27FC236}">
                <a16:creationId xmlns:a16="http://schemas.microsoft.com/office/drawing/2014/main" id="{E4B812B6-A41A-98A1-A8F3-4B959D9AE6B5}"/>
              </a:ext>
            </a:extLst>
          </p:cNvPr>
          <p:cNvPicPr>
            <a:picLocks noChangeAspect="1"/>
          </p:cNvPicPr>
          <p:nvPr/>
        </p:nvPicPr>
        <p:blipFill>
          <a:blip r:embed="rId9"/>
          <a:stretch>
            <a:fillRect/>
          </a:stretch>
        </p:blipFill>
        <p:spPr>
          <a:xfrm>
            <a:off x="1527400" y="4748856"/>
            <a:ext cx="1467270" cy="731520"/>
          </a:xfrm>
          <a:prstGeom prst="rect">
            <a:avLst/>
          </a:prstGeom>
        </p:spPr>
      </p:pic>
      <p:sp>
        <p:nvSpPr>
          <p:cNvPr id="15" name="Rectangle 14">
            <a:extLst>
              <a:ext uri="{FF2B5EF4-FFF2-40B4-BE49-F238E27FC236}">
                <a16:creationId xmlns:a16="http://schemas.microsoft.com/office/drawing/2014/main" id="{B3AB1603-731D-B611-8AA4-6D4DDA1C0D25}"/>
              </a:ext>
            </a:extLst>
          </p:cNvPr>
          <p:cNvSpPr/>
          <p:nvPr/>
        </p:nvSpPr>
        <p:spPr>
          <a:xfrm>
            <a:off x="304129" y="4748856"/>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02322"/>
                </a:solidFill>
                <a:effectLst/>
                <a:uLnTx/>
                <a:uFillTx/>
                <a:latin typeface="Aptos Narrow"/>
                <a:ea typeface="+mn-lt"/>
                <a:cs typeface="+mn-lt"/>
              </a:rPr>
              <a:t>GT-2160</a:t>
            </a:r>
            <a:endParaRPr kumimoji="0" lang="en-US" sz="1800" b="0" i="0" u="none" strike="noStrike" kern="1200" cap="none" spc="0" normalizeH="0" baseline="0" noProof="0" dirty="0">
              <a:ln>
                <a:noFill/>
              </a:ln>
              <a:solidFill>
                <a:srgbClr val="202322"/>
              </a:solidFill>
              <a:effectLst/>
              <a:uLnTx/>
              <a:uFillTx/>
              <a:latin typeface="Aptos Narrow"/>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02322"/>
                </a:solidFill>
                <a:effectLst/>
                <a:uLnTx/>
                <a:uFillTx/>
                <a:latin typeface="Aptos Narrow"/>
                <a:ea typeface="+mn-lt"/>
                <a:cs typeface="+mn-lt"/>
              </a:rPr>
              <a:t>1203A98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202322"/>
                </a:solidFill>
                <a:latin typeface="Aptos Narrow"/>
                <a:ea typeface="+mn-lt"/>
                <a:cs typeface="+mn-lt"/>
              </a:rPr>
              <a:t>CUD</a:t>
            </a:r>
            <a:endParaRPr kumimoji="0" lang="en-US" sz="1800" b="0" i="0" u="none" strike="noStrike" kern="1200" cap="none" spc="0" normalizeH="0" baseline="0" noProof="0" dirty="0">
              <a:ln>
                <a:noFill/>
              </a:ln>
              <a:solidFill>
                <a:srgbClr val="202322"/>
              </a:solidFill>
              <a:effectLst/>
              <a:uLnTx/>
              <a:uFillTx/>
              <a:latin typeface="Aptos Narrow"/>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02322"/>
                </a:solidFill>
                <a:effectLst/>
                <a:uLnTx/>
                <a:uFillTx/>
                <a:latin typeface="Aptos Narrow"/>
                <a:ea typeface="+mn-lt"/>
                <a:cs typeface="+mn-lt"/>
              </a:rPr>
              <a:t>UN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02322"/>
                </a:solidFill>
                <a:effectLst/>
                <a:uLnTx/>
                <a:uFillTx/>
                <a:latin typeface="Aptos Narrow"/>
                <a:ea typeface="+mn-lt"/>
                <a:cs typeface="+mn-lt"/>
              </a:rPr>
              <a:t>€13</a:t>
            </a:r>
            <a:r>
              <a:rPr kumimoji="0" lang="el-GR" sz="800" b="0" i="0" u="none" strike="noStrike" kern="1200" cap="none" spc="0" normalizeH="0" baseline="0" noProof="0" dirty="0">
                <a:ln>
                  <a:noFill/>
                </a:ln>
                <a:solidFill>
                  <a:srgbClr val="202322"/>
                </a:solidFill>
                <a:effectLst/>
                <a:uLnTx/>
                <a:uFillTx/>
                <a:latin typeface="Aptos Narrow"/>
                <a:ea typeface="+mn-lt"/>
                <a:cs typeface="+mn-lt"/>
              </a:rPr>
              <a:t>5</a:t>
            </a:r>
            <a:endParaRPr kumimoji="0" lang="en-US" sz="800" b="0" i="0" u="none" strike="noStrike" kern="1200" cap="none" spc="0" normalizeH="0" baseline="0" noProof="0" dirty="0">
              <a:ln>
                <a:noFill/>
              </a:ln>
              <a:solidFill>
                <a:srgbClr val="202322"/>
              </a:solidFill>
              <a:effectLst/>
              <a:uLnTx/>
              <a:uFillTx/>
              <a:latin typeface="Aptos Narrow"/>
              <a:ea typeface="+mn-lt"/>
              <a:cs typeface="+mn-lt"/>
            </a:endParaRPr>
          </a:p>
        </p:txBody>
      </p:sp>
      <p:sp>
        <p:nvSpPr>
          <p:cNvPr id="16" name="TextBox 15">
            <a:extLst>
              <a:ext uri="{FF2B5EF4-FFF2-40B4-BE49-F238E27FC236}">
                <a16:creationId xmlns:a16="http://schemas.microsoft.com/office/drawing/2014/main" id="{F02C9D62-807A-E616-A7B9-577DC916223C}"/>
              </a:ext>
            </a:extLst>
          </p:cNvPr>
          <p:cNvSpPr txBox="1"/>
          <p:nvPr/>
        </p:nvSpPr>
        <p:spPr>
          <a:xfrm>
            <a:off x="1538293" y="4800399"/>
            <a:ext cx="646544" cy="2308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rgbClr val="202322"/>
                </a:solidFill>
                <a:latin typeface="Aptos Narrow" panose="020B0004020202020204" pitchFamily="34" charset="0"/>
              </a:rPr>
              <a:t>100</a:t>
            </a:r>
            <a:endParaRPr kumimoji="0" lang="en-US" sz="900" b="0" i="0" u="none" strike="noStrike" kern="1200" cap="none" spc="0" normalizeH="0" baseline="0" noProof="0" dirty="0">
              <a:ln>
                <a:noFill/>
              </a:ln>
              <a:solidFill>
                <a:srgbClr val="202322"/>
              </a:solidFill>
              <a:effectLst/>
              <a:uLnTx/>
              <a:uFillTx/>
              <a:latin typeface="Aptos Narrow" panose="020B0004020202020204" pitchFamily="34" charset="0"/>
            </a:endParaRPr>
          </a:p>
        </p:txBody>
      </p:sp>
      <p:sp>
        <p:nvSpPr>
          <p:cNvPr id="2" name="正方形/長方形 9">
            <a:extLst>
              <a:ext uri="{FF2B5EF4-FFF2-40B4-BE49-F238E27FC236}">
                <a16:creationId xmlns:a16="http://schemas.microsoft.com/office/drawing/2014/main" id="{BBD44D80-EDD9-F4AA-FA06-63A567EF0B28}"/>
              </a:ext>
            </a:extLst>
          </p:cNvPr>
          <p:cNvSpPr/>
          <p:nvPr/>
        </p:nvSpPr>
        <p:spPr>
          <a:xfrm>
            <a:off x="273698" y="540584"/>
            <a:ext cx="11847615" cy="2073511"/>
          </a:xfrm>
          <a:prstGeom prst="rect">
            <a:avLst/>
          </a:prstGeom>
          <a:no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latin typeface="Aptos" panose="020B0004020202020204" pitchFamily="34" charset="0"/>
            </a:endParaRPr>
          </a:p>
        </p:txBody>
      </p:sp>
      <p:sp>
        <p:nvSpPr>
          <p:cNvPr id="17" name="正方形/長方形 9">
            <a:extLst>
              <a:ext uri="{FF2B5EF4-FFF2-40B4-BE49-F238E27FC236}">
                <a16:creationId xmlns:a16="http://schemas.microsoft.com/office/drawing/2014/main" id="{5A098CF5-822B-71A2-DF84-96ED8EA6B1D3}"/>
              </a:ext>
            </a:extLst>
          </p:cNvPr>
          <p:cNvSpPr/>
          <p:nvPr/>
        </p:nvSpPr>
        <p:spPr>
          <a:xfrm>
            <a:off x="273698" y="2614095"/>
            <a:ext cx="11847615" cy="2073511"/>
          </a:xfrm>
          <a:prstGeom prst="rect">
            <a:avLst/>
          </a:prstGeom>
          <a:no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latin typeface="Aptos" panose="020B0004020202020204" pitchFamily="34" charset="0"/>
            </a:endParaRPr>
          </a:p>
        </p:txBody>
      </p:sp>
    </p:spTree>
    <p:extLst>
      <p:ext uri="{BB962C8B-B14F-4D97-AF65-F5344CB8AC3E}">
        <p14:creationId xmlns:p14="http://schemas.microsoft.com/office/powerpoint/2010/main" val="25455660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051D1056-D07C-7640-44F3-22F98CB11958}"/>
              </a:ext>
            </a:extLst>
          </p:cNvPr>
          <p:cNvGraphicFramePr>
            <a:graphicFrameLocks noChangeAspect="1"/>
          </p:cNvGraphicFramePr>
          <p:nvPr>
            <p:custDataLst>
              <p:tags r:id="rId1"/>
            </p:custDataLst>
            <p:extLst>
              <p:ext uri="{D42A27DB-BD31-4B8C-83A1-F6EECF244321}">
                <p14:modId xmlns:p14="http://schemas.microsoft.com/office/powerpoint/2010/main" val="538027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20" name="think-cell data - do not delete" hidden="1">
                        <a:extLst>
                          <a:ext uri="{FF2B5EF4-FFF2-40B4-BE49-F238E27FC236}">
                            <a16:creationId xmlns:a16="http://schemas.microsoft.com/office/drawing/2014/main" id="{051D1056-D07C-7640-44F3-22F98CB119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14B9080-360B-6F1D-8865-68BEDBCB52B0}"/>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8717255" y="2354576"/>
            <a:ext cx="1462175" cy="686536"/>
          </a:xfrm>
          <a:prstGeom prst="rect">
            <a:avLst/>
          </a:prstGeom>
        </p:spPr>
      </p:pic>
      <p:pic>
        <p:nvPicPr>
          <p:cNvPr id="13" name="Picture 12">
            <a:extLst>
              <a:ext uri="{FF2B5EF4-FFF2-40B4-BE49-F238E27FC236}">
                <a16:creationId xmlns:a16="http://schemas.microsoft.com/office/drawing/2014/main" id="{B994B758-21C2-74B6-AF5F-82E35670CC44}"/>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8718383" y="3134442"/>
            <a:ext cx="1462175" cy="688821"/>
          </a:xfrm>
          <a:prstGeom prst="rect">
            <a:avLst/>
          </a:prstGeom>
        </p:spPr>
      </p:pic>
      <p:pic>
        <p:nvPicPr>
          <p:cNvPr id="12" name="Picture 5">
            <a:extLst>
              <a:ext uri="{FF2B5EF4-FFF2-40B4-BE49-F238E27FC236}">
                <a16:creationId xmlns:a16="http://schemas.microsoft.com/office/drawing/2014/main" id="{0A2109A6-7928-3ADF-856A-A2CDDF1D4AB2}"/>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1529478" y="646680"/>
            <a:ext cx="1463263" cy="693906"/>
          </a:xfrm>
          <a:prstGeom prst="rect">
            <a:avLst/>
          </a:prstGeom>
        </p:spPr>
      </p:pic>
      <p:pic>
        <p:nvPicPr>
          <p:cNvPr id="15" name="Picture 5">
            <a:extLst>
              <a:ext uri="{FF2B5EF4-FFF2-40B4-BE49-F238E27FC236}">
                <a16:creationId xmlns:a16="http://schemas.microsoft.com/office/drawing/2014/main" id="{8950D274-9F25-C609-22AF-5FE018C5BA3B}"/>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1529478" y="1411566"/>
            <a:ext cx="1463233" cy="687033"/>
          </a:xfrm>
          <a:prstGeom prst="rect">
            <a:avLst/>
          </a:prstGeom>
        </p:spPr>
      </p:pic>
      <p:pic>
        <p:nvPicPr>
          <p:cNvPr id="17" name="Picture 16">
            <a:extLst>
              <a:ext uri="{FF2B5EF4-FFF2-40B4-BE49-F238E27FC236}">
                <a16:creationId xmlns:a16="http://schemas.microsoft.com/office/drawing/2014/main" id="{8E807898-96C6-0038-5917-DB2BA299335E}"/>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5164542" y="3114394"/>
            <a:ext cx="1449444" cy="708869"/>
          </a:xfrm>
          <a:prstGeom prst="rect">
            <a:avLst/>
          </a:prstGeom>
        </p:spPr>
      </p:pic>
      <p:pic>
        <p:nvPicPr>
          <p:cNvPr id="19" name="Picture 18">
            <a:extLst>
              <a:ext uri="{FF2B5EF4-FFF2-40B4-BE49-F238E27FC236}">
                <a16:creationId xmlns:a16="http://schemas.microsoft.com/office/drawing/2014/main" id="{5389B48F-F00A-EDA9-5765-B1939D842863}"/>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5137921" y="2312311"/>
            <a:ext cx="1462319" cy="691174"/>
          </a:xfrm>
          <a:prstGeom prst="rect">
            <a:avLst/>
          </a:prstGeom>
        </p:spPr>
      </p:pic>
      <p:sp>
        <p:nvSpPr>
          <p:cNvPr id="4" name="正方形/長方形 68">
            <a:extLst>
              <a:ext uri="{FF2B5EF4-FFF2-40B4-BE49-F238E27FC236}">
                <a16:creationId xmlns:a16="http://schemas.microsoft.com/office/drawing/2014/main" id="{989D3FA4-9E9B-53E3-ECA0-DD1B302C80D6}"/>
              </a:ext>
            </a:extLst>
          </p:cNvPr>
          <p:cNvSpPr/>
          <p:nvPr/>
        </p:nvSpPr>
        <p:spPr>
          <a:xfrm flipV="1">
            <a:off x="87911" y="541255"/>
            <a:ext cx="12033402" cy="1655601"/>
          </a:xfrm>
          <a:prstGeom prst="rect">
            <a:avLst/>
          </a:prstGeom>
          <a:no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latin typeface="Aptos" panose="020B0004020202020204" pitchFamily="34" charset="0"/>
            </a:endParaRPr>
          </a:p>
        </p:txBody>
      </p:sp>
      <p:sp>
        <p:nvSpPr>
          <p:cNvPr id="70" name="Rectangle 2">
            <a:extLst>
              <a:ext uri="{FF2B5EF4-FFF2-40B4-BE49-F238E27FC236}">
                <a16:creationId xmlns:a16="http://schemas.microsoft.com/office/drawing/2014/main" id="{806B8040-186A-DF35-242B-F6AD41CEFC9B}"/>
              </a:ext>
            </a:extLst>
          </p:cNvPr>
          <p:cNvSpPr/>
          <p:nvPr/>
        </p:nvSpPr>
        <p:spPr>
          <a:xfrm>
            <a:off x="275673" y="540586"/>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1130</a:t>
            </a:r>
          </a:p>
          <a:p>
            <a:r>
              <a:rPr lang="en-US" sz="800" b="1" dirty="0">
                <a:solidFill>
                  <a:schemeClr val="tx1"/>
                </a:solidFill>
                <a:latin typeface="Aptos Narrow"/>
                <a:ea typeface="+mn-lt"/>
                <a:cs typeface="+mn-lt"/>
              </a:rPr>
              <a:t>1203B045</a:t>
            </a:r>
          </a:p>
          <a:p>
            <a:r>
              <a:rPr lang="en-US" sz="800" dirty="0">
                <a:solidFill>
                  <a:schemeClr val="tx1"/>
                </a:solidFill>
                <a:latin typeface="Aptos Narrow"/>
                <a:ea typeface="+mn-lt"/>
                <a:cs typeface="+mn-lt"/>
              </a:rPr>
              <a:t>MUD</a:t>
            </a:r>
          </a:p>
          <a:p>
            <a:r>
              <a:rPr lang="en-US" sz="800" dirty="0">
                <a:solidFill>
                  <a:schemeClr val="tx1"/>
                </a:solidFill>
                <a:latin typeface="Aptos Narrow"/>
                <a:ea typeface="+mn-lt"/>
                <a:cs typeface="+mn-lt"/>
              </a:rPr>
              <a:t>UNI</a:t>
            </a:r>
          </a:p>
          <a:p>
            <a:r>
              <a:rPr lang="en-US" sz="800" dirty="0">
                <a:solidFill>
                  <a:schemeClr val="tx1"/>
                </a:solidFill>
                <a:latin typeface="Aptos Narrow"/>
              </a:rPr>
              <a:t>PATENT</a:t>
            </a:r>
          </a:p>
          <a:p>
            <a:r>
              <a:rPr lang="en-US" sz="800" dirty="0">
                <a:solidFill>
                  <a:schemeClr val="tx1"/>
                </a:solidFill>
                <a:latin typeface="Aptos Narrow"/>
                <a:ea typeface="+mn-lt"/>
                <a:cs typeface="+mn-lt"/>
              </a:rPr>
              <a:t>€115 </a:t>
            </a:r>
          </a:p>
          <a:p>
            <a:endParaRPr lang="en-US" sz="800" dirty="0">
              <a:solidFill>
                <a:schemeClr val="tx1"/>
              </a:solidFill>
              <a:latin typeface="Aptos Narrow"/>
            </a:endParaRPr>
          </a:p>
        </p:txBody>
      </p:sp>
      <p:sp>
        <p:nvSpPr>
          <p:cNvPr id="10" name="正方形/長方形 9">
            <a:extLst>
              <a:ext uri="{FF2B5EF4-FFF2-40B4-BE49-F238E27FC236}">
                <a16:creationId xmlns:a16="http://schemas.microsoft.com/office/drawing/2014/main" id="{4AC399DE-D4E4-C4AF-59E7-215433152576}"/>
              </a:ext>
            </a:extLst>
          </p:cNvPr>
          <p:cNvSpPr/>
          <p:nvPr/>
        </p:nvSpPr>
        <p:spPr>
          <a:xfrm rot="16200000">
            <a:off x="-2929276" y="3566394"/>
            <a:ext cx="6224922" cy="184975"/>
          </a:xfrm>
          <a:prstGeom prst="rect">
            <a:avLst/>
          </a:prstGeom>
          <a:solidFill>
            <a:srgbClr val="F2EEDE"/>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solidFill>
                  <a:schemeClr val="tx1"/>
                </a:solidFill>
                <a:latin typeface="Aptos" panose="020B0004020202020204" pitchFamily="34" charset="0"/>
              </a:rPr>
              <a:t>PLATINUM</a:t>
            </a:r>
            <a:endParaRPr kumimoji="1" lang="ja-JP" altLang="en-US" sz="800">
              <a:solidFill>
                <a:schemeClr val="tx1"/>
              </a:solidFill>
              <a:latin typeface="Aptos" panose="020B0004020202020204" pitchFamily="34" charset="0"/>
            </a:endParaRPr>
          </a:p>
        </p:txBody>
      </p:sp>
      <p:sp>
        <p:nvSpPr>
          <p:cNvPr id="6" name="タイトル 5">
            <a:extLst>
              <a:ext uri="{FF2B5EF4-FFF2-40B4-BE49-F238E27FC236}">
                <a16:creationId xmlns:a16="http://schemas.microsoft.com/office/drawing/2014/main" id="{8304188E-AF24-A51E-41DD-5C0C9E5A5EA2}"/>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r>
              <a:rPr lang="en-US" altLang="ja-JP">
                <a:latin typeface="Aptos"/>
                <a:cs typeface="Calibri"/>
              </a:rPr>
              <a:t>GEL-1130 (PAGE 1 OF 3)</a:t>
            </a:r>
            <a:endParaRPr lang="ja-JP" altLang="en-US"/>
          </a:p>
          <a:p>
            <a:endParaRPr lang="ja-JP" altLang="en-US"/>
          </a:p>
        </p:txBody>
      </p:sp>
      <p:sp>
        <p:nvSpPr>
          <p:cNvPr id="30" name="Google Shape;84;p13">
            <a:extLst>
              <a:ext uri="{FF2B5EF4-FFF2-40B4-BE49-F238E27FC236}">
                <a16:creationId xmlns:a16="http://schemas.microsoft.com/office/drawing/2014/main" id="{964D9D2C-65CC-975D-9DF9-0239CD332C56}"/>
              </a:ext>
            </a:extLst>
          </p:cNvPr>
          <p:cNvSpPr txBox="1"/>
          <p:nvPr/>
        </p:nvSpPr>
        <p:spPr>
          <a:xfrm>
            <a:off x="1529478" y="563088"/>
            <a:ext cx="365443" cy="323135"/>
          </a:xfrm>
          <a:prstGeom prst="rect">
            <a:avLst/>
          </a:prstGeom>
          <a:noFill/>
          <a:ln>
            <a:noFill/>
          </a:ln>
        </p:spPr>
        <p:txBody>
          <a:bodyPr spcFirstLastPara="1" wrap="square" lIns="91425" tIns="91425" rIns="91425" bIns="91425" anchor="ctr"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altLang="ja" sz="900">
                <a:latin typeface="Aptos Narrow" panose="020B0004020202020204" pitchFamily="34" charset="0"/>
                <a:cs typeface="Calibri"/>
              </a:rPr>
              <a:t>020</a:t>
            </a:r>
          </a:p>
        </p:txBody>
      </p:sp>
      <p:sp>
        <p:nvSpPr>
          <p:cNvPr id="31" name="Google Shape;84;p13">
            <a:extLst>
              <a:ext uri="{FF2B5EF4-FFF2-40B4-BE49-F238E27FC236}">
                <a16:creationId xmlns:a16="http://schemas.microsoft.com/office/drawing/2014/main" id="{9AFD0C9C-C99B-83BC-E25D-7573521B2C78}"/>
              </a:ext>
            </a:extLst>
          </p:cNvPr>
          <p:cNvSpPr txBox="1"/>
          <p:nvPr/>
        </p:nvSpPr>
        <p:spPr>
          <a:xfrm>
            <a:off x="1529478" y="1324545"/>
            <a:ext cx="365443" cy="323135"/>
          </a:xfrm>
          <a:prstGeom prst="rect">
            <a:avLst/>
          </a:prstGeom>
          <a:noFill/>
          <a:ln>
            <a:noFill/>
          </a:ln>
        </p:spPr>
        <p:txBody>
          <a:bodyPr spcFirstLastPara="1" wrap="square" lIns="91425" tIns="91425" rIns="91425" bIns="91425" anchor="ctr"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altLang="ja" sz="900">
                <a:latin typeface="Aptos Narrow" panose="020B0004020202020204" pitchFamily="34" charset="0"/>
                <a:cs typeface="Calibri"/>
              </a:rPr>
              <a:t>200</a:t>
            </a:r>
          </a:p>
        </p:txBody>
      </p:sp>
      <p:sp>
        <p:nvSpPr>
          <p:cNvPr id="3" name="Rectangle 2">
            <a:extLst>
              <a:ext uri="{FF2B5EF4-FFF2-40B4-BE49-F238E27FC236}">
                <a16:creationId xmlns:a16="http://schemas.microsoft.com/office/drawing/2014/main" id="{9BD7C1C6-BB4A-60B4-A6D3-8AB8371F4EEC}"/>
              </a:ext>
            </a:extLst>
          </p:cNvPr>
          <p:cNvSpPr/>
          <p:nvPr/>
        </p:nvSpPr>
        <p:spPr>
          <a:xfrm>
            <a:off x="277785" y="2187866"/>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1130</a:t>
            </a:r>
          </a:p>
          <a:p>
            <a:r>
              <a:rPr lang="en-US" sz="800" b="1" dirty="0">
                <a:solidFill>
                  <a:schemeClr val="tx1"/>
                </a:solidFill>
                <a:latin typeface="Aptos Narrow"/>
                <a:ea typeface="+mn-lt"/>
                <a:cs typeface="+mn-lt"/>
              </a:rPr>
              <a:t>1203A899</a:t>
            </a:r>
          </a:p>
          <a:p>
            <a:r>
              <a:rPr lang="en-US" sz="800" dirty="0">
                <a:solidFill>
                  <a:schemeClr val="tx1"/>
                </a:solidFill>
                <a:latin typeface="Aptos Narrow"/>
                <a:ea typeface="+mn-lt"/>
                <a:cs typeface="+mn-lt"/>
              </a:rPr>
              <a:t>MUD</a:t>
            </a:r>
          </a:p>
          <a:p>
            <a:r>
              <a:rPr lang="en-US" sz="800" dirty="0">
                <a:solidFill>
                  <a:schemeClr val="tx1"/>
                </a:solidFill>
                <a:latin typeface="Aptos Narrow"/>
                <a:ea typeface="+mn-lt"/>
                <a:cs typeface="+mn-lt"/>
              </a:rPr>
              <a:t>UNI</a:t>
            </a:r>
          </a:p>
          <a:p>
            <a:r>
              <a:rPr lang="en-US" sz="800" dirty="0">
                <a:solidFill>
                  <a:schemeClr val="tx1"/>
                </a:solidFill>
                <a:latin typeface="Aptos Narrow"/>
                <a:ea typeface="+mn-lt"/>
                <a:cs typeface="+mn-lt"/>
              </a:rPr>
              <a:t>MESH/JEWEL</a:t>
            </a:r>
          </a:p>
          <a:p>
            <a:r>
              <a:rPr lang="en-US" sz="800" dirty="0">
                <a:solidFill>
                  <a:schemeClr val="tx1"/>
                </a:solidFill>
                <a:latin typeface="Aptos Narrow"/>
                <a:ea typeface="+mn-lt"/>
                <a:cs typeface="+mn-lt"/>
              </a:rPr>
              <a:t>€110</a:t>
            </a:r>
            <a:endParaRPr lang="en-US" sz="800" dirty="0">
              <a:solidFill>
                <a:schemeClr val="tx1"/>
              </a:solidFill>
              <a:latin typeface="Aptos Narrow"/>
            </a:endParaRPr>
          </a:p>
        </p:txBody>
      </p:sp>
      <p:sp>
        <p:nvSpPr>
          <p:cNvPr id="14" name="Google Shape;84;p13">
            <a:extLst>
              <a:ext uri="{FF2B5EF4-FFF2-40B4-BE49-F238E27FC236}">
                <a16:creationId xmlns:a16="http://schemas.microsoft.com/office/drawing/2014/main" id="{42E486B0-CF82-370E-A497-1BB316D0FCD4}"/>
              </a:ext>
            </a:extLst>
          </p:cNvPr>
          <p:cNvSpPr txBox="1"/>
          <p:nvPr/>
        </p:nvSpPr>
        <p:spPr>
          <a:xfrm>
            <a:off x="5137921" y="2221447"/>
            <a:ext cx="365443" cy="323135"/>
          </a:xfrm>
          <a:prstGeom prst="rect">
            <a:avLst/>
          </a:prstGeom>
          <a:noFill/>
          <a:ln>
            <a:noFill/>
          </a:ln>
        </p:spPr>
        <p:txBody>
          <a:bodyPr spcFirstLastPara="1" wrap="square" lIns="91425" tIns="91425" rIns="91425" bIns="91425" anchor="ctr"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altLang="ja" sz="900">
                <a:latin typeface="Aptos Narrow" panose="020B0004020202020204" pitchFamily="34" charset="0"/>
                <a:cs typeface="Calibri"/>
              </a:rPr>
              <a:t>102</a:t>
            </a:r>
          </a:p>
        </p:txBody>
      </p:sp>
      <p:sp>
        <p:nvSpPr>
          <p:cNvPr id="16" name="Google Shape;84;p13">
            <a:extLst>
              <a:ext uri="{FF2B5EF4-FFF2-40B4-BE49-F238E27FC236}">
                <a16:creationId xmlns:a16="http://schemas.microsoft.com/office/drawing/2014/main" id="{A050DA49-AB73-B064-F4F7-D6A322FFE884}"/>
              </a:ext>
            </a:extLst>
          </p:cNvPr>
          <p:cNvSpPr txBox="1"/>
          <p:nvPr/>
        </p:nvSpPr>
        <p:spPr>
          <a:xfrm>
            <a:off x="5137921" y="3003485"/>
            <a:ext cx="365443" cy="323135"/>
          </a:xfrm>
          <a:prstGeom prst="rect">
            <a:avLst/>
          </a:prstGeom>
          <a:noFill/>
          <a:ln>
            <a:noFill/>
          </a:ln>
        </p:spPr>
        <p:txBody>
          <a:bodyPr spcFirstLastPara="1" wrap="square" lIns="91425" tIns="91425" rIns="91425" bIns="91425" anchor="ctr"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altLang="ja" sz="900">
                <a:latin typeface="Aptos Narrow" panose="020B0004020202020204" pitchFamily="34" charset="0"/>
                <a:cs typeface="Calibri"/>
              </a:rPr>
              <a:t>103</a:t>
            </a:r>
          </a:p>
        </p:txBody>
      </p:sp>
      <p:sp>
        <p:nvSpPr>
          <p:cNvPr id="18" name="Google Shape;84;p13">
            <a:extLst>
              <a:ext uri="{FF2B5EF4-FFF2-40B4-BE49-F238E27FC236}">
                <a16:creationId xmlns:a16="http://schemas.microsoft.com/office/drawing/2014/main" id="{36500E1F-80F2-F5A0-C2E1-092189BB137E}"/>
              </a:ext>
            </a:extLst>
          </p:cNvPr>
          <p:cNvSpPr txBox="1"/>
          <p:nvPr/>
        </p:nvSpPr>
        <p:spPr>
          <a:xfrm>
            <a:off x="8717255" y="2221447"/>
            <a:ext cx="365443" cy="323135"/>
          </a:xfrm>
          <a:prstGeom prst="rect">
            <a:avLst/>
          </a:prstGeom>
          <a:noFill/>
          <a:ln>
            <a:noFill/>
          </a:ln>
        </p:spPr>
        <p:txBody>
          <a:bodyPr spcFirstLastPara="1" wrap="square" lIns="91425" tIns="91425" rIns="91425" bIns="91425" anchor="ctr"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altLang="ja" sz="900">
                <a:latin typeface="Aptos Narrow" panose="020B0004020202020204" pitchFamily="34" charset="0"/>
                <a:cs typeface="Calibri"/>
              </a:rPr>
              <a:t>101</a:t>
            </a:r>
          </a:p>
        </p:txBody>
      </p:sp>
      <p:sp>
        <p:nvSpPr>
          <p:cNvPr id="22" name="Google Shape;84;p13">
            <a:extLst>
              <a:ext uri="{FF2B5EF4-FFF2-40B4-BE49-F238E27FC236}">
                <a16:creationId xmlns:a16="http://schemas.microsoft.com/office/drawing/2014/main" id="{DB5B0DA3-8AF0-3A97-C6B4-913B85E44085}"/>
              </a:ext>
            </a:extLst>
          </p:cNvPr>
          <p:cNvSpPr txBox="1"/>
          <p:nvPr/>
        </p:nvSpPr>
        <p:spPr>
          <a:xfrm>
            <a:off x="8717255" y="3003485"/>
            <a:ext cx="365443" cy="323135"/>
          </a:xfrm>
          <a:prstGeom prst="rect">
            <a:avLst/>
          </a:prstGeom>
          <a:noFill/>
          <a:ln>
            <a:noFill/>
          </a:ln>
        </p:spPr>
        <p:txBody>
          <a:bodyPr spcFirstLastPara="1" wrap="square" lIns="91425" tIns="91425" rIns="91425" bIns="91425" anchor="ctr"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altLang="ja" sz="900">
                <a:latin typeface="Aptos Narrow" panose="020B0004020202020204" pitchFamily="34" charset="0"/>
                <a:cs typeface="Calibri"/>
              </a:rPr>
              <a:t>100</a:t>
            </a:r>
          </a:p>
        </p:txBody>
      </p:sp>
    </p:spTree>
    <p:extLst>
      <p:ext uri="{BB962C8B-B14F-4D97-AF65-F5344CB8AC3E}">
        <p14:creationId xmlns:p14="http://schemas.microsoft.com/office/powerpoint/2010/main" val="37008472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5B3AFA1-0E9F-ED57-AC69-D11299971324}"/>
              </a:ext>
            </a:extLst>
          </p:cNvPr>
          <p:cNvGraphicFramePr>
            <a:graphicFrameLocks noChangeAspect="1"/>
          </p:cNvGraphicFramePr>
          <p:nvPr>
            <p:custDataLst>
              <p:tags r:id="rId1"/>
            </p:custDataLst>
            <p:extLst>
              <p:ext uri="{D42A27DB-BD31-4B8C-83A1-F6EECF244321}">
                <p14:modId xmlns:p14="http://schemas.microsoft.com/office/powerpoint/2010/main" val="2698591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5" name="think-cell data - do not delete" hidden="1">
                        <a:extLst>
                          <a:ext uri="{FF2B5EF4-FFF2-40B4-BE49-F238E27FC236}">
                            <a16:creationId xmlns:a16="http://schemas.microsoft.com/office/drawing/2014/main" id="{D5B3AFA1-0E9F-ED57-AC69-D112999713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5EB36D5-F0CC-C898-3029-B266CF8A0DED}"/>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6965908" y="648303"/>
            <a:ext cx="1518291" cy="720000"/>
          </a:xfrm>
          <a:prstGeom prst="rect">
            <a:avLst/>
          </a:prstGeom>
        </p:spPr>
      </p:pic>
      <p:pic>
        <p:nvPicPr>
          <p:cNvPr id="44" name="Picture 43">
            <a:extLst>
              <a:ext uri="{FF2B5EF4-FFF2-40B4-BE49-F238E27FC236}">
                <a16:creationId xmlns:a16="http://schemas.microsoft.com/office/drawing/2014/main" id="{3AEC9C1A-770A-8012-31F7-0736A9FFE7B9}"/>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1557780" y="686738"/>
            <a:ext cx="1513299" cy="720000"/>
          </a:xfrm>
          <a:prstGeom prst="rect">
            <a:avLst/>
          </a:prstGeom>
        </p:spPr>
      </p:pic>
      <p:pic>
        <p:nvPicPr>
          <p:cNvPr id="45" name="Picture 44">
            <a:extLst>
              <a:ext uri="{FF2B5EF4-FFF2-40B4-BE49-F238E27FC236}">
                <a16:creationId xmlns:a16="http://schemas.microsoft.com/office/drawing/2014/main" id="{8533EFF4-CCAB-E274-CB1C-B04B36433F0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6943873" y="1680646"/>
            <a:ext cx="1536500" cy="720000"/>
          </a:xfrm>
          <a:prstGeom prst="rect">
            <a:avLst/>
          </a:prstGeom>
        </p:spPr>
      </p:pic>
      <p:pic>
        <p:nvPicPr>
          <p:cNvPr id="37" name="Picture 36">
            <a:extLst>
              <a:ext uri="{FF2B5EF4-FFF2-40B4-BE49-F238E27FC236}">
                <a16:creationId xmlns:a16="http://schemas.microsoft.com/office/drawing/2014/main" id="{D1EE6E9B-3A50-7E4D-026C-7B277D793DF4}"/>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1543495" y="1655722"/>
            <a:ext cx="1513299" cy="720000"/>
          </a:xfrm>
          <a:prstGeom prst="rect">
            <a:avLst/>
          </a:prstGeom>
        </p:spPr>
      </p:pic>
      <p:pic>
        <p:nvPicPr>
          <p:cNvPr id="38" name="Picture 37">
            <a:extLst>
              <a:ext uri="{FF2B5EF4-FFF2-40B4-BE49-F238E27FC236}">
                <a16:creationId xmlns:a16="http://schemas.microsoft.com/office/drawing/2014/main" id="{96CFC8EA-1AA0-70DF-9744-22A0EDF6EF38}"/>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1537548" y="2574154"/>
            <a:ext cx="1475805" cy="720000"/>
          </a:xfrm>
          <a:prstGeom prst="rect">
            <a:avLst/>
          </a:prstGeom>
        </p:spPr>
      </p:pic>
      <p:pic>
        <p:nvPicPr>
          <p:cNvPr id="40" name="Picture 39">
            <a:extLst>
              <a:ext uri="{FF2B5EF4-FFF2-40B4-BE49-F238E27FC236}">
                <a16:creationId xmlns:a16="http://schemas.microsoft.com/office/drawing/2014/main" id="{DE99A9D0-AD6B-94CF-EC56-4125CE7EE7CE}"/>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1500054" y="4434840"/>
            <a:ext cx="1475805" cy="720000"/>
          </a:xfrm>
          <a:prstGeom prst="rect">
            <a:avLst/>
          </a:prstGeom>
        </p:spPr>
      </p:pic>
      <p:pic>
        <p:nvPicPr>
          <p:cNvPr id="41" name="Picture 40">
            <a:extLst>
              <a:ext uri="{FF2B5EF4-FFF2-40B4-BE49-F238E27FC236}">
                <a16:creationId xmlns:a16="http://schemas.microsoft.com/office/drawing/2014/main" id="{88BA09FF-EFAA-3587-393F-92226FCBFA6C}"/>
              </a:ext>
            </a:extLst>
          </p:cNvPr>
          <p:cNvPicPr>
            <a:picLocks noChangeAspect="1"/>
          </p:cNvPicPr>
          <p:nvPr/>
        </p:nvPicPr>
        <p:blipFill>
          <a:blip r:embed="rId12" cstate="print">
            <a:extLst>
              <a:ext uri="{28A0092B-C50C-407E-A947-70E740481C1C}">
                <a14:useLocalDpi xmlns:a14="http://schemas.microsoft.com/office/drawing/2010/main" val="0"/>
              </a:ext>
            </a:extLst>
          </a:blip>
          <a:srcRect/>
          <a:stretch/>
        </p:blipFill>
        <p:spPr>
          <a:xfrm>
            <a:off x="1524890" y="5350597"/>
            <a:ext cx="1469858" cy="720000"/>
          </a:xfrm>
          <a:prstGeom prst="rect">
            <a:avLst/>
          </a:prstGeom>
        </p:spPr>
      </p:pic>
      <p:pic>
        <p:nvPicPr>
          <p:cNvPr id="42" name="Picture 41">
            <a:extLst>
              <a:ext uri="{FF2B5EF4-FFF2-40B4-BE49-F238E27FC236}">
                <a16:creationId xmlns:a16="http://schemas.microsoft.com/office/drawing/2014/main" id="{BDCA1807-A3C7-B085-1E36-48FE9FD76BA9}"/>
              </a:ext>
            </a:extLst>
          </p:cNvPr>
          <p:cNvPicPr>
            <a:picLocks noChangeAspect="1"/>
          </p:cNvPicPr>
          <p:nvPr/>
        </p:nvPicPr>
        <p:blipFill>
          <a:blip r:embed="rId13" cstate="print">
            <a:extLst>
              <a:ext uri="{28A0092B-C50C-407E-A947-70E740481C1C}">
                <a14:useLocalDpi xmlns:a14="http://schemas.microsoft.com/office/drawing/2010/main" val="0"/>
              </a:ext>
            </a:extLst>
          </a:blip>
          <a:srcRect/>
          <a:stretch/>
        </p:blipFill>
        <p:spPr>
          <a:xfrm>
            <a:off x="1500054" y="3519083"/>
            <a:ext cx="1513299" cy="720000"/>
          </a:xfrm>
          <a:prstGeom prst="rect">
            <a:avLst/>
          </a:prstGeom>
        </p:spPr>
      </p:pic>
      <p:sp>
        <p:nvSpPr>
          <p:cNvPr id="71" name="Rectangle 2">
            <a:extLst>
              <a:ext uri="{FF2B5EF4-FFF2-40B4-BE49-F238E27FC236}">
                <a16:creationId xmlns:a16="http://schemas.microsoft.com/office/drawing/2014/main" id="{2AD15FC7-13C1-7EAF-160A-6AFB645E257B}"/>
              </a:ext>
            </a:extLst>
          </p:cNvPr>
          <p:cNvSpPr/>
          <p:nvPr/>
        </p:nvSpPr>
        <p:spPr>
          <a:xfrm>
            <a:off x="330092" y="526762"/>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1130</a:t>
            </a:r>
          </a:p>
          <a:p>
            <a:r>
              <a:rPr lang="en-US" sz="800" b="1" dirty="0">
                <a:solidFill>
                  <a:schemeClr val="tx1"/>
                </a:solidFill>
                <a:latin typeface="Aptos Narrow"/>
                <a:ea typeface="+mn-lt"/>
                <a:cs typeface="+mn-lt"/>
              </a:rPr>
              <a:t>1203A609</a:t>
            </a:r>
          </a:p>
          <a:p>
            <a:r>
              <a:rPr lang="en-US" sz="800" dirty="0">
                <a:solidFill>
                  <a:schemeClr val="tx1"/>
                </a:solidFill>
                <a:latin typeface="Aptos Narrow"/>
                <a:ea typeface="+mn-lt"/>
                <a:cs typeface="+mn-lt"/>
              </a:rPr>
              <a:t>CUD</a:t>
            </a:r>
          </a:p>
          <a:p>
            <a:r>
              <a:rPr lang="en-US" sz="800" dirty="0">
                <a:solidFill>
                  <a:schemeClr val="tx1"/>
                </a:solidFill>
                <a:latin typeface="Aptos Narrow"/>
                <a:ea typeface="+mn-lt"/>
                <a:cs typeface="+mn-lt"/>
              </a:rPr>
              <a:t>UNI</a:t>
            </a:r>
          </a:p>
          <a:p>
            <a:r>
              <a:rPr lang="en-US" sz="800" dirty="0">
                <a:solidFill>
                  <a:schemeClr val="tx1"/>
                </a:solidFill>
                <a:latin typeface="Aptos Narrow"/>
                <a:ea typeface="+mn-lt"/>
                <a:cs typeface="+mn-lt"/>
              </a:rPr>
              <a:t>OG</a:t>
            </a:r>
          </a:p>
          <a:p>
            <a:r>
              <a:rPr lang="en-US" sz="800" dirty="0">
                <a:solidFill>
                  <a:schemeClr val="tx1"/>
                </a:solidFill>
                <a:latin typeface="Aptos Narrow"/>
                <a:ea typeface="+mn-lt"/>
                <a:cs typeface="+mn-lt"/>
              </a:rPr>
              <a:t>€110</a:t>
            </a:r>
          </a:p>
          <a:p>
            <a:endParaRPr lang="en-US" sz="800" dirty="0">
              <a:solidFill>
                <a:schemeClr val="tx1"/>
              </a:solidFill>
              <a:latin typeface="Aptos Narrow"/>
            </a:endParaRPr>
          </a:p>
        </p:txBody>
      </p:sp>
      <p:sp>
        <p:nvSpPr>
          <p:cNvPr id="13" name="正方形/長方形 12">
            <a:extLst>
              <a:ext uri="{FF2B5EF4-FFF2-40B4-BE49-F238E27FC236}">
                <a16:creationId xmlns:a16="http://schemas.microsoft.com/office/drawing/2014/main" id="{9C83B014-365B-CE5F-61B1-D0323B12113D}"/>
              </a:ext>
            </a:extLst>
          </p:cNvPr>
          <p:cNvSpPr/>
          <p:nvPr/>
        </p:nvSpPr>
        <p:spPr>
          <a:xfrm rot="16200000">
            <a:off x="-2933440" y="3570653"/>
            <a:ext cx="6219697" cy="181669"/>
          </a:xfrm>
          <a:prstGeom prst="rect">
            <a:avLst/>
          </a:prstGeom>
          <a:solidFill>
            <a:srgbClr val="D8CC9D"/>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solidFill>
                  <a:schemeClr val="tx1"/>
                </a:solidFill>
                <a:latin typeface="Aptos" panose="020B0004020202020204" pitchFamily="34" charset="0"/>
              </a:rPr>
              <a:t>GOLD</a:t>
            </a:r>
            <a:endParaRPr kumimoji="1" lang="ja-JP" altLang="en-US" sz="800">
              <a:solidFill>
                <a:schemeClr val="tx1"/>
              </a:solidFill>
              <a:latin typeface="Aptos" panose="020B0004020202020204" pitchFamily="34" charset="0"/>
            </a:endParaRPr>
          </a:p>
        </p:txBody>
      </p:sp>
      <p:sp>
        <p:nvSpPr>
          <p:cNvPr id="6" name="タイトル 5">
            <a:extLst>
              <a:ext uri="{FF2B5EF4-FFF2-40B4-BE49-F238E27FC236}">
                <a16:creationId xmlns:a16="http://schemas.microsoft.com/office/drawing/2014/main" id="{8304188E-AF24-A51E-41DD-5C0C9E5A5EA2}"/>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r>
              <a:rPr lang="en-US" altLang="ja-JP">
                <a:latin typeface="Aptos"/>
                <a:cs typeface="Calibri"/>
              </a:rPr>
              <a:t>GEL-1130 (PAGE 2 OF 3)</a:t>
            </a:r>
            <a:endParaRPr lang="ja-JP" altLang="en-US"/>
          </a:p>
        </p:txBody>
      </p:sp>
      <p:sp>
        <p:nvSpPr>
          <p:cNvPr id="10" name="Google Shape;84;p13">
            <a:extLst>
              <a:ext uri="{FF2B5EF4-FFF2-40B4-BE49-F238E27FC236}">
                <a16:creationId xmlns:a16="http://schemas.microsoft.com/office/drawing/2014/main" id="{336F7C82-4518-DDD3-13C6-4224F6E8D999}"/>
              </a:ext>
            </a:extLst>
          </p:cNvPr>
          <p:cNvSpPr txBox="1"/>
          <p:nvPr/>
        </p:nvSpPr>
        <p:spPr>
          <a:xfrm>
            <a:off x="1543181" y="2491012"/>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107</a:t>
            </a:r>
          </a:p>
        </p:txBody>
      </p:sp>
      <p:sp>
        <p:nvSpPr>
          <p:cNvPr id="11" name="Google Shape;84;p13">
            <a:extLst>
              <a:ext uri="{FF2B5EF4-FFF2-40B4-BE49-F238E27FC236}">
                <a16:creationId xmlns:a16="http://schemas.microsoft.com/office/drawing/2014/main" id="{83BFBA18-C563-02CE-9B4E-C3E076268A58}"/>
              </a:ext>
            </a:extLst>
          </p:cNvPr>
          <p:cNvSpPr txBox="1"/>
          <p:nvPr/>
        </p:nvSpPr>
        <p:spPr>
          <a:xfrm>
            <a:off x="1539175" y="5201070"/>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250</a:t>
            </a:r>
          </a:p>
        </p:txBody>
      </p:sp>
      <p:sp>
        <p:nvSpPr>
          <p:cNvPr id="12" name="Google Shape;84;p13">
            <a:extLst>
              <a:ext uri="{FF2B5EF4-FFF2-40B4-BE49-F238E27FC236}">
                <a16:creationId xmlns:a16="http://schemas.microsoft.com/office/drawing/2014/main" id="{2A7D4878-1147-AA4F-22E2-E7D07678FC8E}"/>
              </a:ext>
            </a:extLst>
          </p:cNvPr>
          <p:cNvSpPr txBox="1"/>
          <p:nvPr/>
        </p:nvSpPr>
        <p:spPr>
          <a:xfrm>
            <a:off x="1500054" y="3403667"/>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108</a:t>
            </a:r>
          </a:p>
        </p:txBody>
      </p:sp>
      <p:sp>
        <p:nvSpPr>
          <p:cNvPr id="14" name="Google Shape;84;p13">
            <a:extLst>
              <a:ext uri="{FF2B5EF4-FFF2-40B4-BE49-F238E27FC236}">
                <a16:creationId xmlns:a16="http://schemas.microsoft.com/office/drawing/2014/main" id="{4750343A-111B-7493-6D8B-C18EFA6F308F}"/>
              </a:ext>
            </a:extLst>
          </p:cNvPr>
          <p:cNvSpPr txBox="1"/>
          <p:nvPr/>
        </p:nvSpPr>
        <p:spPr>
          <a:xfrm>
            <a:off x="1562759" y="1595814"/>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106</a:t>
            </a:r>
          </a:p>
        </p:txBody>
      </p:sp>
      <p:sp>
        <p:nvSpPr>
          <p:cNvPr id="15" name="Google Shape;84;p13">
            <a:extLst>
              <a:ext uri="{FF2B5EF4-FFF2-40B4-BE49-F238E27FC236}">
                <a16:creationId xmlns:a16="http://schemas.microsoft.com/office/drawing/2014/main" id="{ED21DB1C-E7DC-BCA9-ECE7-EA9F8666D9F3}"/>
              </a:ext>
            </a:extLst>
          </p:cNvPr>
          <p:cNvSpPr txBox="1"/>
          <p:nvPr/>
        </p:nvSpPr>
        <p:spPr>
          <a:xfrm>
            <a:off x="1524890" y="4330731"/>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001</a:t>
            </a:r>
          </a:p>
        </p:txBody>
      </p:sp>
      <p:sp>
        <p:nvSpPr>
          <p:cNvPr id="16" name="Google Shape;84;p13">
            <a:extLst>
              <a:ext uri="{FF2B5EF4-FFF2-40B4-BE49-F238E27FC236}">
                <a16:creationId xmlns:a16="http://schemas.microsoft.com/office/drawing/2014/main" id="{B832D57B-4D12-55EA-9B78-47D0312FA7B6}"/>
              </a:ext>
            </a:extLst>
          </p:cNvPr>
          <p:cNvSpPr txBox="1"/>
          <p:nvPr/>
        </p:nvSpPr>
        <p:spPr>
          <a:xfrm>
            <a:off x="1574817" y="562819"/>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110</a:t>
            </a:r>
          </a:p>
        </p:txBody>
      </p:sp>
      <p:sp>
        <p:nvSpPr>
          <p:cNvPr id="19" name="Google Shape;84;p13">
            <a:extLst>
              <a:ext uri="{FF2B5EF4-FFF2-40B4-BE49-F238E27FC236}">
                <a16:creationId xmlns:a16="http://schemas.microsoft.com/office/drawing/2014/main" id="{FD77C227-3790-C86A-E80D-2A11FABD4A91}"/>
              </a:ext>
            </a:extLst>
          </p:cNvPr>
          <p:cNvSpPr txBox="1"/>
          <p:nvPr/>
        </p:nvSpPr>
        <p:spPr>
          <a:xfrm>
            <a:off x="6912867" y="648303"/>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109</a:t>
            </a:r>
          </a:p>
        </p:txBody>
      </p:sp>
      <p:sp>
        <p:nvSpPr>
          <p:cNvPr id="20" name="Google Shape;84;p13">
            <a:extLst>
              <a:ext uri="{FF2B5EF4-FFF2-40B4-BE49-F238E27FC236}">
                <a16:creationId xmlns:a16="http://schemas.microsoft.com/office/drawing/2014/main" id="{6561B6A1-1939-296E-587F-A0C4B082C2ED}"/>
              </a:ext>
            </a:extLst>
          </p:cNvPr>
          <p:cNvSpPr txBox="1"/>
          <p:nvPr/>
        </p:nvSpPr>
        <p:spPr>
          <a:xfrm>
            <a:off x="6912867" y="1631087"/>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111</a:t>
            </a:r>
          </a:p>
        </p:txBody>
      </p:sp>
    </p:spTree>
    <p:extLst>
      <p:ext uri="{BB962C8B-B14F-4D97-AF65-F5344CB8AC3E}">
        <p14:creationId xmlns:p14="http://schemas.microsoft.com/office/powerpoint/2010/main" val="28973357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59A0A7-D3F2-402F-E87A-62CF3024D2DB}"/>
            </a:ext>
          </a:extLst>
        </p:cNvPr>
        <p:cNvGrpSpPr/>
        <p:nvPr/>
      </p:nvGrpSpPr>
      <p:grpSpPr>
        <a:xfrm>
          <a:off x="0" y="0"/>
          <a:ext cx="0" cy="0"/>
          <a:chOff x="0" y="0"/>
          <a:chExt cx="0" cy="0"/>
        </a:xfrm>
      </p:grpSpPr>
      <p:sp>
        <p:nvSpPr>
          <p:cNvPr id="17" name="正方形/長方形 68">
            <a:extLst>
              <a:ext uri="{FF2B5EF4-FFF2-40B4-BE49-F238E27FC236}">
                <a16:creationId xmlns:a16="http://schemas.microsoft.com/office/drawing/2014/main" id="{BB3B439C-71AB-45F3-450E-6EAE4383BE5B}"/>
              </a:ext>
            </a:extLst>
          </p:cNvPr>
          <p:cNvSpPr/>
          <p:nvPr/>
        </p:nvSpPr>
        <p:spPr>
          <a:xfrm flipV="1">
            <a:off x="179294" y="2435372"/>
            <a:ext cx="11942019" cy="931614"/>
          </a:xfrm>
          <a:prstGeom prst="rect">
            <a:avLst/>
          </a:prstGeom>
          <a:no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latin typeface="Aptos" panose="020B0004020202020204" pitchFamily="34" charset="0"/>
            </a:endParaRPr>
          </a:p>
        </p:txBody>
      </p:sp>
      <p:sp>
        <p:nvSpPr>
          <p:cNvPr id="4" name="正方形/長方形 68">
            <a:extLst>
              <a:ext uri="{FF2B5EF4-FFF2-40B4-BE49-F238E27FC236}">
                <a16:creationId xmlns:a16="http://schemas.microsoft.com/office/drawing/2014/main" id="{A1FC20BB-C57E-EF65-0E0E-885BFEFE7739}"/>
              </a:ext>
            </a:extLst>
          </p:cNvPr>
          <p:cNvSpPr/>
          <p:nvPr/>
        </p:nvSpPr>
        <p:spPr>
          <a:xfrm flipV="1">
            <a:off x="87911" y="541254"/>
            <a:ext cx="12033402" cy="961307"/>
          </a:xfrm>
          <a:prstGeom prst="rect">
            <a:avLst/>
          </a:prstGeom>
          <a:no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latin typeface="Aptos" panose="020B0004020202020204" pitchFamily="34" charset="0"/>
            </a:endParaRPr>
          </a:p>
        </p:txBody>
      </p:sp>
      <p:sp>
        <p:nvSpPr>
          <p:cNvPr id="6" name="タイトル 5">
            <a:extLst>
              <a:ext uri="{FF2B5EF4-FFF2-40B4-BE49-F238E27FC236}">
                <a16:creationId xmlns:a16="http://schemas.microsoft.com/office/drawing/2014/main" id="{86DD99DE-5D3D-17B3-F1DB-8D68BA897A43}"/>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r>
              <a:rPr lang="en-US" altLang="ja-JP">
                <a:latin typeface="Aptos"/>
                <a:cs typeface="Calibri"/>
              </a:rPr>
              <a:t>GEL-1130 (PAGE 3 OF 3)</a:t>
            </a:r>
            <a:endParaRPr lang="ja-JP" altLang="en-US"/>
          </a:p>
          <a:p>
            <a:endParaRPr lang="ja-JP" altLang="en-US"/>
          </a:p>
        </p:txBody>
      </p:sp>
      <p:sp>
        <p:nvSpPr>
          <p:cNvPr id="5" name="Rectangle 3">
            <a:extLst>
              <a:ext uri="{FF2B5EF4-FFF2-40B4-BE49-F238E27FC236}">
                <a16:creationId xmlns:a16="http://schemas.microsoft.com/office/drawing/2014/main" id="{67D170B4-D355-10E8-62FE-E6A02E02505D}"/>
              </a:ext>
            </a:extLst>
          </p:cNvPr>
          <p:cNvSpPr/>
          <p:nvPr/>
        </p:nvSpPr>
        <p:spPr>
          <a:xfrm>
            <a:off x="9542812" y="92033"/>
            <a:ext cx="2562102" cy="214033"/>
          </a:xfrm>
          <a:prstGeom prst="roundRect">
            <a:avLst/>
          </a:prstGeom>
          <a:solidFill>
            <a:srgbClr val="C00000"/>
          </a:solidFill>
          <a:ln w="63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700">
                <a:solidFill>
                  <a:srgbClr val="F9F9F9"/>
                </a:solidFill>
                <a:latin typeface="Aptos"/>
                <a:ea typeface="+mn-lt"/>
                <a:cs typeface="+mn-lt"/>
              </a:rPr>
              <a:t>Confidential and proprietary information. Intended solely for informational purposes and internal use.  Not for distribution.</a:t>
            </a:r>
            <a:endParaRPr lang="en-US" sz="700">
              <a:solidFill>
                <a:srgbClr val="F9F9F9"/>
              </a:solidFill>
              <a:latin typeface="Aptos"/>
            </a:endParaRPr>
          </a:p>
        </p:txBody>
      </p:sp>
      <p:sp>
        <p:nvSpPr>
          <p:cNvPr id="19" name="Rectangle 2">
            <a:extLst>
              <a:ext uri="{FF2B5EF4-FFF2-40B4-BE49-F238E27FC236}">
                <a16:creationId xmlns:a16="http://schemas.microsoft.com/office/drawing/2014/main" id="{5E4C37AB-32A0-076D-0760-A1D391660C7C}"/>
              </a:ext>
            </a:extLst>
          </p:cNvPr>
          <p:cNvSpPr/>
          <p:nvPr/>
        </p:nvSpPr>
        <p:spPr>
          <a:xfrm>
            <a:off x="274084" y="547255"/>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1130</a:t>
            </a:r>
            <a:endParaRPr lang="en-US" dirty="0">
              <a:solidFill>
                <a:schemeClr val="tx1"/>
              </a:solidFill>
              <a:latin typeface="Aptos Narrow"/>
              <a:ea typeface="+mn-lt"/>
              <a:cs typeface="+mn-lt"/>
            </a:endParaRPr>
          </a:p>
          <a:p>
            <a:r>
              <a:rPr lang="en-US" sz="800" b="1" dirty="0">
                <a:solidFill>
                  <a:schemeClr val="tx1"/>
                </a:solidFill>
                <a:latin typeface="Aptos Narrow"/>
                <a:ea typeface="+mn-lt"/>
                <a:cs typeface="+mn-lt"/>
              </a:rPr>
              <a:t>1201A906</a:t>
            </a:r>
            <a:endParaRPr lang="en-US" b="1" dirty="0">
              <a:solidFill>
                <a:schemeClr val="tx1"/>
              </a:solidFill>
              <a:latin typeface="Aptos Narrow"/>
              <a:ea typeface="+mn-lt"/>
              <a:cs typeface="+mn-lt"/>
            </a:endParaRPr>
          </a:p>
          <a:p>
            <a:r>
              <a:rPr lang="en-US" sz="800" dirty="0">
                <a:solidFill>
                  <a:schemeClr val="tx1"/>
                </a:solidFill>
                <a:latin typeface="Aptos Narrow"/>
                <a:ea typeface="+mn-lt"/>
                <a:cs typeface="+mn-lt"/>
              </a:rPr>
              <a:t>CARRY OVER</a:t>
            </a:r>
            <a:endParaRPr lang="en-US" dirty="0">
              <a:solidFill>
                <a:schemeClr val="tx1"/>
              </a:solidFill>
              <a:latin typeface="Aptos Narrow"/>
              <a:ea typeface="+mn-lt"/>
              <a:cs typeface="+mn-lt"/>
            </a:endParaRPr>
          </a:p>
          <a:p>
            <a:r>
              <a:rPr lang="en-US" sz="800" dirty="0">
                <a:solidFill>
                  <a:schemeClr val="tx1"/>
                </a:solidFill>
                <a:latin typeface="Aptos Narrow"/>
                <a:ea typeface="+mn-lt"/>
                <a:cs typeface="+mn-lt"/>
              </a:rPr>
              <a:t>MEN</a:t>
            </a:r>
          </a:p>
          <a:p>
            <a:r>
              <a:rPr lang="en-US" sz="800" dirty="0">
                <a:solidFill>
                  <a:schemeClr val="tx1"/>
                </a:solidFill>
                <a:latin typeface="Aptos Narrow"/>
                <a:ea typeface="+mn-lt"/>
                <a:cs typeface="+mn-lt"/>
              </a:rPr>
              <a:t>BASE</a:t>
            </a:r>
          </a:p>
          <a:p>
            <a:r>
              <a:rPr lang="en-US" sz="800" dirty="0">
                <a:solidFill>
                  <a:schemeClr val="tx1"/>
                </a:solidFill>
                <a:latin typeface="Aptos Narrow"/>
                <a:ea typeface="+mn-lt"/>
                <a:cs typeface="+mn-lt"/>
              </a:rPr>
              <a:t>€110</a:t>
            </a:r>
          </a:p>
        </p:txBody>
      </p:sp>
      <p:sp>
        <p:nvSpPr>
          <p:cNvPr id="20" name="Rectangle 2">
            <a:extLst>
              <a:ext uri="{FF2B5EF4-FFF2-40B4-BE49-F238E27FC236}">
                <a16:creationId xmlns:a16="http://schemas.microsoft.com/office/drawing/2014/main" id="{015DC701-FE46-29DD-01CC-48352A4EAAC6}"/>
              </a:ext>
            </a:extLst>
          </p:cNvPr>
          <p:cNvSpPr/>
          <p:nvPr/>
        </p:nvSpPr>
        <p:spPr>
          <a:xfrm>
            <a:off x="274084" y="1483792"/>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1130</a:t>
            </a:r>
            <a:endParaRPr lang="en-US" dirty="0">
              <a:solidFill>
                <a:schemeClr val="tx1"/>
              </a:solidFill>
              <a:latin typeface="Aptos Narrow"/>
              <a:ea typeface="+mn-lt"/>
              <a:cs typeface="+mn-lt"/>
            </a:endParaRPr>
          </a:p>
          <a:p>
            <a:r>
              <a:rPr lang="en-US" sz="800" b="1" dirty="0">
                <a:solidFill>
                  <a:schemeClr val="tx1"/>
                </a:solidFill>
                <a:latin typeface="Aptos Narrow"/>
                <a:ea typeface="+mn-lt"/>
                <a:cs typeface="+mn-lt"/>
              </a:rPr>
              <a:t>1201B019</a:t>
            </a:r>
          </a:p>
          <a:p>
            <a:r>
              <a:rPr lang="en-US" sz="800" dirty="0">
                <a:solidFill>
                  <a:schemeClr val="tx1"/>
                </a:solidFill>
                <a:latin typeface="Aptos Narrow"/>
                <a:ea typeface="+mn-lt"/>
                <a:cs typeface="+mn-lt"/>
              </a:rPr>
              <a:t>CARRY OVER</a:t>
            </a:r>
            <a:endParaRPr lang="en-US" dirty="0">
              <a:solidFill>
                <a:schemeClr val="tx1"/>
              </a:solidFill>
              <a:latin typeface="Aptos Narrow"/>
              <a:ea typeface="+mn-lt"/>
              <a:cs typeface="+mn-lt"/>
            </a:endParaRPr>
          </a:p>
          <a:p>
            <a:r>
              <a:rPr lang="en-US" sz="800" dirty="0">
                <a:solidFill>
                  <a:schemeClr val="tx1"/>
                </a:solidFill>
                <a:latin typeface="Aptos Narrow"/>
                <a:ea typeface="+mn-lt"/>
                <a:cs typeface="+mn-lt"/>
              </a:rPr>
              <a:t>MEN</a:t>
            </a:r>
          </a:p>
          <a:p>
            <a:r>
              <a:rPr lang="en-US" sz="800" dirty="0">
                <a:solidFill>
                  <a:schemeClr val="tx1"/>
                </a:solidFill>
                <a:latin typeface="Aptos Narrow"/>
                <a:ea typeface="+mn-lt"/>
                <a:cs typeface="+mn-lt"/>
              </a:rPr>
              <a:t>BASE</a:t>
            </a:r>
          </a:p>
          <a:p>
            <a:r>
              <a:rPr lang="en-US" sz="800" dirty="0">
                <a:solidFill>
                  <a:schemeClr val="tx1"/>
                </a:solidFill>
                <a:latin typeface="Aptos Narrow"/>
                <a:ea typeface="+mn-lt"/>
                <a:cs typeface="+mn-lt"/>
              </a:rPr>
              <a:t>€110</a:t>
            </a:r>
          </a:p>
        </p:txBody>
      </p:sp>
      <p:sp>
        <p:nvSpPr>
          <p:cNvPr id="21" name="TextBox 20">
            <a:extLst>
              <a:ext uri="{FF2B5EF4-FFF2-40B4-BE49-F238E27FC236}">
                <a16:creationId xmlns:a16="http://schemas.microsoft.com/office/drawing/2014/main" id="{98AF24FB-DD3D-5751-434B-29E6F1D5B46D}"/>
              </a:ext>
            </a:extLst>
          </p:cNvPr>
          <p:cNvSpPr txBox="1"/>
          <p:nvPr/>
        </p:nvSpPr>
        <p:spPr>
          <a:xfrm>
            <a:off x="1533824" y="541255"/>
            <a:ext cx="646544"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900">
                <a:latin typeface="Aptos Narrow" panose="020B0004020202020204" pitchFamily="34" charset="0"/>
              </a:rPr>
              <a:t>001</a:t>
            </a:r>
          </a:p>
          <a:p>
            <a:pPr algn="l"/>
            <a:r>
              <a:rPr lang="en-US" sz="900">
                <a:latin typeface="Aptos Narrow" panose="020B0004020202020204" pitchFamily="34" charset="0"/>
              </a:rPr>
              <a:t>C/O</a:t>
            </a:r>
          </a:p>
        </p:txBody>
      </p:sp>
      <p:sp>
        <p:nvSpPr>
          <p:cNvPr id="24" name="TextBox 23">
            <a:extLst>
              <a:ext uri="{FF2B5EF4-FFF2-40B4-BE49-F238E27FC236}">
                <a16:creationId xmlns:a16="http://schemas.microsoft.com/office/drawing/2014/main" id="{CBD2C152-5109-CA4A-1E0F-C90CA024316D}"/>
              </a:ext>
            </a:extLst>
          </p:cNvPr>
          <p:cNvSpPr txBox="1"/>
          <p:nvPr/>
        </p:nvSpPr>
        <p:spPr>
          <a:xfrm>
            <a:off x="1531279" y="1488115"/>
            <a:ext cx="646544"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900">
                <a:latin typeface="Aptos Narrow" panose="020B0004020202020204" pitchFamily="34" charset="0"/>
              </a:rPr>
              <a:t>100</a:t>
            </a:r>
          </a:p>
          <a:p>
            <a:pPr algn="l"/>
            <a:r>
              <a:rPr lang="en-US" sz="900">
                <a:latin typeface="Aptos Narrow" panose="020B0004020202020204" pitchFamily="34" charset="0"/>
              </a:rPr>
              <a:t>C/O</a:t>
            </a:r>
          </a:p>
        </p:txBody>
      </p:sp>
      <p:sp>
        <p:nvSpPr>
          <p:cNvPr id="26" name="Rectangle 2">
            <a:extLst>
              <a:ext uri="{FF2B5EF4-FFF2-40B4-BE49-F238E27FC236}">
                <a16:creationId xmlns:a16="http://schemas.microsoft.com/office/drawing/2014/main" id="{66B1EE08-BCDF-C470-B523-8A80AA5B1C5F}"/>
              </a:ext>
            </a:extLst>
          </p:cNvPr>
          <p:cNvSpPr/>
          <p:nvPr/>
        </p:nvSpPr>
        <p:spPr>
          <a:xfrm>
            <a:off x="278170" y="2425389"/>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1130</a:t>
            </a:r>
            <a:endParaRPr lang="en-US" dirty="0">
              <a:solidFill>
                <a:schemeClr val="tx1"/>
              </a:solidFill>
              <a:latin typeface="Aptos Narrow"/>
              <a:ea typeface="+mn-lt"/>
              <a:cs typeface="+mn-lt"/>
            </a:endParaRPr>
          </a:p>
          <a:p>
            <a:r>
              <a:rPr lang="en-US" sz="800" b="1" dirty="0">
                <a:solidFill>
                  <a:schemeClr val="tx1"/>
                </a:solidFill>
                <a:latin typeface="Aptos Narrow"/>
                <a:ea typeface="+mn-lt"/>
                <a:cs typeface="+mn-lt"/>
              </a:rPr>
              <a:t>1201B020</a:t>
            </a:r>
          </a:p>
          <a:p>
            <a:r>
              <a:rPr lang="en-US" sz="800" dirty="0">
                <a:solidFill>
                  <a:schemeClr val="tx1"/>
                </a:solidFill>
                <a:latin typeface="Aptos Narrow"/>
                <a:ea typeface="+mn-lt"/>
                <a:cs typeface="+mn-lt"/>
              </a:rPr>
              <a:t>CARRY OVER</a:t>
            </a:r>
            <a:endParaRPr lang="en-US" dirty="0">
              <a:solidFill>
                <a:schemeClr val="tx1"/>
              </a:solidFill>
              <a:latin typeface="Aptos Narrow"/>
              <a:ea typeface="+mn-lt"/>
              <a:cs typeface="+mn-lt"/>
            </a:endParaRPr>
          </a:p>
          <a:p>
            <a:r>
              <a:rPr lang="en-US" sz="800" dirty="0">
                <a:solidFill>
                  <a:schemeClr val="tx1"/>
                </a:solidFill>
                <a:latin typeface="Aptos Narrow"/>
                <a:ea typeface="+mn-lt"/>
                <a:cs typeface="+mn-lt"/>
              </a:rPr>
              <a:t>MEN</a:t>
            </a:r>
          </a:p>
          <a:p>
            <a:r>
              <a:rPr lang="en-US" sz="800" dirty="0">
                <a:solidFill>
                  <a:schemeClr val="tx1"/>
                </a:solidFill>
                <a:latin typeface="Aptos Narrow"/>
                <a:ea typeface="+mn-lt"/>
                <a:cs typeface="+mn-lt"/>
              </a:rPr>
              <a:t>BASE</a:t>
            </a:r>
          </a:p>
          <a:p>
            <a:r>
              <a:rPr lang="en-US" sz="800" dirty="0">
                <a:solidFill>
                  <a:schemeClr val="tx1"/>
                </a:solidFill>
                <a:latin typeface="Aptos Narrow"/>
                <a:ea typeface="+mn-lt"/>
                <a:cs typeface="+mn-lt"/>
              </a:rPr>
              <a:t>€110</a:t>
            </a:r>
          </a:p>
        </p:txBody>
      </p:sp>
      <p:sp>
        <p:nvSpPr>
          <p:cNvPr id="28" name="TextBox 27">
            <a:extLst>
              <a:ext uri="{FF2B5EF4-FFF2-40B4-BE49-F238E27FC236}">
                <a16:creationId xmlns:a16="http://schemas.microsoft.com/office/drawing/2014/main" id="{314AF2F2-D46E-7570-228D-CB98D7AAC81E}"/>
              </a:ext>
            </a:extLst>
          </p:cNvPr>
          <p:cNvSpPr txBox="1"/>
          <p:nvPr/>
        </p:nvSpPr>
        <p:spPr>
          <a:xfrm>
            <a:off x="1531279" y="2435372"/>
            <a:ext cx="646544"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900">
                <a:latin typeface="Aptos Narrow" panose="020B0004020202020204" pitchFamily="34" charset="0"/>
              </a:rPr>
              <a:t>100</a:t>
            </a:r>
          </a:p>
          <a:p>
            <a:pPr algn="l"/>
            <a:r>
              <a:rPr lang="en-US" sz="900">
                <a:latin typeface="Aptos Narrow" panose="020B0004020202020204" pitchFamily="34" charset="0"/>
              </a:rPr>
              <a:t>C/O</a:t>
            </a:r>
          </a:p>
        </p:txBody>
      </p:sp>
      <p:sp>
        <p:nvSpPr>
          <p:cNvPr id="29" name="正方形/長方形 9">
            <a:extLst>
              <a:ext uri="{FF2B5EF4-FFF2-40B4-BE49-F238E27FC236}">
                <a16:creationId xmlns:a16="http://schemas.microsoft.com/office/drawing/2014/main" id="{3E5E717A-5615-47A1-D0E2-F4F5515D01A5}"/>
              </a:ext>
            </a:extLst>
          </p:cNvPr>
          <p:cNvSpPr/>
          <p:nvPr/>
        </p:nvSpPr>
        <p:spPr>
          <a:xfrm rot="16200000">
            <a:off x="-2933248" y="3563805"/>
            <a:ext cx="6229881" cy="184781"/>
          </a:xfrm>
          <a:prstGeom prst="rect">
            <a:avLst/>
          </a:prstGeom>
          <a:solidFill>
            <a:srgbClr val="D8CC9D"/>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solidFill>
                  <a:schemeClr val="tx1"/>
                </a:solidFill>
                <a:latin typeface="Aptos" panose="020B0004020202020204" pitchFamily="34" charset="0"/>
              </a:rPr>
              <a:t>GOLD</a:t>
            </a:r>
            <a:endParaRPr kumimoji="1" lang="ja-JP" altLang="en-US" sz="800">
              <a:solidFill>
                <a:schemeClr val="tx1"/>
              </a:solidFill>
              <a:latin typeface="Aptos" panose="020B0004020202020204" pitchFamily="34" charset="0"/>
            </a:endParaRPr>
          </a:p>
        </p:txBody>
      </p:sp>
      <p:pic>
        <p:nvPicPr>
          <p:cNvPr id="9" name="Picture 8" descr="A close up of a shoe&#10;&#10;Description automatically generated">
            <a:extLst>
              <a:ext uri="{FF2B5EF4-FFF2-40B4-BE49-F238E27FC236}">
                <a16:creationId xmlns:a16="http://schemas.microsoft.com/office/drawing/2014/main" id="{D627CD53-8C0F-061A-BA6B-76E90674C977}"/>
              </a:ext>
            </a:extLst>
          </p:cNvPr>
          <p:cNvPicPr>
            <a:picLocks noChangeAspect="1"/>
          </p:cNvPicPr>
          <p:nvPr/>
        </p:nvPicPr>
        <p:blipFill>
          <a:blip r:embed="rId3"/>
          <a:stretch>
            <a:fillRect/>
          </a:stretch>
        </p:blipFill>
        <p:spPr>
          <a:xfrm>
            <a:off x="1533824" y="2516101"/>
            <a:ext cx="1554480" cy="760508"/>
          </a:xfrm>
          <a:prstGeom prst="rect">
            <a:avLst/>
          </a:prstGeom>
        </p:spPr>
      </p:pic>
      <p:pic>
        <p:nvPicPr>
          <p:cNvPr id="10" name="Picture 9" descr="A white and black shoe&#10;&#10;Description automatically generated">
            <a:extLst>
              <a:ext uri="{FF2B5EF4-FFF2-40B4-BE49-F238E27FC236}">
                <a16:creationId xmlns:a16="http://schemas.microsoft.com/office/drawing/2014/main" id="{D46C8782-2FEC-E688-15B6-7EE89B625A07}"/>
              </a:ext>
            </a:extLst>
          </p:cNvPr>
          <p:cNvPicPr>
            <a:picLocks noChangeAspect="1"/>
          </p:cNvPicPr>
          <p:nvPr/>
        </p:nvPicPr>
        <p:blipFill>
          <a:blip r:embed="rId4"/>
          <a:stretch>
            <a:fillRect/>
          </a:stretch>
        </p:blipFill>
        <p:spPr>
          <a:xfrm>
            <a:off x="1533824" y="1557213"/>
            <a:ext cx="1554480" cy="742822"/>
          </a:xfrm>
          <a:prstGeom prst="rect">
            <a:avLst/>
          </a:prstGeom>
        </p:spPr>
      </p:pic>
      <p:pic>
        <p:nvPicPr>
          <p:cNvPr id="11" name="Picture 10" descr="A black and white shoe&#10;&#10;Description automatically generated">
            <a:extLst>
              <a:ext uri="{FF2B5EF4-FFF2-40B4-BE49-F238E27FC236}">
                <a16:creationId xmlns:a16="http://schemas.microsoft.com/office/drawing/2014/main" id="{7CA5867E-0934-AF47-8FC1-69C836FBDA8A}"/>
              </a:ext>
            </a:extLst>
          </p:cNvPr>
          <p:cNvPicPr>
            <a:picLocks noChangeAspect="1"/>
          </p:cNvPicPr>
          <p:nvPr/>
        </p:nvPicPr>
        <p:blipFill>
          <a:blip r:embed="rId5"/>
          <a:stretch>
            <a:fillRect/>
          </a:stretch>
        </p:blipFill>
        <p:spPr>
          <a:xfrm>
            <a:off x="1531279" y="658718"/>
            <a:ext cx="1554480" cy="762249"/>
          </a:xfrm>
          <a:prstGeom prst="rect">
            <a:avLst/>
          </a:prstGeom>
        </p:spPr>
      </p:pic>
    </p:spTree>
    <p:extLst>
      <p:ext uri="{BB962C8B-B14F-4D97-AF65-F5344CB8AC3E}">
        <p14:creationId xmlns:p14="http://schemas.microsoft.com/office/powerpoint/2010/main" val="4917301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3327"/>
        <p:cNvGrpSpPr/>
        <p:nvPr/>
      </p:nvGrpSpPr>
      <p:grpSpPr>
        <a:xfrm>
          <a:off x="0" y="0"/>
          <a:ext cx="0" cy="0"/>
          <a:chOff x="0" y="0"/>
          <a:chExt cx="0" cy="0"/>
        </a:xfrm>
      </p:grpSpPr>
      <p:sp>
        <p:nvSpPr>
          <p:cNvPr id="19" name="Google Shape;3459;p436">
            <a:extLst>
              <a:ext uri="{FF2B5EF4-FFF2-40B4-BE49-F238E27FC236}">
                <a16:creationId xmlns:a16="http://schemas.microsoft.com/office/drawing/2014/main" id="{35ED4F10-2E0B-4C28-B659-55D6669C6FD5}"/>
              </a:ext>
            </a:extLst>
          </p:cNvPr>
          <p:cNvSpPr/>
          <p:nvPr/>
        </p:nvSpPr>
        <p:spPr>
          <a:xfrm>
            <a:off x="0" y="214178"/>
            <a:ext cx="12192000" cy="4021226"/>
          </a:xfrm>
          <a:prstGeom prst="rect">
            <a:avLst/>
          </a:prstGeom>
          <a:solidFill>
            <a:srgbClr val="9DD325"/>
          </a:solidFill>
          <a:ln>
            <a:noFill/>
          </a:ln>
        </p:spPr>
        <p:txBody>
          <a:bodyPr spcFirstLastPara="1" wrap="square" lIns="85722" tIns="42845" rIns="85722" bIns="42845" anchor="ctr" anchorCtr="0">
            <a:noAutofit/>
          </a:bodyPr>
          <a:lstStyle/>
          <a:p>
            <a:pPr marL="0" marR="0" lvl="0" indent="0" algn="ctr" defTabSz="1143111" rtl="0" eaLnBrk="1" fontAlgn="auto" latinLnBrk="0" hangingPunct="1">
              <a:lnSpc>
                <a:spcPct val="100000"/>
              </a:lnSpc>
              <a:spcBef>
                <a:spcPts val="0"/>
              </a:spcBef>
              <a:spcAft>
                <a:spcPts val="0"/>
              </a:spcAft>
              <a:buClrTx/>
              <a:buSzTx/>
              <a:buFontTx/>
              <a:buNone/>
              <a:tabLst/>
              <a:defRPr/>
            </a:pPr>
            <a:endParaRPr kumimoji="0" lang="en-US" altLang="ja" sz="1125" b="0" i="0" u="none" strike="noStrike" kern="1200" cap="none" spc="0" normalizeH="0" baseline="0" noProof="0">
              <a:ln>
                <a:noFill/>
              </a:ln>
              <a:solidFill>
                <a:srgbClr val="FFFFFF"/>
              </a:solidFill>
              <a:effectLst/>
              <a:uLnTx/>
              <a:uFillTx/>
              <a:latin typeface="ASICS Font 3.0" panose="00000500000000000000" pitchFamily="50" charset="0"/>
              <a:ea typeface="+mn-ea"/>
              <a:cs typeface="+mn-cs"/>
            </a:endParaRPr>
          </a:p>
        </p:txBody>
      </p:sp>
      <p:sp>
        <p:nvSpPr>
          <p:cNvPr id="20" name="Title 2">
            <a:extLst>
              <a:ext uri="{FF2B5EF4-FFF2-40B4-BE49-F238E27FC236}">
                <a16:creationId xmlns:a16="http://schemas.microsoft.com/office/drawing/2014/main" id="{D986FB76-CFAA-4039-B71C-D9F118378972}"/>
              </a:ext>
            </a:extLst>
          </p:cNvPr>
          <p:cNvSpPr>
            <a:spLocks noGrp="1"/>
          </p:cNvSpPr>
          <p:nvPr>
            <p:ph type="title"/>
          </p:nvPr>
        </p:nvSpPr>
        <p:spPr>
          <a:xfrm>
            <a:off x="653055" y="2508497"/>
            <a:ext cx="6372185" cy="1563887"/>
          </a:xfrm>
        </p:spPr>
        <p:txBody>
          <a:bodyPr>
            <a:normAutofit/>
          </a:bodyPr>
          <a:lstStyle/>
          <a:p>
            <a:pPr>
              <a:lnSpc>
                <a:spcPct val="150000"/>
              </a:lnSpc>
            </a:pPr>
            <a:r>
              <a:rPr lang="en-GB" sz="3000" spc="375">
                <a:solidFill>
                  <a:schemeClr val="bg1"/>
                </a:solidFill>
                <a:latin typeface="ASICS Font 3.0" panose="00000500000000000000" pitchFamily="50" charset="0"/>
              </a:rPr>
              <a:t>VIS-TECH</a:t>
            </a:r>
            <a:endParaRPr lang="en-NL" sz="3000" spc="375">
              <a:solidFill>
                <a:schemeClr val="bg1"/>
              </a:solidFill>
              <a:latin typeface="ASICS Font 3.0" panose="00000500000000000000" pitchFamily="50" charset="0"/>
            </a:endParaRPr>
          </a:p>
        </p:txBody>
      </p:sp>
      <p:pic>
        <p:nvPicPr>
          <p:cNvPr id="2" name="Graphic 1">
            <a:extLst>
              <a:ext uri="{FF2B5EF4-FFF2-40B4-BE49-F238E27FC236}">
                <a16:creationId xmlns:a16="http://schemas.microsoft.com/office/drawing/2014/main" id="{C0569C9F-9D6E-7E2C-0313-E9B734BD4B8F}"/>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59157" y="424004"/>
            <a:ext cx="1478735" cy="698400"/>
          </a:xfrm>
          <a:prstGeom prst="rect">
            <a:avLst/>
          </a:prstGeom>
        </p:spPr>
      </p:pic>
    </p:spTree>
    <p:extLst>
      <p:ext uri="{BB962C8B-B14F-4D97-AF65-F5344CB8AC3E}">
        <p14:creationId xmlns:p14="http://schemas.microsoft.com/office/powerpoint/2010/main" val="40026052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72878B3-B65E-8EB1-48BD-8F5365D7D2F1}"/>
              </a:ext>
            </a:extLst>
          </p:cNvPr>
          <p:cNvGraphicFramePr>
            <a:graphicFrameLocks noChangeAspect="1"/>
          </p:cNvGraphicFramePr>
          <p:nvPr>
            <p:custDataLst>
              <p:tags r:id="rId1"/>
            </p:custDataLst>
            <p:extLst>
              <p:ext uri="{D42A27DB-BD31-4B8C-83A1-F6EECF244321}">
                <p14:modId xmlns:p14="http://schemas.microsoft.com/office/powerpoint/2010/main" val="2994290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4" name="think-cell data - do not delete" hidden="1">
                        <a:extLst>
                          <a:ext uri="{FF2B5EF4-FFF2-40B4-BE49-F238E27FC236}">
                            <a16:creationId xmlns:a16="http://schemas.microsoft.com/office/drawing/2014/main" id="{472878B3-B65E-8EB1-48BD-8F5365D7D2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12F1C4B7-6AFB-A951-AAB7-24F51782330A}"/>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r>
              <a:rPr lang="en-US" altLang="ja-JP">
                <a:latin typeface="Aptos"/>
                <a:cs typeface="Calibri"/>
              </a:rPr>
              <a:t>JOG 100S (PAGE 1 OF 2)</a:t>
            </a:r>
            <a:endParaRPr lang="en-US" altLang="ja-JP"/>
          </a:p>
        </p:txBody>
      </p:sp>
      <p:sp>
        <p:nvSpPr>
          <p:cNvPr id="9" name="Rectangle 2">
            <a:extLst>
              <a:ext uri="{FF2B5EF4-FFF2-40B4-BE49-F238E27FC236}">
                <a16:creationId xmlns:a16="http://schemas.microsoft.com/office/drawing/2014/main" id="{877C1405-3B99-3727-B02C-6415E4AB04AD}"/>
              </a:ext>
            </a:extLst>
          </p:cNvPr>
          <p:cNvSpPr/>
          <p:nvPr/>
        </p:nvSpPr>
        <p:spPr>
          <a:xfrm>
            <a:off x="273700" y="540584"/>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02322"/>
                </a:solidFill>
                <a:effectLst/>
                <a:uLnTx/>
                <a:uFillTx/>
                <a:latin typeface="Aptos Narrow"/>
                <a:ea typeface="+mn-lt"/>
                <a:cs typeface="+mn-lt"/>
              </a:rPr>
              <a:t>JOG 100S</a:t>
            </a:r>
            <a:endParaRPr kumimoji="0" lang="en-US" sz="1800" b="0" i="0" u="none" strike="noStrike" kern="1200" cap="none" spc="0" normalizeH="0" baseline="0" noProof="0" dirty="0">
              <a:ln>
                <a:noFill/>
              </a:ln>
              <a:solidFill>
                <a:srgbClr val="202322"/>
              </a:solidFill>
              <a:effectLst/>
              <a:uLnTx/>
              <a:uFillTx/>
              <a:latin typeface="Aptos Narrow"/>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02322"/>
                </a:solidFill>
                <a:effectLst/>
                <a:uLnTx/>
                <a:uFillTx/>
                <a:latin typeface="Aptos Narrow"/>
                <a:ea typeface="+mn-lt"/>
                <a:cs typeface="+mn-lt"/>
              </a:rPr>
              <a:t>1203B04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02322"/>
                </a:solidFill>
                <a:effectLst/>
                <a:uLnTx/>
                <a:uFillTx/>
                <a:latin typeface="Aptos Narrow"/>
                <a:ea typeface="+mn-lt"/>
                <a:cs typeface="+mn-lt"/>
              </a:rPr>
              <a:t>MUD</a:t>
            </a:r>
            <a:endParaRPr kumimoji="0" lang="en-US" sz="1800" b="0" i="0" u="none" strike="noStrike" kern="1200" cap="none" spc="0" normalizeH="0" baseline="0" noProof="0" dirty="0">
              <a:ln>
                <a:noFill/>
              </a:ln>
              <a:solidFill>
                <a:srgbClr val="202322"/>
              </a:solidFill>
              <a:effectLst/>
              <a:uLnTx/>
              <a:uFillTx/>
              <a:latin typeface="Aptos Narrow"/>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02322"/>
                </a:solidFill>
                <a:effectLst/>
                <a:uLnTx/>
                <a:uFillTx/>
                <a:latin typeface="Aptos Narrow"/>
                <a:ea typeface="+mn-lt"/>
                <a:cs typeface="+mn-lt"/>
              </a:rPr>
              <a:t>UN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02322"/>
                </a:solidFill>
                <a:effectLst/>
                <a:uLnTx/>
                <a:uFillTx/>
                <a:latin typeface="Aptos Narrow"/>
                <a:ea typeface="+mn-lt"/>
                <a:cs typeface="+mn-lt"/>
              </a:rPr>
              <a:t>SPIRAL VAMP</a:t>
            </a:r>
            <a:endParaRPr kumimoji="0" lang="en-US" sz="1800" b="0" i="0" u="none" strike="noStrike" kern="1200" cap="none" spc="0" normalizeH="0" baseline="0" noProof="0" dirty="0">
              <a:ln>
                <a:noFill/>
              </a:ln>
              <a:solidFill>
                <a:srgbClr val="202322"/>
              </a:solidFill>
              <a:effectLst/>
              <a:uLnTx/>
              <a:uFillTx/>
              <a:latin typeface="Aptos Narrow"/>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02322"/>
                </a:solidFill>
                <a:effectLst/>
                <a:uLnTx/>
                <a:uFillTx/>
                <a:latin typeface="Aptos Narrow"/>
                <a:ea typeface="+mn-lt"/>
                <a:cs typeface="+mn-lt"/>
              </a:rPr>
              <a:t>€110</a:t>
            </a:r>
          </a:p>
        </p:txBody>
      </p:sp>
      <p:pic>
        <p:nvPicPr>
          <p:cNvPr id="11" name="Picture 10" descr="A pink shoe with a bow&#10;&#10;Description automatically generated">
            <a:extLst>
              <a:ext uri="{FF2B5EF4-FFF2-40B4-BE49-F238E27FC236}">
                <a16:creationId xmlns:a16="http://schemas.microsoft.com/office/drawing/2014/main" id="{FB3623E7-EC64-5F6F-A050-82A6FC73601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35493" y="1421097"/>
            <a:ext cx="1471857" cy="766180"/>
          </a:xfrm>
          <a:prstGeom prst="rect">
            <a:avLst/>
          </a:prstGeom>
        </p:spPr>
      </p:pic>
      <p:pic>
        <p:nvPicPr>
          <p:cNvPr id="12" name="Picture 11" descr="A brown shoe with a bow&#10;&#10;Description automatically generated">
            <a:extLst>
              <a:ext uri="{FF2B5EF4-FFF2-40B4-BE49-F238E27FC236}">
                <a16:creationId xmlns:a16="http://schemas.microsoft.com/office/drawing/2014/main" id="{536718A4-3027-6AFE-4720-AC6F5092C4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35493" y="608099"/>
            <a:ext cx="1471856" cy="766179"/>
          </a:xfrm>
          <a:prstGeom prst="rect">
            <a:avLst/>
          </a:prstGeom>
        </p:spPr>
      </p:pic>
      <p:sp>
        <p:nvSpPr>
          <p:cNvPr id="10" name="正方形/長方形 9">
            <a:extLst>
              <a:ext uri="{FF2B5EF4-FFF2-40B4-BE49-F238E27FC236}">
                <a16:creationId xmlns:a16="http://schemas.microsoft.com/office/drawing/2014/main" id="{4AC399DE-D4E4-C4AF-59E7-215433152576}"/>
              </a:ext>
            </a:extLst>
          </p:cNvPr>
          <p:cNvSpPr/>
          <p:nvPr/>
        </p:nvSpPr>
        <p:spPr>
          <a:xfrm rot="16200000">
            <a:off x="-2929781" y="3559268"/>
            <a:ext cx="6222164" cy="184797"/>
          </a:xfrm>
          <a:prstGeom prst="rect">
            <a:avLst/>
          </a:prstGeom>
          <a:solidFill>
            <a:srgbClr val="F2EEDE"/>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solidFill>
                  <a:schemeClr val="tx1"/>
                </a:solidFill>
                <a:latin typeface="Aptos" panose="020B0004020202020204" pitchFamily="34" charset="0"/>
              </a:rPr>
              <a:t>PLATINUM</a:t>
            </a:r>
            <a:endParaRPr kumimoji="1" lang="ja-JP" altLang="en-US" sz="800">
              <a:solidFill>
                <a:schemeClr val="tx1"/>
              </a:solidFill>
              <a:latin typeface="Aptos" panose="020B0004020202020204" pitchFamily="34" charset="0"/>
            </a:endParaRPr>
          </a:p>
        </p:txBody>
      </p:sp>
      <p:sp>
        <p:nvSpPr>
          <p:cNvPr id="14" name="TextBox 13">
            <a:extLst>
              <a:ext uri="{FF2B5EF4-FFF2-40B4-BE49-F238E27FC236}">
                <a16:creationId xmlns:a16="http://schemas.microsoft.com/office/drawing/2014/main" id="{112015D1-D60A-74CA-1844-C31CDFDD56B7}"/>
              </a:ext>
            </a:extLst>
          </p:cNvPr>
          <p:cNvSpPr txBox="1"/>
          <p:nvPr/>
        </p:nvSpPr>
        <p:spPr>
          <a:xfrm>
            <a:off x="1488988" y="618412"/>
            <a:ext cx="646544" cy="2308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solidFill>
                  <a:srgbClr val="202322"/>
                </a:solidFill>
                <a:latin typeface="Aptos Narrow" panose="020B0004020202020204" pitchFamily="34" charset="0"/>
              </a:rPr>
              <a:t>TBC1</a:t>
            </a:r>
            <a:endParaRPr kumimoji="0" lang="en-US" sz="900" b="0" i="0" u="none" strike="noStrike" kern="1200" cap="none" spc="0" normalizeH="0" baseline="0" noProof="0">
              <a:ln>
                <a:noFill/>
              </a:ln>
              <a:solidFill>
                <a:srgbClr val="202322"/>
              </a:solidFill>
              <a:effectLst/>
              <a:uLnTx/>
              <a:uFillTx/>
              <a:latin typeface="Aptos Narrow" panose="020B0004020202020204" pitchFamily="34" charset="0"/>
            </a:endParaRPr>
          </a:p>
        </p:txBody>
      </p:sp>
      <p:sp>
        <p:nvSpPr>
          <p:cNvPr id="15" name="TextBox 14">
            <a:extLst>
              <a:ext uri="{FF2B5EF4-FFF2-40B4-BE49-F238E27FC236}">
                <a16:creationId xmlns:a16="http://schemas.microsoft.com/office/drawing/2014/main" id="{8B1F82C2-39A7-A842-1257-B0848E4CF19A}"/>
              </a:ext>
            </a:extLst>
          </p:cNvPr>
          <p:cNvSpPr txBox="1"/>
          <p:nvPr/>
        </p:nvSpPr>
        <p:spPr>
          <a:xfrm>
            <a:off x="1488988" y="1421097"/>
            <a:ext cx="646544" cy="2308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solidFill>
                  <a:srgbClr val="202322"/>
                </a:solidFill>
                <a:latin typeface="Aptos Narrow" panose="020B0004020202020204" pitchFamily="34" charset="0"/>
              </a:rPr>
              <a:t>TBC2</a:t>
            </a:r>
            <a:endParaRPr kumimoji="0" lang="en-US" sz="900" b="0" i="0" u="none" strike="noStrike" kern="1200" cap="none" spc="0" normalizeH="0" baseline="0" noProof="0">
              <a:ln>
                <a:noFill/>
              </a:ln>
              <a:solidFill>
                <a:srgbClr val="202322"/>
              </a:solidFill>
              <a:effectLst/>
              <a:uLnTx/>
              <a:uFillTx/>
              <a:latin typeface="Aptos Narrow" panose="020B0004020202020204" pitchFamily="34" charset="0"/>
            </a:endParaRPr>
          </a:p>
        </p:txBody>
      </p:sp>
    </p:spTree>
    <p:extLst>
      <p:ext uri="{BB962C8B-B14F-4D97-AF65-F5344CB8AC3E}">
        <p14:creationId xmlns:p14="http://schemas.microsoft.com/office/powerpoint/2010/main" val="3476540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3327"/>
        <p:cNvGrpSpPr/>
        <p:nvPr/>
      </p:nvGrpSpPr>
      <p:grpSpPr>
        <a:xfrm>
          <a:off x="0" y="0"/>
          <a:ext cx="0" cy="0"/>
          <a:chOff x="0" y="0"/>
          <a:chExt cx="0" cy="0"/>
        </a:xfrm>
      </p:grpSpPr>
      <p:sp>
        <p:nvSpPr>
          <p:cNvPr id="19" name="Google Shape;3459;p436">
            <a:extLst>
              <a:ext uri="{FF2B5EF4-FFF2-40B4-BE49-F238E27FC236}">
                <a16:creationId xmlns:a16="http://schemas.microsoft.com/office/drawing/2014/main" id="{35ED4F10-2E0B-4C28-B659-55D6669C6FD5}"/>
              </a:ext>
            </a:extLst>
          </p:cNvPr>
          <p:cNvSpPr/>
          <p:nvPr/>
        </p:nvSpPr>
        <p:spPr>
          <a:xfrm>
            <a:off x="0" y="214178"/>
            <a:ext cx="12192000" cy="4021226"/>
          </a:xfrm>
          <a:prstGeom prst="rect">
            <a:avLst/>
          </a:prstGeom>
          <a:solidFill>
            <a:srgbClr val="8AD2EC"/>
          </a:solidFill>
          <a:ln>
            <a:noFill/>
          </a:ln>
        </p:spPr>
        <p:txBody>
          <a:bodyPr spcFirstLastPara="1" wrap="square" lIns="85722" tIns="42845" rIns="85722" bIns="42845" anchor="ctr" anchorCtr="0">
            <a:noAutofit/>
          </a:bodyPr>
          <a:lstStyle/>
          <a:p>
            <a:pPr marL="0" marR="0" lvl="0" indent="0" algn="ctr" defTabSz="1143111" rtl="0" eaLnBrk="1" fontAlgn="auto" latinLnBrk="0" hangingPunct="1">
              <a:lnSpc>
                <a:spcPct val="100000"/>
              </a:lnSpc>
              <a:spcBef>
                <a:spcPts val="0"/>
              </a:spcBef>
              <a:spcAft>
                <a:spcPts val="0"/>
              </a:spcAft>
              <a:buClrTx/>
              <a:buSzTx/>
              <a:buFontTx/>
              <a:buNone/>
              <a:tabLst/>
              <a:defRPr/>
            </a:pPr>
            <a:endParaRPr kumimoji="0" lang="en-US" altLang="ja" sz="1125" b="0" i="0" u="none" strike="noStrike" kern="1200" cap="none" spc="0" normalizeH="0" baseline="0" noProof="0">
              <a:ln>
                <a:noFill/>
              </a:ln>
              <a:solidFill>
                <a:srgbClr val="FFFFFF"/>
              </a:solidFill>
              <a:effectLst/>
              <a:uLnTx/>
              <a:uFillTx/>
              <a:latin typeface="ASICS Font 3.0" panose="00000500000000000000" pitchFamily="50" charset="0"/>
              <a:ea typeface="+mn-ea"/>
              <a:cs typeface="+mn-cs"/>
            </a:endParaRPr>
          </a:p>
        </p:txBody>
      </p:sp>
      <p:sp>
        <p:nvSpPr>
          <p:cNvPr id="20" name="Title 2">
            <a:extLst>
              <a:ext uri="{FF2B5EF4-FFF2-40B4-BE49-F238E27FC236}">
                <a16:creationId xmlns:a16="http://schemas.microsoft.com/office/drawing/2014/main" id="{D986FB76-CFAA-4039-B71C-D9F118378972}"/>
              </a:ext>
            </a:extLst>
          </p:cNvPr>
          <p:cNvSpPr>
            <a:spLocks noGrp="1"/>
          </p:cNvSpPr>
          <p:nvPr>
            <p:ph type="title"/>
          </p:nvPr>
        </p:nvSpPr>
        <p:spPr>
          <a:xfrm>
            <a:off x="653055" y="2508497"/>
            <a:ext cx="6372185" cy="1563887"/>
          </a:xfrm>
        </p:spPr>
        <p:txBody>
          <a:bodyPr>
            <a:normAutofit/>
          </a:bodyPr>
          <a:lstStyle/>
          <a:p>
            <a:pPr>
              <a:lnSpc>
                <a:spcPct val="150000"/>
              </a:lnSpc>
            </a:pPr>
            <a:r>
              <a:rPr lang="en-GB" sz="3000" spc="375">
                <a:solidFill>
                  <a:schemeClr val="bg1"/>
                </a:solidFill>
                <a:latin typeface="ASICS Font 3.0" panose="00000500000000000000" pitchFamily="50" charset="0"/>
              </a:rPr>
              <a:t>HYBRID</a:t>
            </a:r>
            <a:endParaRPr lang="en-NL" sz="3000" spc="375">
              <a:solidFill>
                <a:schemeClr val="bg1"/>
              </a:solidFill>
              <a:latin typeface="ASICS Font 3.0" panose="00000500000000000000" pitchFamily="50" charset="0"/>
            </a:endParaRPr>
          </a:p>
        </p:txBody>
      </p:sp>
      <p:pic>
        <p:nvPicPr>
          <p:cNvPr id="2" name="Graphic 1">
            <a:extLst>
              <a:ext uri="{FF2B5EF4-FFF2-40B4-BE49-F238E27FC236}">
                <a16:creationId xmlns:a16="http://schemas.microsoft.com/office/drawing/2014/main" id="{A89EE5BA-0AC3-D0E4-9E43-4670649AECD8}"/>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59157" y="424004"/>
            <a:ext cx="1478735" cy="698400"/>
          </a:xfrm>
          <a:prstGeom prst="rect">
            <a:avLst/>
          </a:prstGeom>
        </p:spPr>
      </p:pic>
    </p:spTree>
    <p:extLst>
      <p:ext uri="{BB962C8B-B14F-4D97-AF65-F5344CB8AC3E}">
        <p14:creationId xmlns:p14="http://schemas.microsoft.com/office/powerpoint/2010/main" val="37734746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CF352A4-1F9B-AA10-E9D1-8BA51A2A6C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10" name="think-cell data - do not delete" hidden="1">
                        <a:extLst>
                          <a:ext uri="{FF2B5EF4-FFF2-40B4-BE49-F238E27FC236}">
                            <a16:creationId xmlns:a16="http://schemas.microsoft.com/office/drawing/2014/main" id="{DCF352A4-1F9B-AA10-E9D1-8BA51A2A6C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B9C96D5C-29A5-1C05-F929-AF2F176286F1}"/>
              </a:ext>
            </a:extLst>
          </p:cNvPr>
          <p:cNvPicPr>
            <a:picLocks noChangeAspect="1"/>
          </p:cNvPicPr>
          <p:nvPr/>
        </p:nvPicPr>
        <p:blipFill>
          <a:blip r:embed="rId5"/>
          <a:stretch>
            <a:fillRect/>
          </a:stretch>
        </p:blipFill>
        <p:spPr>
          <a:xfrm>
            <a:off x="6878394" y="737725"/>
            <a:ext cx="1524992" cy="731520"/>
          </a:xfrm>
          <a:prstGeom prst="rect">
            <a:avLst/>
          </a:prstGeom>
        </p:spPr>
      </p:pic>
      <p:pic>
        <p:nvPicPr>
          <p:cNvPr id="19" name="Picture 18">
            <a:extLst>
              <a:ext uri="{FF2B5EF4-FFF2-40B4-BE49-F238E27FC236}">
                <a16:creationId xmlns:a16="http://schemas.microsoft.com/office/drawing/2014/main" id="{FEA41E42-6157-A02D-CFC6-CE8BEAE2B016}"/>
              </a:ext>
            </a:extLst>
          </p:cNvPr>
          <p:cNvPicPr>
            <a:picLocks noChangeAspect="1"/>
          </p:cNvPicPr>
          <p:nvPr/>
        </p:nvPicPr>
        <p:blipFill>
          <a:blip r:embed="rId6"/>
          <a:stretch>
            <a:fillRect/>
          </a:stretch>
        </p:blipFill>
        <p:spPr>
          <a:xfrm>
            <a:off x="6907713" y="1755959"/>
            <a:ext cx="1534992" cy="731520"/>
          </a:xfrm>
          <a:prstGeom prst="rect">
            <a:avLst/>
          </a:prstGeom>
        </p:spPr>
      </p:pic>
      <p:pic>
        <p:nvPicPr>
          <p:cNvPr id="18" name="Picture 17">
            <a:extLst>
              <a:ext uri="{FF2B5EF4-FFF2-40B4-BE49-F238E27FC236}">
                <a16:creationId xmlns:a16="http://schemas.microsoft.com/office/drawing/2014/main" id="{4DB4FCD1-29A3-3632-BE68-D8A838A7354E}"/>
              </a:ext>
            </a:extLst>
          </p:cNvPr>
          <p:cNvPicPr>
            <a:picLocks noChangeAspect="1"/>
          </p:cNvPicPr>
          <p:nvPr/>
        </p:nvPicPr>
        <p:blipFill>
          <a:blip r:embed="rId7"/>
          <a:stretch>
            <a:fillRect/>
          </a:stretch>
        </p:blipFill>
        <p:spPr>
          <a:xfrm>
            <a:off x="8706232" y="737725"/>
            <a:ext cx="1510232" cy="731520"/>
          </a:xfrm>
          <a:prstGeom prst="rect">
            <a:avLst/>
          </a:prstGeom>
        </p:spPr>
      </p:pic>
      <p:sp>
        <p:nvSpPr>
          <p:cNvPr id="71" name="Rectangle 2">
            <a:extLst>
              <a:ext uri="{FF2B5EF4-FFF2-40B4-BE49-F238E27FC236}">
                <a16:creationId xmlns:a16="http://schemas.microsoft.com/office/drawing/2014/main" id="{2AD15FC7-13C1-7EAF-160A-6AFB645E257B}"/>
              </a:ext>
            </a:extLst>
          </p:cNvPr>
          <p:cNvSpPr/>
          <p:nvPr/>
        </p:nvSpPr>
        <p:spPr>
          <a:xfrm>
            <a:off x="267643" y="548713"/>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KAYANO 12.1</a:t>
            </a:r>
          </a:p>
          <a:p>
            <a:r>
              <a:rPr lang="en-US" sz="800" b="1" dirty="0">
                <a:solidFill>
                  <a:schemeClr val="tx1"/>
                </a:solidFill>
                <a:latin typeface="Aptos Narrow"/>
                <a:ea typeface="+mn-lt"/>
                <a:cs typeface="+mn-lt"/>
              </a:rPr>
              <a:t>1203A759</a:t>
            </a:r>
          </a:p>
          <a:p>
            <a:r>
              <a:rPr lang="en-US" sz="800" dirty="0">
                <a:solidFill>
                  <a:schemeClr val="tx1"/>
                </a:solidFill>
                <a:latin typeface="Aptos Narrow"/>
                <a:ea typeface="+mn-lt"/>
                <a:cs typeface="+mn-lt"/>
              </a:rPr>
              <a:t>CUD</a:t>
            </a:r>
          </a:p>
          <a:p>
            <a:r>
              <a:rPr lang="en-US" sz="800" dirty="0">
                <a:solidFill>
                  <a:schemeClr val="tx1"/>
                </a:solidFill>
                <a:latin typeface="Aptos Narrow"/>
                <a:ea typeface="+mn-lt"/>
                <a:cs typeface="+mn-lt"/>
              </a:rPr>
              <a:t>UNI</a:t>
            </a:r>
          </a:p>
          <a:p>
            <a:r>
              <a:rPr lang="en-US" sz="800" dirty="0">
                <a:solidFill>
                  <a:schemeClr val="tx1"/>
                </a:solidFill>
                <a:latin typeface="Aptos Narrow"/>
                <a:ea typeface="+mn-lt"/>
                <a:cs typeface="+mn-lt"/>
              </a:rPr>
              <a:t>BASE</a:t>
            </a:r>
          </a:p>
          <a:p>
            <a:r>
              <a:rPr lang="en-US" sz="800" dirty="0">
                <a:solidFill>
                  <a:schemeClr val="tx1"/>
                </a:solidFill>
                <a:latin typeface="Aptos Narrow"/>
                <a:ea typeface="+mn-lt"/>
                <a:cs typeface="+mn-lt"/>
              </a:rPr>
              <a:t>€18</a:t>
            </a:r>
            <a:r>
              <a:rPr lang="el-GR" sz="800" dirty="0">
                <a:solidFill>
                  <a:schemeClr val="tx1"/>
                </a:solidFill>
                <a:latin typeface="Aptos Narrow"/>
                <a:ea typeface="+mn-lt"/>
                <a:cs typeface="+mn-lt"/>
              </a:rPr>
              <a:t>5</a:t>
            </a:r>
            <a:endParaRPr lang="en-US" sz="800" dirty="0">
              <a:solidFill>
                <a:schemeClr val="tx1"/>
              </a:solidFill>
              <a:latin typeface="Aptos Narrow"/>
              <a:ea typeface="+mn-lt"/>
              <a:cs typeface="+mn-lt"/>
            </a:endParaRPr>
          </a:p>
        </p:txBody>
      </p:sp>
      <p:pic>
        <p:nvPicPr>
          <p:cNvPr id="4" name="Picture 5">
            <a:extLst>
              <a:ext uri="{FF2B5EF4-FFF2-40B4-BE49-F238E27FC236}">
                <a16:creationId xmlns:a16="http://schemas.microsoft.com/office/drawing/2014/main" id="{13877D33-D80D-FB94-C42D-FE832144C86A}"/>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3263361" y="707973"/>
            <a:ext cx="1507800" cy="731520"/>
          </a:xfrm>
          <a:prstGeom prst="rect">
            <a:avLst/>
          </a:prstGeom>
        </p:spPr>
      </p:pic>
      <p:pic>
        <p:nvPicPr>
          <p:cNvPr id="5" name="Picture 5">
            <a:extLst>
              <a:ext uri="{FF2B5EF4-FFF2-40B4-BE49-F238E27FC236}">
                <a16:creationId xmlns:a16="http://schemas.microsoft.com/office/drawing/2014/main" id="{B85C7EDB-9C4B-8F27-79AA-9B80F95B3E39}"/>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3222401" y="1775980"/>
            <a:ext cx="1589720" cy="731520"/>
          </a:xfrm>
          <a:prstGeom prst="rect">
            <a:avLst/>
          </a:prstGeom>
        </p:spPr>
      </p:pic>
      <p:sp>
        <p:nvSpPr>
          <p:cNvPr id="15" name="タイトル 5">
            <a:extLst>
              <a:ext uri="{FF2B5EF4-FFF2-40B4-BE49-F238E27FC236}">
                <a16:creationId xmlns:a16="http://schemas.microsoft.com/office/drawing/2014/main" id="{EAFCAB39-8C42-1C42-729C-5D83CDA46383}"/>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r>
              <a:rPr lang="en-US" altLang="ja-JP">
                <a:latin typeface="Aptos"/>
                <a:cs typeface="Calibri"/>
              </a:rPr>
              <a:t>GEL-</a:t>
            </a:r>
            <a:r>
              <a:rPr lang="en-US" altLang="ja-JP" err="1">
                <a:latin typeface="Aptos"/>
                <a:cs typeface="Calibri"/>
              </a:rPr>
              <a:t>kayano</a:t>
            </a:r>
            <a:r>
              <a:rPr lang="en-US" altLang="ja-JP">
                <a:latin typeface="Aptos"/>
                <a:cs typeface="Calibri"/>
              </a:rPr>
              <a:t> 12.1</a:t>
            </a:r>
            <a:endParaRPr lang="ja-JP" altLang="en-US"/>
          </a:p>
        </p:txBody>
      </p:sp>
      <p:sp>
        <p:nvSpPr>
          <p:cNvPr id="34" name="正方形/長方形 8">
            <a:extLst>
              <a:ext uri="{FF2B5EF4-FFF2-40B4-BE49-F238E27FC236}">
                <a16:creationId xmlns:a16="http://schemas.microsoft.com/office/drawing/2014/main" id="{F84097C4-F415-EBAC-9533-CC3E825C3356}"/>
              </a:ext>
            </a:extLst>
          </p:cNvPr>
          <p:cNvSpPr/>
          <p:nvPr/>
        </p:nvSpPr>
        <p:spPr>
          <a:xfrm rot="16200000">
            <a:off x="-2932101" y="3568394"/>
            <a:ext cx="6219424" cy="180063"/>
          </a:xfrm>
          <a:prstGeom prst="rect">
            <a:avLst/>
          </a:prstGeom>
          <a:solidFill>
            <a:srgbClr val="EDEEEE"/>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solidFill>
                  <a:schemeClr val="tx1"/>
                </a:solidFill>
                <a:latin typeface="Aptos" panose="020B0004020202020204" pitchFamily="34" charset="0"/>
              </a:rPr>
              <a:t>PLATINUM PLUS</a:t>
            </a:r>
            <a:endParaRPr kumimoji="1" lang="ja-JP" altLang="en-US" sz="800">
              <a:solidFill>
                <a:schemeClr val="tx1"/>
              </a:solidFill>
              <a:latin typeface="Aptos" panose="020B0004020202020204" pitchFamily="34" charset="0"/>
            </a:endParaRPr>
          </a:p>
        </p:txBody>
      </p:sp>
      <p:sp>
        <p:nvSpPr>
          <p:cNvPr id="9" name="Google Shape;84;p13">
            <a:extLst>
              <a:ext uri="{FF2B5EF4-FFF2-40B4-BE49-F238E27FC236}">
                <a16:creationId xmlns:a16="http://schemas.microsoft.com/office/drawing/2014/main" id="{515D976B-A6D5-2351-C98F-BEEA076B2D9B}"/>
              </a:ext>
            </a:extLst>
          </p:cNvPr>
          <p:cNvSpPr txBox="1"/>
          <p:nvPr/>
        </p:nvSpPr>
        <p:spPr>
          <a:xfrm>
            <a:off x="3293873" y="686534"/>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104</a:t>
            </a:r>
          </a:p>
        </p:txBody>
      </p:sp>
      <p:sp>
        <p:nvSpPr>
          <p:cNvPr id="11" name="Google Shape;84;p13">
            <a:extLst>
              <a:ext uri="{FF2B5EF4-FFF2-40B4-BE49-F238E27FC236}">
                <a16:creationId xmlns:a16="http://schemas.microsoft.com/office/drawing/2014/main" id="{07556480-D5D5-16A7-EF34-0C53E77EA557}"/>
              </a:ext>
            </a:extLst>
          </p:cNvPr>
          <p:cNvSpPr txBox="1"/>
          <p:nvPr/>
        </p:nvSpPr>
        <p:spPr>
          <a:xfrm>
            <a:off x="3323192" y="1680066"/>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002</a:t>
            </a:r>
          </a:p>
        </p:txBody>
      </p:sp>
      <p:sp>
        <p:nvSpPr>
          <p:cNvPr id="13" name="Google Shape;84;p13">
            <a:extLst>
              <a:ext uri="{FF2B5EF4-FFF2-40B4-BE49-F238E27FC236}">
                <a16:creationId xmlns:a16="http://schemas.microsoft.com/office/drawing/2014/main" id="{42453D67-FD4E-B56F-9105-EDFDD9B72E05}"/>
              </a:ext>
            </a:extLst>
          </p:cNvPr>
          <p:cNvSpPr txBox="1"/>
          <p:nvPr/>
        </p:nvSpPr>
        <p:spPr>
          <a:xfrm>
            <a:off x="8706232" y="707973"/>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250</a:t>
            </a:r>
          </a:p>
        </p:txBody>
      </p:sp>
      <p:sp>
        <p:nvSpPr>
          <p:cNvPr id="14" name="Google Shape;84;p13">
            <a:extLst>
              <a:ext uri="{FF2B5EF4-FFF2-40B4-BE49-F238E27FC236}">
                <a16:creationId xmlns:a16="http://schemas.microsoft.com/office/drawing/2014/main" id="{CC13EAE2-F9C9-E7B5-953B-81A853A517A8}"/>
              </a:ext>
            </a:extLst>
          </p:cNvPr>
          <p:cNvSpPr txBox="1"/>
          <p:nvPr/>
        </p:nvSpPr>
        <p:spPr>
          <a:xfrm>
            <a:off x="6878394" y="686534"/>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a:latin typeface="Aptos Narrow" panose="020B0004020202020204" pitchFamily="34" charset="0"/>
              </a:rPr>
              <a:t>105</a:t>
            </a:r>
          </a:p>
        </p:txBody>
      </p:sp>
      <p:sp>
        <p:nvSpPr>
          <p:cNvPr id="17" name="Google Shape;84;p13">
            <a:extLst>
              <a:ext uri="{FF2B5EF4-FFF2-40B4-BE49-F238E27FC236}">
                <a16:creationId xmlns:a16="http://schemas.microsoft.com/office/drawing/2014/main" id="{10C34EFD-E808-FE49-5614-A5B95A73259F}"/>
              </a:ext>
            </a:extLst>
          </p:cNvPr>
          <p:cNvSpPr txBox="1"/>
          <p:nvPr/>
        </p:nvSpPr>
        <p:spPr>
          <a:xfrm>
            <a:off x="6907713" y="1680066"/>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a:latin typeface="Aptos Narrow" panose="020B0004020202020204" pitchFamily="34" charset="0"/>
              </a:rPr>
              <a:t>103</a:t>
            </a:r>
          </a:p>
        </p:txBody>
      </p:sp>
    </p:spTree>
    <p:extLst>
      <p:ext uri="{BB962C8B-B14F-4D97-AF65-F5344CB8AC3E}">
        <p14:creationId xmlns:p14="http://schemas.microsoft.com/office/powerpoint/2010/main" val="34186059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28CDC81-BC1F-C5A0-5CE7-677069A874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18" name="think-cell data - do not delete" hidden="1">
                        <a:extLst>
                          <a:ext uri="{FF2B5EF4-FFF2-40B4-BE49-F238E27FC236}">
                            <a16:creationId xmlns:a16="http://schemas.microsoft.com/office/drawing/2014/main" id="{028CDC81-BC1F-C5A0-5CE7-677069A874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id="{AF825957-F591-F139-9598-B16262523A68}"/>
              </a:ext>
            </a:extLst>
          </p:cNvPr>
          <p:cNvPicPr>
            <a:picLocks noChangeAspect="1"/>
          </p:cNvPicPr>
          <p:nvPr/>
        </p:nvPicPr>
        <p:blipFill>
          <a:blip r:embed="rId5"/>
          <a:stretch>
            <a:fillRect/>
          </a:stretch>
        </p:blipFill>
        <p:spPr>
          <a:xfrm>
            <a:off x="1591873" y="732830"/>
            <a:ext cx="1512000" cy="756000"/>
          </a:xfrm>
          <a:prstGeom prst="rect">
            <a:avLst/>
          </a:prstGeom>
        </p:spPr>
      </p:pic>
      <p:pic>
        <p:nvPicPr>
          <p:cNvPr id="6" name="Picture 5">
            <a:extLst>
              <a:ext uri="{FF2B5EF4-FFF2-40B4-BE49-F238E27FC236}">
                <a16:creationId xmlns:a16="http://schemas.microsoft.com/office/drawing/2014/main" id="{A39173EA-7BE6-F61B-DB2E-8BB753D121C4}"/>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611739" y="1598823"/>
            <a:ext cx="1472269" cy="754538"/>
          </a:xfrm>
          <a:prstGeom prst="rect">
            <a:avLst/>
          </a:prstGeom>
        </p:spPr>
      </p:pic>
      <p:pic>
        <p:nvPicPr>
          <p:cNvPr id="30" name="Picture 29">
            <a:extLst>
              <a:ext uri="{FF2B5EF4-FFF2-40B4-BE49-F238E27FC236}">
                <a16:creationId xmlns:a16="http://schemas.microsoft.com/office/drawing/2014/main" id="{1A52E602-3DCB-E202-B22B-0E0D40CB6C02}"/>
              </a:ext>
            </a:extLst>
          </p:cNvPr>
          <p:cNvPicPr>
            <a:picLocks noChangeAspect="1"/>
          </p:cNvPicPr>
          <p:nvPr/>
        </p:nvPicPr>
        <p:blipFill>
          <a:blip r:embed="rId7"/>
          <a:stretch>
            <a:fillRect/>
          </a:stretch>
        </p:blipFill>
        <p:spPr>
          <a:xfrm>
            <a:off x="5136462" y="3787223"/>
            <a:ext cx="1396364" cy="720000"/>
          </a:xfrm>
          <a:prstGeom prst="rect">
            <a:avLst/>
          </a:prstGeom>
        </p:spPr>
      </p:pic>
      <p:pic>
        <p:nvPicPr>
          <p:cNvPr id="26" name="Picture 25">
            <a:extLst>
              <a:ext uri="{FF2B5EF4-FFF2-40B4-BE49-F238E27FC236}">
                <a16:creationId xmlns:a16="http://schemas.microsoft.com/office/drawing/2014/main" id="{AEA4211B-4C9C-F6B3-5415-5A1B05CBCCC2}"/>
              </a:ext>
            </a:extLst>
          </p:cNvPr>
          <p:cNvPicPr>
            <a:picLocks noChangeAspect="1"/>
          </p:cNvPicPr>
          <p:nvPr/>
        </p:nvPicPr>
        <p:blipFill>
          <a:blip r:embed="rId8"/>
          <a:stretch>
            <a:fillRect/>
          </a:stretch>
        </p:blipFill>
        <p:spPr>
          <a:xfrm>
            <a:off x="5136462" y="4639276"/>
            <a:ext cx="1424769" cy="720000"/>
          </a:xfrm>
          <a:prstGeom prst="rect">
            <a:avLst/>
          </a:prstGeom>
        </p:spPr>
      </p:pic>
      <p:pic>
        <p:nvPicPr>
          <p:cNvPr id="20" name="Picture 19">
            <a:extLst>
              <a:ext uri="{FF2B5EF4-FFF2-40B4-BE49-F238E27FC236}">
                <a16:creationId xmlns:a16="http://schemas.microsoft.com/office/drawing/2014/main" id="{901CAE47-BB8D-A0A4-81F9-B846B6837A7B}"/>
              </a:ext>
            </a:extLst>
          </p:cNvPr>
          <p:cNvPicPr>
            <a:picLocks noChangeAspect="1"/>
          </p:cNvPicPr>
          <p:nvPr/>
        </p:nvPicPr>
        <p:blipFill>
          <a:blip r:embed="rId9"/>
          <a:stretch>
            <a:fillRect/>
          </a:stretch>
        </p:blipFill>
        <p:spPr>
          <a:xfrm>
            <a:off x="6889202" y="765817"/>
            <a:ext cx="1446782" cy="720000"/>
          </a:xfrm>
          <a:prstGeom prst="rect">
            <a:avLst/>
          </a:prstGeom>
        </p:spPr>
      </p:pic>
      <p:pic>
        <p:nvPicPr>
          <p:cNvPr id="17" name="Picture 16">
            <a:extLst>
              <a:ext uri="{FF2B5EF4-FFF2-40B4-BE49-F238E27FC236}">
                <a16:creationId xmlns:a16="http://schemas.microsoft.com/office/drawing/2014/main" id="{E2E449D5-81AE-3148-16AE-648F0A6BFAA9}"/>
              </a:ext>
            </a:extLst>
          </p:cNvPr>
          <p:cNvPicPr>
            <a:picLocks noChangeAspect="1"/>
          </p:cNvPicPr>
          <p:nvPr/>
        </p:nvPicPr>
        <p:blipFill>
          <a:blip r:embed="rId10"/>
          <a:stretch>
            <a:fillRect/>
          </a:stretch>
        </p:blipFill>
        <p:spPr>
          <a:xfrm>
            <a:off x="6904758" y="1633361"/>
            <a:ext cx="1415670" cy="720000"/>
          </a:xfrm>
          <a:prstGeom prst="rect">
            <a:avLst/>
          </a:prstGeom>
        </p:spPr>
      </p:pic>
      <p:sp>
        <p:nvSpPr>
          <p:cNvPr id="66" name="正方形/長方形 65">
            <a:extLst>
              <a:ext uri="{FF2B5EF4-FFF2-40B4-BE49-F238E27FC236}">
                <a16:creationId xmlns:a16="http://schemas.microsoft.com/office/drawing/2014/main" id="{E3D66219-C056-79DF-43B6-AD9C57CCEB15}"/>
              </a:ext>
            </a:extLst>
          </p:cNvPr>
          <p:cNvSpPr/>
          <p:nvPr/>
        </p:nvSpPr>
        <p:spPr>
          <a:xfrm>
            <a:off x="87912" y="540591"/>
            <a:ext cx="12033402" cy="3114579"/>
          </a:xfrm>
          <a:prstGeom prst="rect">
            <a:avLst/>
          </a:prstGeom>
          <a:no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latin typeface="Aptos" panose="020B0004020202020204" pitchFamily="34" charset="0"/>
            </a:endParaRPr>
          </a:p>
        </p:txBody>
      </p:sp>
      <p:sp>
        <p:nvSpPr>
          <p:cNvPr id="70" name="Rectangle 2">
            <a:extLst>
              <a:ext uri="{FF2B5EF4-FFF2-40B4-BE49-F238E27FC236}">
                <a16:creationId xmlns:a16="http://schemas.microsoft.com/office/drawing/2014/main" id="{806B8040-186A-DF35-242B-F6AD41CEFC9B}"/>
              </a:ext>
            </a:extLst>
          </p:cNvPr>
          <p:cNvSpPr/>
          <p:nvPr/>
        </p:nvSpPr>
        <p:spPr>
          <a:xfrm>
            <a:off x="275673" y="540586"/>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NIMBUS 10.1</a:t>
            </a:r>
          </a:p>
          <a:p>
            <a:r>
              <a:rPr lang="en-US" sz="800" b="1" dirty="0">
                <a:solidFill>
                  <a:schemeClr val="tx1"/>
                </a:solidFill>
                <a:latin typeface="Aptos Narrow"/>
                <a:ea typeface="+mn-lt"/>
                <a:cs typeface="+mn-lt"/>
              </a:rPr>
              <a:t>1203A543</a:t>
            </a:r>
          </a:p>
          <a:p>
            <a:r>
              <a:rPr lang="en-US" sz="800" dirty="0">
                <a:solidFill>
                  <a:schemeClr val="tx1"/>
                </a:solidFill>
                <a:latin typeface="Aptos Narrow"/>
                <a:ea typeface="+mn-lt"/>
                <a:cs typeface="+mn-lt"/>
              </a:rPr>
              <a:t>CUD</a:t>
            </a:r>
          </a:p>
          <a:p>
            <a:r>
              <a:rPr lang="en-US" sz="800" dirty="0">
                <a:solidFill>
                  <a:schemeClr val="tx1"/>
                </a:solidFill>
                <a:latin typeface="Aptos Narrow"/>
                <a:ea typeface="+mn-lt"/>
                <a:cs typeface="+mn-lt"/>
              </a:rPr>
              <a:t>UNI</a:t>
            </a:r>
          </a:p>
          <a:p>
            <a:r>
              <a:rPr lang="en-US" sz="800" dirty="0">
                <a:solidFill>
                  <a:schemeClr val="tx1"/>
                </a:solidFill>
                <a:latin typeface="Aptos Narrow"/>
                <a:ea typeface="+mn-lt"/>
                <a:cs typeface="+mn-lt"/>
              </a:rPr>
              <a:t>BASE</a:t>
            </a:r>
          </a:p>
          <a:p>
            <a:r>
              <a:rPr lang="en-US" sz="800" dirty="0">
                <a:solidFill>
                  <a:schemeClr val="tx1"/>
                </a:solidFill>
                <a:latin typeface="Aptos Narrow"/>
                <a:ea typeface="+mn-lt"/>
                <a:cs typeface="+mn-lt"/>
              </a:rPr>
              <a:t>€17</a:t>
            </a:r>
            <a:r>
              <a:rPr lang="el-GR" sz="800" dirty="0">
                <a:solidFill>
                  <a:schemeClr val="tx1"/>
                </a:solidFill>
                <a:latin typeface="Aptos Narrow"/>
                <a:ea typeface="+mn-lt"/>
                <a:cs typeface="+mn-lt"/>
              </a:rPr>
              <a:t>5</a:t>
            </a:r>
            <a:endParaRPr lang="en-US" sz="800" dirty="0">
              <a:solidFill>
                <a:schemeClr val="tx1"/>
              </a:solidFill>
              <a:latin typeface="Aptos Narrow"/>
              <a:ea typeface="+mn-lt"/>
              <a:cs typeface="+mn-lt"/>
            </a:endParaRPr>
          </a:p>
          <a:p>
            <a:endParaRPr lang="en-US" sz="800" dirty="0">
              <a:solidFill>
                <a:schemeClr val="tx1"/>
              </a:solidFill>
              <a:latin typeface="Aptos Narrow"/>
            </a:endParaRPr>
          </a:p>
        </p:txBody>
      </p:sp>
      <p:sp>
        <p:nvSpPr>
          <p:cNvPr id="71" name="Rectangle 2">
            <a:extLst>
              <a:ext uri="{FF2B5EF4-FFF2-40B4-BE49-F238E27FC236}">
                <a16:creationId xmlns:a16="http://schemas.microsoft.com/office/drawing/2014/main" id="{2AD15FC7-13C1-7EAF-160A-6AFB645E257B}"/>
              </a:ext>
            </a:extLst>
          </p:cNvPr>
          <p:cNvSpPr/>
          <p:nvPr/>
        </p:nvSpPr>
        <p:spPr>
          <a:xfrm>
            <a:off x="275673" y="3661742"/>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NIMBUS 10.1</a:t>
            </a:r>
          </a:p>
          <a:p>
            <a:r>
              <a:rPr lang="en-US" sz="800" b="1" dirty="0">
                <a:solidFill>
                  <a:schemeClr val="tx1"/>
                </a:solidFill>
                <a:latin typeface="Aptos Narrow"/>
                <a:ea typeface="+mn-lt"/>
                <a:cs typeface="+mn-lt"/>
              </a:rPr>
              <a:t>1203A761</a:t>
            </a:r>
          </a:p>
          <a:p>
            <a:r>
              <a:rPr lang="en-US" sz="800" dirty="0">
                <a:solidFill>
                  <a:schemeClr val="tx1"/>
                </a:solidFill>
                <a:latin typeface="Aptos Narrow"/>
                <a:ea typeface="+mn-lt"/>
                <a:cs typeface="+mn-lt"/>
              </a:rPr>
              <a:t>CUD</a:t>
            </a:r>
          </a:p>
          <a:p>
            <a:r>
              <a:rPr lang="en-US" sz="800" dirty="0">
                <a:solidFill>
                  <a:schemeClr val="tx1"/>
                </a:solidFill>
                <a:latin typeface="Aptos Narrow"/>
                <a:ea typeface="+mn-lt"/>
                <a:cs typeface="+mn-lt"/>
              </a:rPr>
              <a:t>UNI</a:t>
            </a:r>
          </a:p>
          <a:p>
            <a:r>
              <a:rPr lang="en-US" sz="800" dirty="0">
                <a:solidFill>
                  <a:schemeClr val="tx1"/>
                </a:solidFill>
                <a:latin typeface="Aptos Narrow"/>
                <a:ea typeface="+mn-lt"/>
                <a:cs typeface="+mn-lt"/>
              </a:rPr>
              <a:t>PANEL PLAY</a:t>
            </a:r>
          </a:p>
          <a:p>
            <a:r>
              <a:rPr lang="en-US" sz="800" dirty="0">
                <a:solidFill>
                  <a:schemeClr val="tx1"/>
                </a:solidFill>
                <a:latin typeface="Aptos Narrow"/>
                <a:ea typeface="+mn-lt"/>
                <a:cs typeface="+mn-lt"/>
              </a:rPr>
              <a:t>€17</a:t>
            </a:r>
            <a:r>
              <a:rPr lang="el-GR" sz="800" dirty="0">
                <a:solidFill>
                  <a:schemeClr val="tx1"/>
                </a:solidFill>
                <a:latin typeface="Aptos Narrow"/>
                <a:ea typeface="+mn-lt"/>
                <a:cs typeface="+mn-lt"/>
              </a:rPr>
              <a:t>5</a:t>
            </a:r>
            <a:endParaRPr lang="en-US" sz="800" dirty="0">
              <a:solidFill>
                <a:schemeClr val="tx1"/>
              </a:solidFill>
              <a:latin typeface="Aptos Narrow"/>
              <a:ea typeface="+mn-lt"/>
              <a:cs typeface="+mn-lt"/>
            </a:endParaRPr>
          </a:p>
          <a:p>
            <a:endParaRPr lang="en-US" sz="800" dirty="0">
              <a:solidFill>
                <a:schemeClr val="tx1"/>
              </a:solidFill>
              <a:latin typeface="Aptos Narrow"/>
            </a:endParaRPr>
          </a:p>
        </p:txBody>
      </p:sp>
      <p:sp>
        <p:nvSpPr>
          <p:cNvPr id="9" name="正方形/長方形 8">
            <a:extLst>
              <a:ext uri="{FF2B5EF4-FFF2-40B4-BE49-F238E27FC236}">
                <a16:creationId xmlns:a16="http://schemas.microsoft.com/office/drawing/2014/main" id="{9994BE79-D2E0-7843-0C00-0CA2F19A5A70}"/>
              </a:ext>
            </a:extLst>
          </p:cNvPr>
          <p:cNvSpPr/>
          <p:nvPr/>
        </p:nvSpPr>
        <p:spPr>
          <a:xfrm rot="16200000">
            <a:off x="-2934078" y="3563564"/>
            <a:ext cx="6230753" cy="184795"/>
          </a:xfrm>
          <a:prstGeom prst="rect">
            <a:avLst/>
          </a:prstGeom>
          <a:solidFill>
            <a:srgbClr val="EDEEEE"/>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solidFill>
                  <a:schemeClr val="tx1"/>
                </a:solidFill>
                <a:latin typeface="Aptos" panose="020B0004020202020204" pitchFamily="34" charset="0"/>
              </a:rPr>
              <a:t>PLATINUM PLUS</a:t>
            </a:r>
            <a:endParaRPr kumimoji="1" lang="ja-JP" altLang="en-US" sz="800">
              <a:solidFill>
                <a:schemeClr val="tx1"/>
              </a:solidFill>
              <a:latin typeface="Aptos" panose="020B0004020202020204" pitchFamily="34" charset="0"/>
            </a:endParaRPr>
          </a:p>
        </p:txBody>
      </p:sp>
      <p:sp>
        <p:nvSpPr>
          <p:cNvPr id="4" name="タイトル 5">
            <a:extLst>
              <a:ext uri="{FF2B5EF4-FFF2-40B4-BE49-F238E27FC236}">
                <a16:creationId xmlns:a16="http://schemas.microsoft.com/office/drawing/2014/main" id="{58CE891D-3E3F-63A5-5F92-92B23934B1DA}"/>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r>
              <a:rPr lang="en-US" altLang="ja-JP">
                <a:latin typeface="Aptos"/>
                <a:cs typeface="Calibri"/>
              </a:rPr>
              <a:t>GEL-NIMBUS 10.1</a:t>
            </a:r>
            <a:endParaRPr lang="ja-JP" altLang="en-US"/>
          </a:p>
        </p:txBody>
      </p:sp>
      <p:sp>
        <p:nvSpPr>
          <p:cNvPr id="3" name="Google Shape;84;p13">
            <a:extLst>
              <a:ext uri="{FF2B5EF4-FFF2-40B4-BE49-F238E27FC236}">
                <a16:creationId xmlns:a16="http://schemas.microsoft.com/office/drawing/2014/main" id="{ED79FEBC-B96C-4B24-A145-EFC26FEB11CD}"/>
              </a:ext>
            </a:extLst>
          </p:cNvPr>
          <p:cNvSpPr txBox="1"/>
          <p:nvPr/>
        </p:nvSpPr>
        <p:spPr>
          <a:xfrm>
            <a:off x="1617478" y="659127"/>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108</a:t>
            </a:r>
          </a:p>
        </p:txBody>
      </p:sp>
      <p:sp>
        <p:nvSpPr>
          <p:cNvPr id="5" name="Google Shape;84;p13">
            <a:extLst>
              <a:ext uri="{FF2B5EF4-FFF2-40B4-BE49-F238E27FC236}">
                <a16:creationId xmlns:a16="http://schemas.microsoft.com/office/drawing/2014/main" id="{0BCF57F0-689B-7F46-6CB7-B65073E5D6AD}"/>
              </a:ext>
            </a:extLst>
          </p:cNvPr>
          <p:cNvSpPr txBox="1"/>
          <p:nvPr/>
        </p:nvSpPr>
        <p:spPr>
          <a:xfrm>
            <a:off x="1601116" y="1621294"/>
            <a:ext cx="36260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a:latin typeface="Aptos Narrow" panose="020B0004020202020204" pitchFamily="34" charset="0"/>
              </a:rPr>
              <a:t>005</a:t>
            </a:r>
          </a:p>
        </p:txBody>
      </p:sp>
      <p:sp>
        <p:nvSpPr>
          <p:cNvPr id="12" name="Google Shape;84;p13">
            <a:extLst>
              <a:ext uri="{FF2B5EF4-FFF2-40B4-BE49-F238E27FC236}">
                <a16:creationId xmlns:a16="http://schemas.microsoft.com/office/drawing/2014/main" id="{676D3714-1A48-50C7-2705-32F6C2045049}"/>
              </a:ext>
            </a:extLst>
          </p:cNvPr>
          <p:cNvSpPr txBox="1"/>
          <p:nvPr/>
        </p:nvSpPr>
        <p:spPr>
          <a:xfrm>
            <a:off x="6880717" y="717788"/>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110</a:t>
            </a:r>
          </a:p>
        </p:txBody>
      </p:sp>
      <p:sp>
        <p:nvSpPr>
          <p:cNvPr id="14" name="Google Shape;84;p13">
            <a:extLst>
              <a:ext uri="{FF2B5EF4-FFF2-40B4-BE49-F238E27FC236}">
                <a16:creationId xmlns:a16="http://schemas.microsoft.com/office/drawing/2014/main" id="{458A86BF-5A9D-EEB0-F68C-D165C3EE01FE}"/>
              </a:ext>
            </a:extLst>
          </p:cNvPr>
          <p:cNvSpPr txBox="1"/>
          <p:nvPr/>
        </p:nvSpPr>
        <p:spPr>
          <a:xfrm>
            <a:off x="6870784" y="1564412"/>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024</a:t>
            </a:r>
          </a:p>
        </p:txBody>
      </p:sp>
      <p:sp>
        <p:nvSpPr>
          <p:cNvPr id="15" name="Google Shape;84;p13">
            <a:extLst>
              <a:ext uri="{FF2B5EF4-FFF2-40B4-BE49-F238E27FC236}">
                <a16:creationId xmlns:a16="http://schemas.microsoft.com/office/drawing/2014/main" id="{88973DAB-0370-5FC8-5047-B78767AEBEA3}"/>
              </a:ext>
            </a:extLst>
          </p:cNvPr>
          <p:cNvSpPr txBox="1"/>
          <p:nvPr/>
        </p:nvSpPr>
        <p:spPr>
          <a:xfrm>
            <a:off x="5136462" y="3746980"/>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a:latin typeface="Aptos Narrow" panose="020B0004020202020204" pitchFamily="34" charset="0"/>
              </a:rPr>
              <a:t>102</a:t>
            </a:r>
          </a:p>
        </p:txBody>
      </p:sp>
      <p:sp>
        <p:nvSpPr>
          <p:cNvPr id="16" name="Google Shape;84;p13">
            <a:extLst>
              <a:ext uri="{FF2B5EF4-FFF2-40B4-BE49-F238E27FC236}">
                <a16:creationId xmlns:a16="http://schemas.microsoft.com/office/drawing/2014/main" id="{352800C5-9EA5-E03C-C853-0DC9B0AD9C40}"/>
              </a:ext>
            </a:extLst>
          </p:cNvPr>
          <p:cNvSpPr txBox="1"/>
          <p:nvPr/>
        </p:nvSpPr>
        <p:spPr>
          <a:xfrm>
            <a:off x="5108057" y="4639276"/>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001</a:t>
            </a:r>
          </a:p>
        </p:txBody>
      </p:sp>
    </p:spTree>
    <p:extLst>
      <p:ext uri="{BB962C8B-B14F-4D97-AF65-F5344CB8AC3E}">
        <p14:creationId xmlns:p14="http://schemas.microsoft.com/office/powerpoint/2010/main" val="15420653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26CD267-7128-5B30-12A4-CB0D42A21832}"/>
              </a:ext>
            </a:extLst>
          </p:cNvPr>
          <p:cNvGraphicFramePr>
            <a:graphicFrameLocks noChangeAspect="1"/>
          </p:cNvGraphicFramePr>
          <p:nvPr>
            <p:custDataLst>
              <p:tags r:id="rId1"/>
            </p:custDataLst>
            <p:extLst>
              <p:ext uri="{D42A27DB-BD31-4B8C-83A1-F6EECF244321}">
                <p14:modId xmlns:p14="http://schemas.microsoft.com/office/powerpoint/2010/main" val="1246928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12" name="think-cell data - do not delete" hidden="1">
                        <a:extLst>
                          <a:ext uri="{FF2B5EF4-FFF2-40B4-BE49-F238E27FC236}">
                            <a16:creationId xmlns:a16="http://schemas.microsoft.com/office/drawing/2014/main" id="{726CD267-7128-5B30-12A4-CB0D42A218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D84C9D84-906C-FAF2-09EA-B6F532F1854F}"/>
              </a:ext>
            </a:extLst>
          </p:cNvPr>
          <p:cNvPicPr>
            <a:picLocks noChangeAspect="1"/>
          </p:cNvPicPr>
          <p:nvPr/>
        </p:nvPicPr>
        <p:blipFill>
          <a:blip r:embed="rId5"/>
          <a:stretch>
            <a:fillRect/>
          </a:stretch>
        </p:blipFill>
        <p:spPr>
          <a:xfrm>
            <a:off x="8706895" y="693166"/>
            <a:ext cx="1425396" cy="720000"/>
          </a:xfrm>
          <a:prstGeom prst="rect">
            <a:avLst/>
          </a:prstGeom>
        </p:spPr>
      </p:pic>
      <p:sp>
        <p:nvSpPr>
          <p:cNvPr id="70" name="Rectangle 2">
            <a:extLst>
              <a:ext uri="{FF2B5EF4-FFF2-40B4-BE49-F238E27FC236}">
                <a16:creationId xmlns:a16="http://schemas.microsoft.com/office/drawing/2014/main" id="{806B8040-186A-DF35-242B-F6AD41CEFC9B}"/>
              </a:ext>
            </a:extLst>
          </p:cNvPr>
          <p:cNvSpPr/>
          <p:nvPr/>
        </p:nvSpPr>
        <p:spPr>
          <a:xfrm>
            <a:off x="275673" y="540586"/>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NYC 2.0</a:t>
            </a:r>
          </a:p>
          <a:p>
            <a:r>
              <a:rPr lang="en-US" sz="800" b="1" dirty="0">
                <a:solidFill>
                  <a:schemeClr val="tx1"/>
                </a:solidFill>
                <a:latin typeface="Aptos Narrow"/>
                <a:ea typeface="+mn-lt"/>
                <a:cs typeface="+mn-lt"/>
              </a:rPr>
              <a:t>1203A895</a:t>
            </a:r>
          </a:p>
          <a:p>
            <a:r>
              <a:rPr lang="en-US" sz="800" dirty="0">
                <a:solidFill>
                  <a:schemeClr val="tx1"/>
                </a:solidFill>
                <a:latin typeface="Aptos Narrow"/>
                <a:ea typeface="+mn-lt"/>
                <a:cs typeface="+mn-lt"/>
              </a:rPr>
              <a:t>NEW</a:t>
            </a:r>
          </a:p>
          <a:p>
            <a:r>
              <a:rPr lang="en-US" sz="800" dirty="0">
                <a:solidFill>
                  <a:schemeClr val="tx1"/>
                </a:solidFill>
                <a:latin typeface="Aptos Narrow"/>
                <a:ea typeface="+mn-lt"/>
                <a:cs typeface="+mn-lt"/>
              </a:rPr>
              <a:t>UNI</a:t>
            </a:r>
          </a:p>
          <a:p>
            <a:r>
              <a:rPr lang="en-US" sz="800" dirty="0">
                <a:solidFill>
                  <a:schemeClr val="tx1"/>
                </a:solidFill>
                <a:latin typeface="Aptos Narrow"/>
                <a:ea typeface="+mn-lt"/>
                <a:cs typeface="+mn-lt"/>
              </a:rPr>
              <a:t>BASE (SUEDE)</a:t>
            </a:r>
          </a:p>
          <a:p>
            <a:r>
              <a:rPr lang="en-US" sz="800" dirty="0">
                <a:solidFill>
                  <a:schemeClr val="tx1"/>
                </a:solidFill>
                <a:latin typeface="Aptos Narrow"/>
                <a:ea typeface="+mn-lt"/>
                <a:cs typeface="+mn-lt"/>
              </a:rPr>
              <a:t>€155</a:t>
            </a:r>
          </a:p>
          <a:p>
            <a:endParaRPr lang="en-US" sz="800" dirty="0">
              <a:solidFill>
                <a:schemeClr val="tx1"/>
              </a:solidFill>
              <a:latin typeface="Aptos Narrow"/>
            </a:endParaRPr>
          </a:p>
        </p:txBody>
      </p:sp>
      <p:sp>
        <p:nvSpPr>
          <p:cNvPr id="10" name="正方形/長方形 9">
            <a:extLst>
              <a:ext uri="{FF2B5EF4-FFF2-40B4-BE49-F238E27FC236}">
                <a16:creationId xmlns:a16="http://schemas.microsoft.com/office/drawing/2014/main" id="{4AC399DE-D4E4-C4AF-59E7-215433152576}"/>
              </a:ext>
            </a:extLst>
          </p:cNvPr>
          <p:cNvSpPr/>
          <p:nvPr/>
        </p:nvSpPr>
        <p:spPr>
          <a:xfrm rot="16200000">
            <a:off x="-1376785" y="5120855"/>
            <a:ext cx="3116168" cy="184797"/>
          </a:xfrm>
          <a:prstGeom prst="rect">
            <a:avLst/>
          </a:prstGeom>
          <a:solidFill>
            <a:srgbClr val="F2EEDE"/>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solidFill>
                  <a:schemeClr val="tx1"/>
                </a:solidFill>
                <a:latin typeface="Aptos" panose="020B0004020202020204" pitchFamily="34" charset="0"/>
              </a:rPr>
              <a:t>PLATINUM [KA]</a:t>
            </a:r>
            <a:endParaRPr kumimoji="1" lang="ja-JP" altLang="en-US" sz="800">
              <a:solidFill>
                <a:schemeClr val="tx1"/>
              </a:solidFill>
              <a:latin typeface="Aptos" panose="020B0004020202020204" pitchFamily="34" charset="0"/>
            </a:endParaRPr>
          </a:p>
        </p:txBody>
      </p:sp>
      <p:sp>
        <p:nvSpPr>
          <p:cNvPr id="4" name="タイトル 5">
            <a:extLst>
              <a:ext uri="{FF2B5EF4-FFF2-40B4-BE49-F238E27FC236}">
                <a16:creationId xmlns:a16="http://schemas.microsoft.com/office/drawing/2014/main" id="{64D6E25E-DE9E-333F-FF8C-2A8818ECEF96}"/>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r>
              <a:rPr lang="en-US" altLang="ja-JP">
                <a:latin typeface="Aptos"/>
                <a:cs typeface="Calibri"/>
              </a:rPr>
              <a:t>GEL-</a:t>
            </a:r>
            <a:r>
              <a:rPr lang="en-US" altLang="ja-JP" err="1">
                <a:latin typeface="Aptos"/>
                <a:cs typeface="Calibri"/>
              </a:rPr>
              <a:t>nyc</a:t>
            </a:r>
            <a:r>
              <a:rPr lang="en-US" altLang="ja-JP">
                <a:latin typeface="Aptos"/>
                <a:cs typeface="Calibri"/>
              </a:rPr>
              <a:t> 2.0</a:t>
            </a:r>
            <a:endParaRPr lang="ja-JP" altLang="en-US"/>
          </a:p>
        </p:txBody>
      </p:sp>
      <p:pic>
        <p:nvPicPr>
          <p:cNvPr id="14" name="Picture 13">
            <a:extLst>
              <a:ext uri="{FF2B5EF4-FFF2-40B4-BE49-F238E27FC236}">
                <a16:creationId xmlns:a16="http://schemas.microsoft.com/office/drawing/2014/main" id="{0C34B69A-FAC6-DF8C-BB6F-9E0B18ABBCCB}"/>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8761837" y="1497587"/>
            <a:ext cx="1425396" cy="720000"/>
          </a:xfrm>
          <a:prstGeom prst="rect">
            <a:avLst/>
          </a:prstGeom>
        </p:spPr>
      </p:pic>
      <p:pic>
        <p:nvPicPr>
          <p:cNvPr id="17" name="Picture 16">
            <a:extLst>
              <a:ext uri="{FF2B5EF4-FFF2-40B4-BE49-F238E27FC236}">
                <a16:creationId xmlns:a16="http://schemas.microsoft.com/office/drawing/2014/main" id="{4129D989-1CA6-824E-564B-FD7C052B75D3}"/>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6901020" y="704686"/>
            <a:ext cx="1420856" cy="720000"/>
          </a:xfrm>
          <a:prstGeom prst="rect">
            <a:avLst/>
          </a:prstGeom>
        </p:spPr>
      </p:pic>
      <p:pic>
        <p:nvPicPr>
          <p:cNvPr id="19" name="Picture 18">
            <a:extLst>
              <a:ext uri="{FF2B5EF4-FFF2-40B4-BE49-F238E27FC236}">
                <a16:creationId xmlns:a16="http://schemas.microsoft.com/office/drawing/2014/main" id="{8C896AF3-C322-9331-822E-D1466C623FBB}"/>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6925376" y="1479587"/>
            <a:ext cx="1468404" cy="756000"/>
          </a:xfrm>
          <a:prstGeom prst="rect">
            <a:avLst/>
          </a:prstGeom>
        </p:spPr>
      </p:pic>
      <p:pic>
        <p:nvPicPr>
          <p:cNvPr id="29" name="Picture 28">
            <a:extLst>
              <a:ext uri="{FF2B5EF4-FFF2-40B4-BE49-F238E27FC236}">
                <a16:creationId xmlns:a16="http://schemas.microsoft.com/office/drawing/2014/main" id="{B1D815C1-3321-DC55-4425-A26A0D35D9AD}"/>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6914429" y="2308402"/>
            <a:ext cx="1420031" cy="720000"/>
          </a:xfrm>
          <a:prstGeom prst="rect">
            <a:avLst/>
          </a:prstGeom>
        </p:spPr>
      </p:pic>
      <p:sp>
        <p:nvSpPr>
          <p:cNvPr id="59" name="正方形/長方形 9">
            <a:extLst>
              <a:ext uri="{FF2B5EF4-FFF2-40B4-BE49-F238E27FC236}">
                <a16:creationId xmlns:a16="http://schemas.microsoft.com/office/drawing/2014/main" id="{461BB04D-9EBC-2D02-A024-A27E6DB8E20A}"/>
              </a:ext>
            </a:extLst>
          </p:cNvPr>
          <p:cNvSpPr/>
          <p:nvPr/>
        </p:nvSpPr>
        <p:spPr>
          <a:xfrm rot="16200000">
            <a:off x="-2929190" y="3560023"/>
            <a:ext cx="6221304" cy="184815"/>
          </a:xfrm>
          <a:prstGeom prst="rect">
            <a:avLst/>
          </a:prstGeom>
          <a:solidFill>
            <a:srgbClr val="F2EEDE"/>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solidFill>
                  <a:schemeClr val="tx1"/>
                </a:solidFill>
                <a:latin typeface="Aptos" panose="020B0004020202020204" pitchFamily="34" charset="0"/>
              </a:rPr>
              <a:t>PLATINUM</a:t>
            </a:r>
            <a:endParaRPr kumimoji="1" lang="ja-JP" altLang="en-US" sz="800">
              <a:solidFill>
                <a:schemeClr val="tx1"/>
              </a:solidFill>
              <a:latin typeface="Aptos" panose="020B0004020202020204" pitchFamily="34" charset="0"/>
            </a:endParaRPr>
          </a:p>
        </p:txBody>
      </p:sp>
      <p:sp>
        <p:nvSpPr>
          <p:cNvPr id="6" name="テキスト ボックス 5">
            <a:extLst>
              <a:ext uri="{FF2B5EF4-FFF2-40B4-BE49-F238E27FC236}">
                <a16:creationId xmlns:a16="http://schemas.microsoft.com/office/drawing/2014/main" id="{C8D93D88-947E-2A24-E62D-5CF0AA007F20}"/>
              </a:ext>
            </a:extLst>
          </p:cNvPr>
          <p:cNvSpPr txBox="1"/>
          <p:nvPr/>
        </p:nvSpPr>
        <p:spPr>
          <a:xfrm>
            <a:off x="6901785" y="693166"/>
            <a:ext cx="357790" cy="230832"/>
          </a:xfrm>
          <a:prstGeom prst="rect">
            <a:avLst/>
          </a:prstGeom>
          <a:noFill/>
        </p:spPr>
        <p:txBody>
          <a:bodyPr wrap="none" rtlCol="0">
            <a:spAutoFit/>
          </a:bodyPr>
          <a:lstStyle/>
          <a:p>
            <a:r>
              <a:rPr kumimoji="1" lang="en-US" altLang="ja-JP" sz="900">
                <a:latin typeface="Aptos Narrow" panose="020B0004020202020204" pitchFamily="34" charset="0"/>
                <a:ea typeface="Calibri" panose="020F0502020204030204" pitchFamily="34" charset="0"/>
                <a:cs typeface="Calibri" panose="020F0502020204030204" pitchFamily="34" charset="0"/>
              </a:rPr>
              <a:t>021</a:t>
            </a:r>
            <a:endParaRPr kumimoji="1" lang="ja-JP" altLang="en-US" sz="900">
              <a:latin typeface="Aptos Narrow" panose="020B0004020202020204" pitchFamily="34" charset="0"/>
              <a:cs typeface="Calibri" panose="020F0502020204030204" pitchFamily="34" charset="0"/>
            </a:endParaRPr>
          </a:p>
        </p:txBody>
      </p:sp>
      <p:sp>
        <p:nvSpPr>
          <p:cNvPr id="7" name="テキスト ボックス 6">
            <a:extLst>
              <a:ext uri="{FF2B5EF4-FFF2-40B4-BE49-F238E27FC236}">
                <a16:creationId xmlns:a16="http://schemas.microsoft.com/office/drawing/2014/main" id="{E8F83FE1-6FE7-9ED4-F856-8E503BB0BD84}"/>
              </a:ext>
            </a:extLst>
          </p:cNvPr>
          <p:cNvSpPr txBox="1"/>
          <p:nvPr/>
        </p:nvSpPr>
        <p:spPr>
          <a:xfrm>
            <a:off x="6901785" y="1479587"/>
            <a:ext cx="357790" cy="230832"/>
          </a:xfrm>
          <a:prstGeom prst="rect">
            <a:avLst/>
          </a:prstGeom>
          <a:noFill/>
        </p:spPr>
        <p:txBody>
          <a:bodyPr wrap="none" rtlCol="0">
            <a:spAutoFit/>
          </a:bodyPr>
          <a:lstStyle/>
          <a:p>
            <a:r>
              <a:rPr kumimoji="1" lang="en-US" altLang="ja-JP" sz="900">
                <a:latin typeface="Aptos Narrow" panose="020B0004020202020204" pitchFamily="34" charset="0"/>
                <a:ea typeface="Calibri" panose="020F0502020204030204" pitchFamily="34" charset="0"/>
                <a:cs typeface="Calibri" panose="020F0502020204030204" pitchFamily="34" charset="0"/>
              </a:rPr>
              <a:t>022</a:t>
            </a:r>
            <a:endParaRPr kumimoji="1" lang="ja-JP" altLang="en-US" sz="900">
              <a:latin typeface="Aptos Narrow" panose="020B0004020202020204" pitchFamily="34" charset="0"/>
              <a:cs typeface="Calibri" panose="020F0502020204030204" pitchFamily="34" charset="0"/>
            </a:endParaRPr>
          </a:p>
        </p:txBody>
      </p:sp>
      <p:sp>
        <p:nvSpPr>
          <p:cNvPr id="8" name="テキスト ボックス 7">
            <a:extLst>
              <a:ext uri="{FF2B5EF4-FFF2-40B4-BE49-F238E27FC236}">
                <a16:creationId xmlns:a16="http://schemas.microsoft.com/office/drawing/2014/main" id="{09E32BF5-8C35-337F-4716-838728528483}"/>
              </a:ext>
            </a:extLst>
          </p:cNvPr>
          <p:cNvSpPr txBox="1"/>
          <p:nvPr/>
        </p:nvSpPr>
        <p:spPr>
          <a:xfrm>
            <a:off x="6904527" y="2308402"/>
            <a:ext cx="357790" cy="230832"/>
          </a:xfrm>
          <a:prstGeom prst="rect">
            <a:avLst/>
          </a:prstGeom>
          <a:noFill/>
        </p:spPr>
        <p:txBody>
          <a:bodyPr wrap="none" rtlCol="0">
            <a:spAutoFit/>
          </a:bodyPr>
          <a:lstStyle/>
          <a:p>
            <a:r>
              <a:rPr kumimoji="1" lang="en-US" altLang="ja-JP" sz="900">
                <a:latin typeface="Aptos Narrow" panose="020B0004020202020204" pitchFamily="34" charset="0"/>
                <a:ea typeface="Calibri" panose="020F0502020204030204" pitchFamily="34" charset="0"/>
                <a:cs typeface="Calibri" panose="020F0502020204030204" pitchFamily="34" charset="0"/>
              </a:rPr>
              <a:t>101</a:t>
            </a:r>
            <a:endParaRPr kumimoji="1" lang="ja-JP" altLang="en-US" sz="900">
              <a:latin typeface="Aptos Narrow" panose="020B0004020202020204" pitchFamily="34" charset="0"/>
              <a:cs typeface="Calibri" panose="020F0502020204030204" pitchFamily="34" charset="0"/>
            </a:endParaRPr>
          </a:p>
        </p:txBody>
      </p:sp>
      <p:sp>
        <p:nvSpPr>
          <p:cNvPr id="9" name="テキスト ボックス 8">
            <a:extLst>
              <a:ext uri="{FF2B5EF4-FFF2-40B4-BE49-F238E27FC236}">
                <a16:creationId xmlns:a16="http://schemas.microsoft.com/office/drawing/2014/main" id="{EB18AF9C-B3B8-520F-7500-E60AFB0862E9}"/>
              </a:ext>
            </a:extLst>
          </p:cNvPr>
          <p:cNvSpPr txBox="1"/>
          <p:nvPr/>
        </p:nvSpPr>
        <p:spPr>
          <a:xfrm>
            <a:off x="8698325" y="662783"/>
            <a:ext cx="357790" cy="230832"/>
          </a:xfrm>
          <a:prstGeom prst="rect">
            <a:avLst/>
          </a:prstGeom>
          <a:noFill/>
        </p:spPr>
        <p:txBody>
          <a:bodyPr wrap="none" rtlCol="0">
            <a:spAutoFit/>
          </a:bodyPr>
          <a:lstStyle/>
          <a:p>
            <a:r>
              <a:rPr kumimoji="1" lang="en-US" altLang="ja-JP" sz="900">
                <a:latin typeface="Aptos Narrow" panose="020B0004020202020204" pitchFamily="34" charset="0"/>
                <a:ea typeface="Calibri" panose="020F0502020204030204" pitchFamily="34" charset="0"/>
                <a:cs typeface="Calibri" panose="020F0502020204030204" pitchFamily="34" charset="0"/>
              </a:rPr>
              <a:t>100</a:t>
            </a:r>
            <a:endParaRPr kumimoji="1" lang="ja-JP" altLang="en-US" sz="900">
              <a:latin typeface="Aptos Narrow" panose="020B0004020202020204" pitchFamily="34" charset="0"/>
              <a:cs typeface="Calibri" panose="020F0502020204030204" pitchFamily="34" charset="0"/>
            </a:endParaRPr>
          </a:p>
        </p:txBody>
      </p:sp>
      <p:sp>
        <p:nvSpPr>
          <p:cNvPr id="11" name="テキスト ボックス 10">
            <a:extLst>
              <a:ext uri="{FF2B5EF4-FFF2-40B4-BE49-F238E27FC236}">
                <a16:creationId xmlns:a16="http://schemas.microsoft.com/office/drawing/2014/main" id="{41B41A84-D25E-23EA-5C52-A810058D7319}"/>
              </a:ext>
            </a:extLst>
          </p:cNvPr>
          <p:cNvSpPr txBox="1"/>
          <p:nvPr/>
        </p:nvSpPr>
        <p:spPr>
          <a:xfrm>
            <a:off x="8761837" y="1443549"/>
            <a:ext cx="357790" cy="230832"/>
          </a:xfrm>
          <a:prstGeom prst="rect">
            <a:avLst/>
          </a:prstGeom>
          <a:noFill/>
        </p:spPr>
        <p:txBody>
          <a:bodyPr wrap="none" rtlCol="0">
            <a:spAutoFit/>
          </a:bodyPr>
          <a:lstStyle/>
          <a:p>
            <a:r>
              <a:rPr kumimoji="1" lang="en-US" altLang="ja-JP" sz="900" dirty="0">
                <a:latin typeface="Aptos Narrow" panose="020B0004020202020204" pitchFamily="34" charset="0"/>
                <a:ea typeface="Calibri" panose="020F0502020204030204" pitchFamily="34" charset="0"/>
                <a:cs typeface="Calibri" panose="020F0502020204030204" pitchFamily="34" charset="0"/>
              </a:rPr>
              <a:t>102</a:t>
            </a:r>
            <a:endParaRPr kumimoji="1" lang="ja-JP" altLang="en-US" sz="900" dirty="0">
              <a:latin typeface="Aptos Narrow" panose="020B0004020202020204" pitchFamily="34" charset="0"/>
              <a:cs typeface="Calibri" panose="020F0502020204030204" pitchFamily="34" charset="0"/>
            </a:endParaRPr>
          </a:p>
        </p:txBody>
      </p:sp>
    </p:spTree>
    <p:extLst>
      <p:ext uri="{BB962C8B-B14F-4D97-AF65-F5344CB8AC3E}">
        <p14:creationId xmlns:p14="http://schemas.microsoft.com/office/powerpoint/2010/main" val="39078430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1380E02-328E-A946-81B2-6BCACBC5F3FF}"/>
              </a:ext>
            </a:extLst>
          </p:cNvPr>
          <p:cNvGraphicFramePr>
            <a:graphicFrameLocks noChangeAspect="1"/>
          </p:cNvGraphicFramePr>
          <p:nvPr>
            <p:custDataLst>
              <p:tags r:id="rId1"/>
            </p:custDataLst>
            <p:extLst>
              <p:ext uri="{D42A27DB-BD31-4B8C-83A1-F6EECF244321}">
                <p14:modId xmlns:p14="http://schemas.microsoft.com/office/powerpoint/2010/main" val="334078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5" name="think-cell data - do not delete" hidden="1">
                        <a:extLst>
                          <a:ext uri="{FF2B5EF4-FFF2-40B4-BE49-F238E27FC236}">
                            <a16:creationId xmlns:a16="http://schemas.microsoft.com/office/drawing/2014/main" id="{C1380E02-328E-A946-81B2-6BCACBC5F3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4" name="Picture 33">
            <a:extLst>
              <a:ext uri="{FF2B5EF4-FFF2-40B4-BE49-F238E27FC236}">
                <a16:creationId xmlns:a16="http://schemas.microsoft.com/office/drawing/2014/main" id="{647EE89C-6573-8030-2A5C-323A863D18A5}"/>
              </a:ext>
            </a:extLst>
          </p:cNvPr>
          <p:cNvPicPr>
            <a:picLocks noChangeAspect="1"/>
          </p:cNvPicPr>
          <p:nvPr/>
        </p:nvPicPr>
        <p:blipFill>
          <a:blip r:embed="rId5"/>
          <a:stretch>
            <a:fillRect/>
          </a:stretch>
        </p:blipFill>
        <p:spPr>
          <a:xfrm>
            <a:off x="3338745" y="3161485"/>
            <a:ext cx="1532480" cy="731520"/>
          </a:xfrm>
          <a:prstGeom prst="rect">
            <a:avLst/>
          </a:prstGeom>
        </p:spPr>
      </p:pic>
      <p:pic>
        <p:nvPicPr>
          <p:cNvPr id="33" name="Picture 32">
            <a:extLst>
              <a:ext uri="{FF2B5EF4-FFF2-40B4-BE49-F238E27FC236}">
                <a16:creationId xmlns:a16="http://schemas.microsoft.com/office/drawing/2014/main" id="{6B35B0DF-D346-C9CD-7B7A-83BAAC118544}"/>
              </a:ext>
            </a:extLst>
          </p:cNvPr>
          <p:cNvPicPr>
            <a:picLocks noChangeAspect="1"/>
          </p:cNvPicPr>
          <p:nvPr/>
        </p:nvPicPr>
        <p:blipFill>
          <a:blip r:embed="rId6"/>
          <a:stretch>
            <a:fillRect/>
          </a:stretch>
        </p:blipFill>
        <p:spPr>
          <a:xfrm>
            <a:off x="3346810" y="2341068"/>
            <a:ext cx="1502960" cy="731520"/>
          </a:xfrm>
          <a:prstGeom prst="rect">
            <a:avLst/>
          </a:prstGeom>
        </p:spPr>
      </p:pic>
      <p:pic>
        <p:nvPicPr>
          <p:cNvPr id="8" name="Picture 7">
            <a:extLst>
              <a:ext uri="{FF2B5EF4-FFF2-40B4-BE49-F238E27FC236}">
                <a16:creationId xmlns:a16="http://schemas.microsoft.com/office/drawing/2014/main" id="{E51A186D-CC39-F4F4-9699-40C254F98EE6}"/>
              </a:ext>
            </a:extLst>
          </p:cNvPr>
          <p:cNvPicPr>
            <a:picLocks noChangeAspect="1"/>
          </p:cNvPicPr>
          <p:nvPr/>
        </p:nvPicPr>
        <p:blipFill>
          <a:blip r:embed="rId7"/>
          <a:stretch>
            <a:fillRect/>
          </a:stretch>
        </p:blipFill>
        <p:spPr>
          <a:xfrm>
            <a:off x="1520450" y="1480397"/>
            <a:ext cx="1563184" cy="731520"/>
          </a:xfrm>
          <a:prstGeom prst="rect">
            <a:avLst/>
          </a:prstGeom>
        </p:spPr>
      </p:pic>
      <p:pic>
        <p:nvPicPr>
          <p:cNvPr id="7" name="Picture 6">
            <a:extLst>
              <a:ext uri="{FF2B5EF4-FFF2-40B4-BE49-F238E27FC236}">
                <a16:creationId xmlns:a16="http://schemas.microsoft.com/office/drawing/2014/main" id="{2CB26609-5027-01D4-7808-7996518B14DB}"/>
              </a:ext>
            </a:extLst>
          </p:cNvPr>
          <p:cNvPicPr>
            <a:picLocks noChangeAspect="1"/>
          </p:cNvPicPr>
          <p:nvPr/>
        </p:nvPicPr>
        <p:blipFill>
          <a:blip r:embed="rId8"/>
          <a:stretch>
            <a:fillRect/>
          </a:stretch>
        </p:blipFill>
        <p:spPr>
          <a:xfrm>
            <a:off x="1559128" y="4109795"/>
            <a:ext cx="1481560" cy="731520"/>
          </a:xfrm>
          <a:prstGeom prst="rect">
            <a:avLst/>
          </a:prstGeom>
        </p:spPr>
      </p:pic>
      <p:pic>
        <p:nvPicPr>
          <p:cNvPr id="4" name="Picture 3">
            <a:extLst>
              <a:ext uri="{FF2B5EF4-FFF2-40B4-BE49-F238E27FC236}">
                <a16:creationId xmlns:a16="http://schemas.microsoft.com/office/drawing/2014/main" id="{F9AD1530-7174-8E57-5B3A-7CCCEAEFBEE0}"/>
              </a:ext>
            </a:extLst>
          </p:cNvPr>
          <p:cNvPicPr>
            <a:picLocks noChangeAspect="1"/>
          </p:cNvPicPr>
          <p:nvPr/>
        </p:nvPicPr>
        <p:blipFill>
          <a:blip r:embed="rId9"/>
          <a:stretch>
            <a:fillRect/>
          </a:stretch>
        </p:blipFill>
        <p:spPr>
          <a:xfrm>
            <a:off x="1542067" y="4969884"/>
            <a:ext cx="1515120" cy="731520"/>
          </a:xfrm>
          <a:prstGeom prst="rect">
            <a:avLst/>
          </a:prstGeom>
        </p:spPr>
      </p:pic>
      <p:sp>
        <p:nvSpPr>
          <p:cNvPr id="26" name="正方形/長方形 25">
            <a:extLst>
              <a:ext uri="{FF2B5EF4-FFF2-40B4-BE49-F238E27FC236}">
                <a16:creationId xmlns:a16="http://schemas.microsoft.com/office/drawing/2014/main" id="{05B73ABE-9428-5623-B315-90B1BADC77F3}"/>
              </a:ext>
            </a:extLst>
          </p:cNvPr>
          <p:cNvSpPr/>
          <p:nvPr/>
        </p:nvSpPr>
        <p:spPr>
          <a:xfrm flipV="1">
            <a:off x="87911" y="2248411"/>
            <a:ext cx="12033402" cy="1732206"/>
          </a:xfrm>
          <a:prstGeom prst="rect">
            <a:avLst/>
          </a:prstGeom>
          <a:no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latin typeface="Aptos" panose="020B0004020202020204" pitchFamily="34" charset="0"/>
            </a:endParaRPr>
          </a:p>
        </p:txBody>
      </p:sp>
      <p:pic>
        <p:nvPicPr>
          <p:cNvPr id="17" name="Picture 5">
            <a:extLst>
              <a:ext uri="{FF2B5EF4-FFF2-40B4-BE49-F238E27FC236}">
                <a16:creationId xmlns:a16="http://schemas.microsoft.com/office/drawing/2014/main" id="{BD2E03E8-110D-BF14-7533-AA361FD59F25}"/>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5156007" y="613939"/>
            <a:ext cx="1537512" cy="731520"/>
          </a:xfrm>
          <a:prstGeom prst="rect">
            <a:avLst/>
          </a:prstGeom>
        </p:spPr>
      </p:pic>
      <p:pic>
        <p:nvPicPr>
          <p:cNvPr id="18" name="Picture 5">
            <a:extLst>
              <a:ext uri="{FF2B5EF4-FFF2-40B4-BE49-F238E27FC236}">
                <a16:creationId xmlns:a16="http://schemas.microsoft.com/office/drawing/2014/main" id="{31D76CC1-5F42-7945-E9BC-9E9C0640A443}"/>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5170504" y="1480397"/>
            <a:ext cx="1505376" cy="731520"/>
          </a:xfrm>
          <a:prstGeom prst="rect">
            <a:avLst/>
          </a:prstGeom>
        </p:spPr>
      </p:pic>
      <p:pic>
        <p:nvPicPr>
          <p:cNvPr id="37" name="Picture 5">
            <a:extLst>
              <a:ext uri="{FF2B5EF4-FFF2-40B4-BE49-F238E27FC236}">
                <a16:creationId xmlns:a16="http://schemas.microsoft.com/office/drawing/2014/main" id="{987B5095-2F9C-945D-126D-A9621F498BB6}"/>
              </a:ext>
            </a:extLst>
          </p:cNvPr>
          <p:cNvPicPr>
            <a:picLocks noChangeAspect="1"/>
          </p:cNvPicPr>
          <p:nvPr/>
        </p:nvPicPr>
        <p:blipFill>
          <a:blip r:embed="rId12" cstate="print">
            <a:extLst>
              <a:ext uri="{28A0092B-C50C-407E-A947-70E740481C1C}">
                <a14:useLocalDpi xmlns:a14="http://schemas.microsoft.com/office/drawing/2010/main" val="0"/>
              </a:ext>
            </a:extLst>
          </a:blip>
          <a:srcRect/>
          <a:stretch/>
        </p:blipFill>
        <p:spPr>
          <a:xfrm>
            <a:off x="6936640" y="1475567"/>
            <a:ext cx="1557976" cy="731520"/>
          </a:xfrm>
          <a:prstGeom prst="rect">
            <a:avLst/>
          </a:prstGeom>
        </p:spPr>
      </p:pic>
      <p:sp>
        <p:nvSpPr>
          <p:cNvPr id="70" name="Rectangle 2">
            <a:extLst>
              <a:ext uri="{FF2B5EF4-FFF2-40B4-BE49-F238E27FC236}">
                <a16:creationId xmlns:a16="http://schemas.microsoft.com/office/drawing/2014/main" id="{806B8040-186A-DF35-242B-F6AD41CEFC9B}"/>
              </a:ext>
            </a:extLst>
          </p:cNvPr>
          <p:cNvSpPr/>
          <p:nvPr/>
        </p:nvSpPr>
        <p:spPr>
          <a:xfrm>
            <a:off x="275673" y="540586"/>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NYC</a:t>
            </a:r>
          </a:p>
          <a:p>
            <a:r>
              <a:rPr lang="en-US" sz="800" b="1" dirty="0">
                <a:solidFill>
                  <a:schemeClr val="tx1"/>
                </a:solidFill>
                <a:latin typeface="Aptos Narrow"/>
                <a:ea typeface="+mn-lt"/>
                <a:cs typeface="+mn-lt"/>
              </a:rPr>
              <a:t>1203A383</a:t>
            </a:r>
          </a:p>
          <a:p>
            <a:r>
              <a:rPr lang="en-US" sz="800" dirty="0">
                <a:solidFill>
                  <a:schemeClr val="tx1"/>
                </a:solidFill>
                <a:latin typeface="Aptos Narrow"/>
                <a:ea typeface="+mn-lt"/>
                <a:cs typeface="+mn-lt"/>
              </a:rPr>
              <a:t>CUD</a:t>
            </a:r>
            <a:endParaRPr lang="en-US" sz="800" dirty="0">
              <a:solidFill>
                <a:srgbClr val="F9F9F9"/>
              </a:solidFill>
              <a:latin typeface="Aptos Narrow"/>
              <a:ea typeface="+mn-lt"/>
              <a:cs typeface="+mn-lt"/>
            </a:endParaRPr>
          </a:p>
          <a:p>
            <a:r>
              <a:rPr lang="en-US" sz="800" dirty="0">
                <a:solidFill>
                  <a:schemeClr val="tx1"/>
                </a:solidFill>
                <a:latin typeface="Aptos Narrow"/>
                <a:ea typeface="+mn-lt"/>
                <a:cs typeface="+mn-lt"/>
              </a:rPr>
              <a:t>UNI</a:t>
            </a:r>
            <a:endParaRPr lang="en-US" sz="800" dirty="0">
              <a:solidFill>
                <a:srgbClr val="F9F9F9"/>
              </a:solidFill>
              <a:latin typeface="Aptos Narrow"/>
              <a:ea typeface="+mn-lt"/>
              <a:cs typeface="+mn-lt"/>
            </a:endParaRPr>
          </a:p>
          <a:p>
            <a:r>
              <a:rPr lang="en-US" sz="800" dirty="0">
                <a:solidFill>
                  <a:schemeClr val="tx1"/>
                </a:solidFill>
                <a:latin typeface="Aptos Narrow"/>
                <a:ea typeface="+mn-lt"/>
                <a:cs typeface="+mn-lt"/>
              </a:rPr>
              <a:t>BASE</a:t>
            </a:r>
          </a:p>
          <a:p>
            <a:r>
              <a:rPr lang="en-US" sz="800" dirty="0">
                <a:solidFill>
                  <a:schemeClr val="tx1"/>
                </a:solidFill>
                <a:latin typeface="Aptos Narrow"/>
                <a:ea typeface="+mn-lt"/>
                <a:cs typeface="+mn-lt"/>
              </a:rPr>
              <a:t>€155</a:t>
            </a:r>
          </a:p>
          <a:p>
            <a:endParaRPr lang="en-US" sz="800" dirty="0">
              <a:latin typeface="Aptos Narrow"/>
            </a:endParaRPr>
          </a:p>
        </p:txBody>
      </p:sp>
      <p:sp>
        <p:nvSpPr>
          <p:cNvPr id="71" name="Rectangle 2">
            <a:extLst>
              <a:ext uri="{FF2B5EF4-FFF2-40B4-BE49-F238E27FC236}">
                <a16:creationId xmlns:a16="http://schemas.microsoft.com/office/drawing/2014/main" id="{2AD15FC7-13C1-7EAF-160A-6AFB645E257B}"/>
              </a:ext>
            </a:extLst>
          </p:cNvPr>
          <p:cNvSpPr/>
          <p:nvPr/>
        </p:nvSpPr>
        <p:spPr>
          <a:xfrm>
            <a:off x="275673" y="2252173"/>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NYC</a:t>
            </a:r>
          </a:p>
          <a:p>
            <a:r>
              <a:rPr lang="en-US" sz="800" b="1" dirty="0">
                <a:solidFill>
                  <a:schemeClr val="tx1"/>
                </a:solidFill>
                <a:latin typeface="Aptos Narrow"/>
                <a:ea typeface="+mn-lt"/>
                <a:cs typeface="+mn-lt"/>
              </a:rPr>
              <a:t>1203A739</a:t>
            </a:r>
          </a:p>
          <a:p>
            <a:r>
              <a:rPr lang="en-US" sz="800" dirty="0">
                <a:solidFill>
                  <a:schemeClr val="tx1"/>
                </a:solidFill>
                <a:latin typeface="Aptos Narrow"/>
                <a:ea typeface="+mn-lt"/>
                <a:cs typeface="+mn-lt"/>
              </a:rPr>
              <a:t>CUD</a:t>
            </a:r>
          </a:p>
          <a:p>
            <a:r>
              <a:rPr lang="en-US" sz="800" dirty="0">
                <a:solidFill>
                  <a:schemeClr val="tx1"/>
                </a:solidFill>
                <a:latin typeface="Aptos Narrow"/>
                <a:ea typeface="+mn-lt"/>
                <a:cs typeface="+mn-lt"/>
              </a:rPr>
              <a:t>UNI</a:t>
            </a:r>
          </a:p>
          <a:p>
            <a:r>
              <a:rPr lang="en-US" sz="800" dirty="0">
                <a:solidFill>
                  <a:schemeClr val="tx1"/>
                </a:solidFill>
                <a:latin typeface="Aptos Narrow"/>
                <a:ea typeface="+mn-lt"/>
                <a:cs typeface="+mn-lt"/>
              </a:rPr>
              <a:t>CLOSE MESH</a:t>
            </a:r>
          </a:p>
          <a:p>
            <a:r>
              <a:rPr lang="en-US" sz="800" dirty="0">
                <a:solidFill>
                  <a:schemeClr val="tx1"/>
                </a:solidFill>
                <a:latin typeface="Aptos Narrow"/>
                <a:ea typeface="+mn-lt"/>
                <a:cs typeface="+mn-lt"/>
              </a:rPr>
              <a:t>€165</a:t>
            </a:r>
          </a:p>
          <a:p>
            <a:endParaRPr lang="en-US" sz="800" dirty="0">
              <a:solidFill>
                <a:schemeClr val="tx1"/>
              </a:solidFill>
              <a:latin typeface="Aptos Narrow"/>
              <a:ea typeface="+mn-lt"/>
              <a:cs typeface="+mn-lt"/>
            </a:endParaRPr>
          </a:p>
        </p:txBody>
      </p:sp>
      <p:sp>
        <p:nvSpPr>
          <p:cNvPr id="72" name="Rectangle 2">
            <a:extLst>
              <a:ext uri="{FF2B5EF4-FFF2-40B4-BE49-F238E27FC236}">
                <a16:creationId xmlns:a16="http://schemas.microsoft.com/office/drawing/2014/main" id="{234DE21D-50CF-DB20-39D6-AED9A2B1BE66}"/>
              </a:ext>
            </a:extLst>
          </p:cNvPr>
          <p:cNvSpPr/>
          <p:nvPr/>
        </p:nvSpPr>
        <p:spPr>
          <a:xfrm>
            <a:off x="275673" y="3982006"/>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NYC</a:t>
            </a:r>
          </a:p>
          <a:p>
            <a:r>
              <a:rPr lang="en-US" sz="800" b="1" dirty="0">
                <a:solidFill>
                  <a:schemeClr val="tx1"/>
                </a:solidFill>
                <a:latin typeface="Aptos Narrow"/>
                <a:ea typeface="+mn-lt"/>
                <a:cs typeface="+mn-lt"/>
              </a:rPr>
              <a:t>1203A280</a:t>
            </a:r>
          </a:p>
          <a:p>
            <a:r>
              <a:rPr lang="en-US" sz="800" dirty="0">
                <a:solidFill>
                  <a:schemeClr val="tx1"/>
                </a:solidFill>
                <a:latin typeface="Aptos Narrow"/>
                <a:ea typeface="+mn-lt"/>
                <a:cs typeface="+mn-lt"/>
              </a:rPr>
              <a:t>CUD</a:t>
            </a:r>
          </a:p>
          <a:p>
            <a:r>
              <a:rPr lang="en-US" sz="800" dirty="0">
                <a:solidFill>
                  <a:schemeClr val="tx1"/>
                </a:solidFill>
                <a:latin typeface="Aptos Narrow"/>
                <a:ea typeface="+mn-lt"/>
                <a:cs typeface="+mn-lt"/>
              </a:rPr>
              <a:t>UNI</a:t>
            </a:r>
          </a:p>
          <a:p>
            <a:r>
              <a:rPr lang="en-US" sz="800" dirty="0">
                <a:solidFill>
                  <a:schemeClr val="tx1"/>
                </a:solidFill>
                <a:latin typeface="Aptos Narrow"/>
                <a:ea typeface="+mn-lt"/>
                <a:cs typeface="+mn-lt"/>
              </a:rPr>
              <a:t>LEATHER/MESH</a:t>
            </a:r>
          </a:p>
          <a:p>
            <a:r>
              <a:rPr lang="en-US" sz="800" dirty="0">
                <a:solidFill>
                  <a:schemeClr val="tx1"/>
                </a:solidFill>
                <a:latin typeface="Aptos Narrow"/>
                <a:ea typeface="+mn-lt"/>
                <a:cs typeface="+mn-lt"/>
              </a:rPr>
              <a:t>€165</a:t>
            </a:r>
          </a:p>
          <a:p>
            <a:endParaRPr lang="en-US" sz="800" dirty="0">
              <a:solidFill>
                <a:schemeClr val="tx1"/>
              </a:solidFill>
              <a:latin typeface="Aptos Narrow"/>
              <a:ea typeface="+mn-lt"/>
              <a:cs typeface="+mn-lt"/>
            </a:endParaRPr>
          </a:p>
        </p:txBody>
      </p:sp>
      <p:sp>
        <p:nvSpPr>
          <p:cNvPr id="10" name="正方形/長方形 9">
            <a:extLst>
              <a:ext uri="{FF2B5EF4-FFF2-40B4-BE49-F238E27FC236}">
                <a16:creationId xmlns:a16="http://schemas.microsoft.com/office/drawing/2014/main" id="{4AC399DE-D4E4-C4AF-59E7-215433152576}"/>
              </a:ext>
            </a:extLst>
          </p:cNvPr>
          <p:cNvSpPr/>
          <p:nvPr/>
        </p:nvSpPr>
        <p:spPr>
          <a:xfrm rot="16200000">
            <a:off x="-2934076" y="3563563"/>
            <a:ext cx="6230752" cy="184797"/>
          </a:xfrm>
          <a:prstGeom prst="rect">
            <a:avLst/>
          </a:prstGeom>
          <a:solidFill>
            <a:srgbClr val="F2EEDE"/>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solidFill>
                  <a:schemeClr val="tx1"/>
                </a:solidFill>
                <a:latin typeface="Aptos" panose="020B0004020202020204" pitchFamily="34" charset="0"/>
              </a:rPr>
              <a:t>PLATINUM</a:t>
            </a:r>
            <a:endParaRPr kumimoji="1" lang="ja-JP" altLang="en-US" sz="800">
              <a:solidFill>
                <a:schemeClr val="tx1"/>
              </a:solidFill>
              <a:latin typeface="Aptos" panose="020B0004020202020204" pitchFamily="34" charset="0"/>
            </a:endParaRPr>
          </a:p>
        </p:txBody>
      </p:sp>
      <p:sp>
        <p:nvSpPr>
          <p:cNvPr id="6" name="タイトル 5">
            <a:extLst>
              <a:ext uri="{FF2B5EF4-FFF2-40B4-BE49-F238E27FC236}">
                <a16:creationId xmlns:a16="http://schemas.microsoft.com/office/drawing/2014/main" id="{71DD7162-8BE6-D95D-E3F5-B36021300E3A}"/>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r>
              <a:rPr lang="en-US" altLang="ja-JP">
                <a:latin typeface="Aptos"/>
                <a:cs typeface="Calibri"/>
              </a:rPr>
              <a:t>GEL-</a:t>
            </a:r>
            <a:r>
              <a:rPr lang="en-US" altLang="ja-JP" err="1">
                <a:latin typeface="Aptos"/>
                <a:cs typeface="Calibri"/>
              </a:rPr>
              <a:t>nyc</a:t>
            </a:r>
            <a:r>
              <a:rPr lang="en-US" altLang="ja-JP">
                <a:latin typeface="Aptos"/>
                <a:cs typeface="Calibri"/>
              </a:rPr>
              <a:t> (PAGE 1 OF 2)</a:t>
            </a:r>
            <a:endParaRPr lang="ja-JP" altLang="en-US"/>
          </a:p>
        </p:txBody>
      </p:sp>
      <p:sp>
        <p:nvSpPr>
          <p:cNvPr id="30" name="Rectangle 29">
            <a:extLst>
              <a:ext uri="{FF2B5EF4-FFF2-40B4-BE49-F238E27FC236}">
                <a16:creationId xmlns:a16="http://schemas.microsoft.com/office/drawing/2014/main" id="{03CD7E84-C391-2444-D899-274EE2FAB01F}"/>
              </a:ext>
            </a:extLst>
          </p:cNvPr>
          <p:cNvSpPr/>
          <p:nvPr/>
        </p:nvSpPr>
        <p:spPr>
          <a:xfrm>
            <a:off x="8680430" y="2993348"/>
            <a:ext cx="294088" cy="29889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endParaRPr lang="en-US" sz="3600">
              <a:solidFill>
                <a:schemeClr val="accent4"/>
              </a:solidFill>
              <a:latin typeface="Aptos Narrow" panose="020B0004020202020204" pitchFamily="34" charset="0"/>
            </a:endParaRPr>
          </a:p>
        </p:txBody>
      </p:sp>
      <p:sp>
        <p:nvSpPr>
          <p:cNvPr id="55" name="Rectangle 54">
            <a:extLst>
              <a:ext uri="{FF2B5EF4-FFF2-40B4-BE49-F238E27FC236}">
                <a16:creationId xmlns:a16="http://schemas.microsoft.com/office/drawing/2014/main" id="{0D131863-26B9-884A-6A6A-837AF6001C34}"/>
              </a:ext>
            </a:extLst>
          </p:cNvPr>
          <p:cNvSpPr/>
          <p:nvPr/>
        </p:nvSpPr>
        <p:spPr>
          <a:xfrm>
            <a:off x="6822248" y="1210802"/>
            <a:ext cx="294088" cy="29889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endParaRPr lang="en-US" sz="3600">
              <a:solidFill>
                <a:schemeClr val="accent4"/>
              </a:solidFill>
              <a:latin typeface="Aptos Narrow" panose="020B0004020202020204" pitchFamily="34" charset="0"/>
            </a:endParaRPr>
          </a:p>
        </p:txBody>
      </p:sp>
      <p:pic>
        <p:nvPicPr>
          <p:cNvPr id="35" name="Picture 34">
            <a:extLst>
              <a:ext uri="{FF2B5EF4-FFF2-40B4-BE49-F238E27FC236}">
                <a16:creationId xmlns:a16="http://schemas.microsoft.com/office/drawing/2014/main" id="{8E722B4D-32DC-6242-E142-62D99DDE4A8F}"/>
              </a:ext>
            </a:extLst>
          </p:cNvPr>
          <p:cNvPicPr>
            <a:picLocks noChangeAspect="1"/>
          </p:cNvPicPr>
          <p:nvPr/>
        </p:nvPicPr>
        <p:blipFill>
          <a:blip r:embed="rId13" cstate="print">
            <a:extLst>
              <a:ext uri="{28A0092B-C50C-407E-A947-70E740481C1C}">
                <a14:useLocalDpi xmlns:a14="http://schemas.microsoft.com/office/drawing/2010/main" val="0"/>
              </a:ext>
            </a:extLst>
          </a:blip>
          <a:srcRect/>
          <a:stretch/>
        </p:blipFill>
        <p:spPr>
          <a:xfrm>
            <a:off x="1523504" y="613939"/>
            <a:ext cx="1552808" cy="731520"/>
          </a:xfrm>
          <a:prstGeom prst="rect">
            <a:avLst/>
          </a:prstGeom>
        </p:spPr>
      </p:pic>
      <p:pic>
        <p:nvPicPr>
          <p:cNvPr id="98" name="Picture 97">
            <a:extLst>
              <a:ext uri="{FF2B5EF4-FFF2-40B4-BE49-F238E27FC236}">
                <a16:creationId xmlns:a16="http://schemas.microsoft.com/office/drawing/2014/main" id="{4CE521ED-228E-9631-82A3-330D44EB4978}"/>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p:blipFill>
        <p:spPr>
          <a:xfrm>
            <a:off x="6953584" y="613939"/>
            <a:ext cx="1532480" cy="731520"/>
          </a:xfrm>
          <a:prstGeom prst="rect">
            <a:avLst/>
          </a:prstGeom>
          <a:solidFill>
            <a:schemeClr val="bg1"/>
          </a:solidFill>
          <a:ln>
            <a:noFill/>
          </a:ln>
        </p:spPr>
      </p:pic>
      <p:pic>
        <p:nvPicPr>
          <p:cNvPr id="19" name="Picture 18">
            <a:extLst>
              <a:ext uri="{FF2B5EF4-FFF2-40B4-BE49-F238E27FC236}">
                <a16:creationId xmlns:a16="http://schemas.microsoft.com/office/drawing/2014/main" id="{96C4E6D5-887F-3709-DBB7-D13A16DC38CC}"/>
              </a:ext>
            </a:extLst>
          </p:cNvPr>
          <p:cNvPicPr>
            <a:picLocks noChangeAspect="1"/>
          </p:cNvPicPr>
          <p:nvPr/>
        </p:nvPicPr>
        <p:blipFill>
          <a:blip r:embed="rId15" cstate="print">
            <a:extLst>
              <a:ext uri="{28A0092B-C50C-407E-A947-70E740481C1C}">
                <a14:useLocalDpi xmlns:a14="http://schemas.microsoft.com/office/drawing/2010/main" val="0"/>
              </a:ext>
            </a:extLst>
          </a:blip>
          <a:srcRect/>
          <a:stretch/>
        </p:blipFill>
        <p:spPr>
          <a:xfrm>
            <a:off x="3332050" y="613940"/>
            <a:ext cx="1532480" cy="731520"/>
          </a:xfrm>
          <a:prstGeom prst="rect">
            <a:avLst/>
          </a:prstGeom>
          <a:solidFill>
            <a:schemeClr val="bg1"/>
          </a:solidFill>
          <a:ln>
            <a:noFill/>
          </a:ln>
        </p:spPr>
      </p:pic>
      <p:pic>
        <p:nvPicPr>
          <p:cNvPr id="22" name="Picture 21">
            <a:extLst>
              <a:ext uri="{FF2B5EF4-FFF2-40B4-BE49-F238E27FC236}">
                <a16:creationId xmlns:a16="http://schemas.microsoft.com/office/drawing/2014/main" id="{9927DF5B-8A3B-309E-792A-05958F2C1850}"/>
              </a:ext>
            </a:extLst>
          </p:cNvPr>
          <p:cNvPicPr>
            <a:picLocks noChangeAspect="1"/>
          </p:cNvPicPr>
          <p:nvPr/>
        </p:nvPicPr>
        <p:blipFill>
          <a:blip r:embed="rId16" cstate="print">
            <a:extLst>
              <a:ext uri="{28A0092B-C50C-407E-A947-70E740481C1C}">
                <a14:useLocalDpi xmlns:a14="http://schemas.microsoft.com/office/drawing/2010/main" val="0"/>
              </a:ext>
            </a:extLst>
          </a:blip>
          <a:srcRect/>
          <a:stretch/>
        </p:blipFill>
        <p:spPr>
          <a:xfrm>
            <a:off x="3322290" y="1486244"/>
            <a:ext cx="1527480" cy="731520"/>
          </a:xfrm>
          <a:prstGeom prst="rect">
            <a:avLst/>
          </a:prstGeom>
          <a:solidFill>
            <a:schemeClr val="bg1"/>
          </a:solidFill>
          <a:ln>
            <a:noFill/>
          </a:ln>
        </p:spPr>
      </p:pic>
      <p:sp>
        <p:nvSpPr>
          <p:cNvPr id="9" name="Rectangle 8">
            <a:extLst>
              <a:ext uri="{FF2B5EF4-FFF2-40B4-BE49-F238E27FC236}">
                <a16:creationId xmlns:a16="http://schemas.microsoft.com/office/drawing/2014/main" id="{C317207E-2CBC-4A93-15D1-17EFE729C910}"/>
              </a:ext>
            </a:extLst>
          </p:cNvPr>
          <p:cNvSpPr/>
          <p:nvPr/>
        </p:nvSpPr>
        <p:spPr>
          <a:xfrm>
            <a:off x="6949824" y="1218703"/>
            <a:ext cx="294088" cy="29889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endParaRPr lang="en-US" sz="900">
              <a:solidFill>
                <a:schemeClr val="accent4"/>
              </a:solidFill>
              <a:latin typeface="Aptos Narrow" panose="020B0004020202020204" pitchFamily="34" charset="0"/>
            </a:endParaRPr>
          </a:p>
        </p:txBody>
      </p:sp>
      <p:sp>
        <p:nvSpPr>
          <p:cNvPr id="11" name="テキスト ボックス 8">
            <a:extLst>
              <a:ext uri="{FF2B5EF4-FFF2-40B4-BE49-F238E27FC236}">
                <a16:creationId xmlns:a16="http://schemas.microsoft.com/office/drawing/2014/main" id="{04151D3F-A2E6-68DC-B8A9-894F6C71C661}"/>
              </a:ext>
            </a:extLst>
          </p:cNvPr>
          <p:cNvSpPr txBox="1"/>
          <p:nvPr/>
        </p:nvSpPr>
        <p:spPr>
          <a:xfrm>
            <a:off x="1538696" y="621840"/>
            <a:ext cx="357790" cy="230832"/>
          </a:xfrm>
          <a:prstGeom prst="rect">
            <a:avLst/>
          </a:prstGeom>
          <a:noFill/>
        </p:spPr>
        <p:txBody>
          <a:bodyPr wrap="none" rtlCol="0">
            <a:spAutoFit/>
          </a:bodyPr>
          <a:lstStyle/>
          <a:p>
            <a:r>
              <a:rPr kumimoji="1" lang="en-US" altLang="ja-JP" sz="900">
                <a:latin typeface="Aptos Narrow" panose="020B0004020202020204" pitchFamily="34" charset="0"/>
                <a:ea typeface="Calibri" panose="020F0502020204030204" pitchFamily="34" charset="0"/>
                <a:cs typeface="Calibri" panose="020F0502020204030204" pitchFamily="34" charset="0"/>
              </a:rPr>
              <a:t>404</a:t>
            </a:r>
            <a:endParaRPr kumimoji="1" lang="ja-JP" altLang="en-US" sz="900">
              <a:latin typeface="Aptos Narrow" panose="020B0004020202020204" pitchFamily="34" charset="0"/>
              <a:cs typeface="Calibri" panose="020F0502020204030204" pitchFamily="34" charset="0"/>
            </a:endParaRPr>
          </a:p>
        </p:txBody>
      </p:sp>
      <p:sp>
        <p:nvSpPr>
          <p:cNvPr id="12" name="テキスト ボックス 10">
            <a:extLst>
              <a:ext uri="{FF2B5EF4-FFF2-40B4-BE49-F238E27FC236}">
                <a16:creationId xmlns:a16="http://schemas.microsoft.com/office/drawing/2014/main" id="{E7FD11EA-2C37-D202-20A8-D41CCD704B2F}"/>
              </a:ext>
            </a:extLst>
          </p:cNvPr>
          <p:cNvSpPr txBox="1"/>
          <p:nvPr/>
        </p:nvSpPr>
        <p:spPr>
          <a:xfrm>
            <a:off x="1540830" y="1500774"/>
            <a:ext cx="357790" cy="230832"/>
          </a:xfrm>
          <a:prstGeom prst="rect">
            <a:avLst/>
          </a:prstGeom>
          <a:noFill/>
        </p:spPr>
        <p:txBody>
          <a:bodyPr wrap="none" rtlCol="0">
            <a:spAutoFit/>
          </a:bodyPr>
          <a:lstStyle/>
          <a:p>
            <a:r>
              <a:rPr kumimoji="1" lang="en-US" altLang="ja-JP" sz="900" dirty="0">
                <a:latin typeface="Aptos Narrow" panose="020B0004020202020204" pitchFamily="34" charset="0"/>
                <a:ea typeface="Calibri" panose="020F0502020204030204" pitchFamily="34" charset="0"/>
                <a:cs typeface="Calibri" panose="020F0502020204030204" pitchFamily="34" charset="0"/>
              </a:rPr>
              <a:t>303</a:t>
            </a:r>
            <a:endParaRPr kumimoji="1" lang="ja-JP" altLang="en-US" sz="900" dirty="0">
              <a:latin typeface="Aptos Narrow" panose="020B0004020202020204" pitchFamily="34" charset="0"/>
              <a:cs typeface="Calibri" panose="020F0502020204030204" pitchFamily="34" charset="0"/>
            </a:endParaRPr>
          </a:p>
        </p:txBody>
      </p:sp>
      <p:sp>
        <p:nvSpPr>
          <p:cNvPr id="13" name="テキスト ボックス 11">
            <a:extLst>
              <a:ext uri="{FF2B5EF4-FFF2-40B4-BE49-F238E27FC236}">
                <a16:creationId xmlns:a16="http://schemas.microsoft.com/office/drawing/2014/main" id="{BE0D0205-C60E-336C-C3A0-D6538F44BAEB}"/>
              </a:ext>
            </a:extLst>
          </p:cNvPr>
          <p:cNvSpPr txBox="1"/>
          <p:nvPr/>
        </p:nvSpPr>
        <p:spPr>
          <a:xfrm>
            <a:off x="3338745" y="621840"/>
            <a:ext cx="357790" cy="230832"/>
          </a:xfrm>
          <a:prstGeom prst="rect">
            <a:avLst/>
          </a:prstGeom>
          <a:noFill/>
        </p:spPr>
        <p:txBody>
          <a:bodyPr wrap="none" rtlCol="0">
            <a:spAutoFit/>
          </a:bodyPr>
          <a:lstStyle/>
          <a:p>
            <a:r>
              <a:rPr kumimoji="1" lang="en-US" altLang="ja-JP" sz="900">
                <a:latin typeface="Aptos Narrow" panose="020B0004020202020204" pitchFamily="34" charset="0"/>
                <a:ea typeface="Calibri" panose="020F0502020204030204" pitchFamily="34" charset="0"/>
                <a:cs typeface="Calibri" panose="020F0502020204030204" pitchFamily="34" charset="0"/>
              </a:rPr>
              <a:t>028</a:t>
            </a:r>
            <a:endParaRPr kumimoji="1" lang="ja-JP" altLang="en-US" sz="900">
              <a:latin typeface="Aptos Narrow" panose="020B0004020202020204" pitchFamily="34" charset="0"/>
              <a:cs typeface="Calibri" panose="020F0502020204030204" pitchFamily="34" charset="0"/>
            </a:endParaRPr>
          </a:p>
        </p:txBody>
      </p:sp>
      <p:sp>
        <p:nvSpPr>
          <p:cNvPr id="14" name="テキスト ボックス 12">
            <a:extLst>
              <a:ext uri="{FF2B5EF4-FFF2-40B4-BE49-F238E27FC236}">
                <a16:creationId xmlns:a16="http://schemas.microsoft.com/office/drawing/2014/main" id="{E2F7FC8D-A661-651C-97F6-0BBBDB106F72}"/>
              </a:ext>
            </a:extLst>
          </p:cNvPr>
          <p:cNvSpPr txBox="1"/>
          <p:nvPr/>
        </p:nvSpPr>
        <p:spPr>
          <a:xfrm>
            <a:off x="3326485" y="1492313"/>
            <a:ext cx="357790" cy="230832"/>
          </a:xfrm>
          <a:prstGeom prst="rect">
            <a:avLst/>
          </a:prstGeom>
          <a:noFill/>
        </p:spPr>
        <p:txBody>
          <a:bodyPr wrap="none" rtlCol="0">
            <a:spAutoFit/>
          </a:bodyPr>
          <a:lstStyle/>
          <a:p>
            <a:r>
              <a:rPr kumimoji="1" lang="en-US" altLang="ja-JP" sz="900" dirty="0">
                <a:latin typeface="Aptos Narrow" panose="020B0004020202020204" pitchFamily="34" charset="0"/>
                <a:ea typeface="Calibri" panose="020F0502020204030204" pitchFamily="34" charset="0"/>
                <a:cs typeface="Calibri" panose="020F0502020204030204" pitchFamily="34" charset="0"/>
              </a:rPr>
              <a:t>116</a:t>
            </a:r>
            <a:endParaRPr kumimoji="1" lang="ja-JP" altLang="en-US" sz="900" dirty="0">
              <a:latin typeface="Aptos Narrow" panose="020B0004020202020204" pitchFamily="34" charset="0"/>
              <a:cs typeface="Calibri" panose="020F0502020204030204" pitchFamily="34" charset="0"/>
            </a:endParaRPr>
          </a:p>
        </p:txBody>
      </p:sp>
      <p:sp>
        <p:nvSpPr>
          <p:cNvPr id="15" name="テキスト ボックス 13">
            <a:extLst>
              <a:ext uri="{FF2B5EF4-FFF2-40B4-BE49-F238E27FC236}">
                <a16:creationId xmlns:a16="http://schemas.microsoft.com/office/drawing/2014/main" id="{18CE5FDA-85AF-BBAE-22CD-657D799BFEC3}"/>
              </a:ext>
            </a:extLst>
          </p:cNvPr>
          <p:cNvSpPr txBox="1"/>
          <p:nvPr/>
        </p:nvSpPr>
        <p:spPr>
          <a:xfrm>
            <a:off x="5120210" y="621840"/>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stStyle>
          <a:p>
            <a:r>
              <a:rPr lang="en-US" altLang="ja-JP">
                <a:latin typeface="Aptos Narrow" panose="020B0004020202020204" pitchFamily="34" charset="0"/>
              </a:rPr>
              <a:t>750</a:t>
            </a:r>
            <a:endParaRPr lang="ja-JP" altLang="en-US">
              <a:latin typeface="Aptos Narrow" panose="020B0004020202020204" pitchFamily="34" charset="0"/>
            </a:endParaRPr>
          </a:p>
        </p:txBody>
      </p:sp>
      <p:sp>
        <p:nvSpPr>
          <p:cNvPr id="16" name="テキスト ボックス 14">
            <a:extLst>
              <a:ext uri="{FF2B5EF4-FFF2-40B4-BE49-F238E27FC236}">
                <a16:creationId xmlns:a16="http://schemas.microsoft.com/office/drawing/2014/main" id="{B81717AC-4BDC-E7E2-9A67-812ED559947E}"/>
              </a:ext>
            </a:extLst>
          </p:cNvPr>
          <p:cNvSpPr txBox="1"/>
          <p:nvPr/>
        </p:nvSpPr>
        <p:spPr>
          <a:xfrm>
            <a:off x="5120210" y="1488298"/>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stStyle>
          <a:p>
            <a:r>
              <a:rPr lang="en-US" altLang="ja-JP" dirty="0">
                <a:latin typeface="Aptos Narrow" panose="020B0004020202020204" pitchFamily="34" charset="0"/>
              </a:rPr>
              <a:t>114</a:t>
            </a:r>
            <a:endParaRPr lang="ja-JP" altLang="en-US" dirty="0">
              <a:latin typeface="Aptos Narrow" panose="020B0004020202020204" pitchFamily="34" charset="0"/>
            </a:endParaRPr>
          </a:p>
        </p:txBody>
      </p:sp>
      <p:sp>
        <p:nvSpPr>
          <p:cNvPr id="20" name="テキスト ボックス 15">
            <a:extLst>
              <a:ext uri="{FF2B5EF4-FFF2-40B4-BE49-F238E27FC236}">
                <a16:creationId xmlns:a16="http://schemas.microsoft.com/office/drawing/2014/main" id="{DC49F7DE-BF01-73EC-BA7B-C31200F5C419}"/>
              </a:ext>
            </a:extLst>
          </p:cNvPr>
          <p:cNvSpPr txBox="1"/>
          <p:nvPr/>
        </p:nvSpPr>
        <p:spPr>
          <a:xfrm>
            <a:off x="6912324" y="621840"/>
            <a:ext cx="357790" cy="230832"/>
          </a:xfrm>
          <a:prstGeom prst="rect">
            <a:avLst/>
          </a:prstGeom>
          <a:noFill/>
        </p:spPr>
        <p:txBody>
          <a:bodyPr wrap="none" rtlCol="0">
            <a:spAutoFit/>
          </a:bodyPr>
          <a:lstStyle/>
          <a:p>
            <a:r>
              <a:rPr kumimoji="1" lang="en-US" altLang="ja-JP" sz="900" dirty="0">
                <a:latin typeface="Aptos Narrow" panose="020B0004020202020204" pitchFamily="34" charset="0"/>
                <a:ea typeface="Calibri" panose="020F0502020204030204" pitchFamily="34" charset="0"/>
                <a:cs typeface="Calibri" panose="020F0502020204030204" pitchFamily="34" charset="0"/>
              </a:rPr>
              <a:t>201</a:t>
            </a:r>
            <a:endParaRPr kumimoji="1" lang="ja-JP" altLang="en-US" sz="900" dirty="0">
              <a:latin typeface="Aptos Narrow" panose="020B0004020202020204" pitchFamily="34" charset="0"/>
              <a:cs typeface="Calibri" panose="020F0502020204030204" pitchFamily="34" charset="0"/>
            </a:endParaRPr>
          </a:p>
        </p:txBody>
      </p:sp>
      <p:sp>
        <p:nvSpPr>
          <p:cNvPr id="21" name="テキスト ボックス 19">
            <a:extLst>
              <a:ext uri="{FF2B5EF4-FFF2-40B4-BE49-F238E27FC236}">
                <a16:creationId xmlns:a16="http://schemas.microsoft.com/office/drawing/2014/main" id="{D80DC564-4B7F-5BF1-DEED-5B5EF5E1F3E6}"/>
              </a:ext>
            </a:extLst>
          </p:cNvPr>
          <p:cNvSpPr txBox="1"/>
          <p:nvPr/>
        </p:nvSpPr>
        <p:spPr>
          <a:xfrm>
            <a:off x="6917973" y="1483468"/>
            <a:ext cx="357790" cy="230832"/>
          </a:xfrm>
          <a:prstGeom prst="rect">
            <a:avLst/>
          </a:prstGeom>
          <a:noFill/>
        </p:spPr>
        <p:txBody>
          <a:bodyPr wrap="none" rtlCol="0">
            <a:spAutoFit/>
          </a:bodyPr>
          <a:lstStyle/>
          <a:p>
            <a:r>
              <a:rPr kumimoji="1" lang="en-US" altLang="ja-JP" sz="900" dirty="0">
                <a:latin typeface="Aptos Narrow" panose="020B0004020202020204" pitchFamily="34" charset="0"/>
                <a:ea typeface="Calibri" panose="020F0502020204030204" pitchFamily="34" charset="0"/>
                <a:cs typeface="Calibri" panose="020F0502020204030204" pitchFamily="34" charset="0"/>
              </a:rPr>
              <a:t>113</a:t>
            </a:r>
            <a:endParaRPr kumimoji="1" lang="ja-JP" altLang="en-US" sz="900" dirty="0">
              <a:latin typeface="Aptos Narrow" panose="020B0004020202020204" pitchFamily="34" charset="0"/>
              <a:cs typeface="Calibri" panose="020F0502020204030204" pitchFamily="34" charset="0"/>
            </a:endParaRPr>
          </a:p>
        </p:txBody>
      </p:sp>
      <p:sp>
        <p:nvSpPr>
          <p:cNvPr id="23" name="テキスト ボックス 20">
            <a:extLst>
              <a:ext uri="{FF2B5EF4-FFF2-40B4-BE49-F238E27FC236}">
                <a16:creationId xmlns:a16="http://schemas.microsoft.com/office/drawing/2014/main" id="{36011797-9388-9757-2681-3F3B7353F37A}"/>
              </a:ext>
            </a:extLst>
          </p:cNvPr>
          <p:cNvSpPr txBox="1"/>
          <p:nvPr/>
        </p:nvSpPr>
        <p:spPr>
          <a:xfrm>
            <a:off x="3339790" y="2354124"/>
            <a:ext cx="357790" cy="230832"/>
          </a:xfrm>
          <a:prstGeom prst="rect">
            <a:avLst/>
          </a:prstGeom>
          <a:noFill/>
        </p:spPr>
        <p:txBody>
          <a:bodyPr wrap="none" rtlCol="0">
            <a:spAutoFit/>
          </a:bodyPr>
          <a:lstStyle/>
          <a:p>
            <a:r>
              <a:rPr kumimoji="1" lang="en-US" altLang="ja-JP" sz="900">
                <a:latin typeface="Aptos Narrow" panose="020B0004020202020204" pitchFamily="34" charset="0"/>
                <a:ea typeface="Calibri" panose="020F0502020204030204" pitchFamily="34" charset="0"/>
                <a:cs typeface="Calibri" panose="020F0502020204030204" pitchFamily="34" charset="0"/>
              </a:rPr>
              <a:t>021</a:t>
            </a:r>
            <a:endParaRPr kumimoji="1" lang="ja-JP" altLang="en-US" sz="900">
              <a:latin typeface="Aptos Narrow" panose="020B0004020202020204" pitchFamily="34" charset="0"/>
              <a:cs typeface="Calibri" panose="020F0502020204030204" pitchFamily="34" charset="0"/>
            </a:endParaRPr>
          </a:p>
        </p:txBody>
      </p:sp>
      <p:sp>
        <p:nvSpPr>
          <p:cNvPr id="24" name="テキスト ボックス 22">
            <a:extLst>
              <a:ext uri="{FF2B5EF4-FFF2-40B4-BE49-F238E27FC236}">
                <a16:creationId xmlns:a16="http://schemas.microsoft.com/office/drawing/2014/main" id="{8DEE9329-FD04-2C79-DB86-8A89CFB51D27}"/>
              </a:ext>
            </a:extLst>
          </p:cNvPr>
          <p:cNvSpPr txBox="1"/>
          <p:nvPr/>
        </p:nvSpPr>
        <p:spPr>
          <a:xfrm>
            <a:off x="3346485" y="3127871"/>
            <a:ext cx="357790" cy="230832"/>
          </a:xfrm>
          <a:prstGeom prst="rect">
            <a:avLst/>
          </a:prstGeom>
          <a:noFill/>
        </p:spPr>
        <p:txBody>
          <a:bodyPr wrap="none" rtlCol="0">
            <a:spAutoFit/>
          </a:bodyPr>
          <a:lstStyle/>
          <a:p>
            <a:r>
              <a:rPr kumimoji="1" lang="en-US" altLang="ja-JP" sz="900" dirty="0">
                <a:latin typeface="Aptos Narrow" panose="020B0004020202020204" pitchFamily="34" charset="0"/>
                <a:ea typeface="Calibri" panose="020F0502020204030204" pitchFamily="34" charset="0"/>
                <a:cs typeface="Calibri" panose="020F0502020204030204" pitchFamily="34" charset="0"/>
              </a:rPr>
              <a:t>251</a:t>
            </a:r>
            <a:endParaRPr kumimoji="1" lang="ja-JP" altLang="en-US" sz="900" dirty="0">
              <a:latin typeface="Aptos Narrow" panose="020B0004020202020204" pitchFamily="34" charset="0"/>
              <a:cs typeface="Calibri" panose="020F0502020204030204" pitchFamily="34" charset="0"/>
            </a:endParaRPr>
          </a:p>
        </p:txBody>
      </p:sp>
      <p:sp>
        <p:nvSpPr>
          <p:cNvPr id="29" name="テキスト ボックス 26">
            <a:extLst>
              <a:ext uri="{FF2B5EF4-FFF2-40B4-BE49-F238E27FC236}">
                <a16:creationId xmlns:a16="http://schemas.microsoft.com/office/drawing/2014/main" id="{F53C15DC-36AA-3AED-592E-C466B5EBBF12}"/>
              </a:ext>
            </a:extLst>
          </p:cNvPr>
          <p:cNvSpPr txBox="1"/>
          <p:nvPr/>
        </p:nvSpPr>
        <p:spPr>
          <a:xfrm>
            <a:off x="1538977" y="4085433"/>
            <a:ext cx="357790" cy="230832"/>
          </a:xfrm>
          <a:prstGeom prst="rect">
            <a:avLst/>
          </a:prstGeom>
          <a:noFill/>
        </p:spPr>
        <p:txBody>
          <a:bodyPr wrap="none" rtlCol="0">
            <a:spAutoFit/>
          </a:bodyPr>
          <a:lstStyle/>
          <a:p>
            <a:r>
              <a:rPr kumimoji="1" lang="en-US" altLang="ja-JP" sz="900">
                <a:latin typeface="Aptos Narrow" panose="020B0004020202020204" pitchFamily="34" charset="0"/>
                <a:ea typeface="Calibri" panose="020F0502020204030204" pitchFamily="34" charset="0"/>
                <a:cs typeface="Calibri" panose="020F0502020204030204" pitchFamily="34" charset="0"/>
              </a:rPr>
              <a:t>003</a:t>
            </a:r>
            <a:endParaRPr kumimoji="1" lang="ja-JP" altLang="en-US" sz="900">
              <a:latin typeface="Aptos Narrow" panose="020B0004020202020204" pitchFamily="34" charset="0"/>
              <a:cs typeface="Calibri" panose="020F0502020204030204" pitchFamily="34" charset="0"/>
            </a:endParaRPr>
          </a:p>
        </p:txBody>
      </p:sp>
      <p:sp>
        <p:nvSpPr>
          <p:cNvPr id="31" name="テキスト ボックス 28">
            <a:extLst>
              <a:ext uri="{FF2B5EF4-FFF2-40B4-BE49-F238E27FC236}">
                <a16:creationId xmlns:a16="http://schemas.microsoft.com/office/drawing/2014/main" id="{EAC492B6-6549-79E5-B111-E17F322182CC}"/>
              </a:ext>
            </a:extLst>
          </p:cNvPr>
          <p:cNvSpPr txBox="1"/>
          <p:nvPr/>
        </p:nvSpPr>
        <p:spPr>
          <a:xfrm>
            <a:off x="1538696" y="4975041"/>
            <a:ext cx="357790" cy="230832"/>
          </a:xfrm>
          <a:prstGeom prst="rect">
            <a:avLst/>
          </a:prstGeom>
          <a:noFill/>
        </p:spPr>
        <p:txBody>
          <a:bodyPr wrap="none" rtlCol="0">
            <a:spAutoFit/>
          </a:bodyPr>
          <a:lstStyle/>
          <a:p>
            <a:r>
              <a:rPr kumimoji="1" lang="en-US" altLang="ja-JP" sz="900" dirty="0">
                <a:latin typeface="Aptos Narrow" panose="020B0004020202020204" pitchFamily="34" charset="0"/>
                <a:ea typeface="Calibri" panose="020F0502020204030204" pitchFamily="34" charset="0"/>
                <a:cs typeface="Calibri" panose="020F0502020204030204" pitchFamily="34" charset="0"/>
              </a:rPr>
              <a:t>021</a:t>
            </a:r>
            <a:endParaRPr kumimoji="1" lang="ja-JP" altLang="en-US" sz="900" dirty="0">
              <a:latin typeface="Aptos Narrow" panose="020B0004020202020204" pitchFamily="34" charset="0"/>
              <a:cs typeface="Calibri" panose="020F0502020204030204" pitchFamily="34" charset="0"/>
            </a:endParaRPr>
          </a:p>
        </p:txBody>
      </p:sp>
      <p:pic>
        <p:nvPicPr>
          <p:cNvPr id="2" name="Picture 5">
            <a:extLst>
              <a:ext uri="{FF2B5EF4-FFF2-40B4-BE49-F238E27FC236}">
                <a16:creationId xmlns:a16="http://schemas.microsoft.com/office/drawing/2014/main" id="{595DF562-D8C2-8619-6737-6C52844328E6}"/>
              </a:ext>
            </a:extLst>
          </p:cNvPr>
          <p:cNvPicPr>
            <a:picLocks noChangeAspect="1"/>
          </p:cNvPicPr>
          <p:nvPr/>
        </p:nvPicPr>
        <p:blipFill>
          <a:blip r:embed="rId17" cstate="print">
            <a:extLst>
              <a:ext uri="{28A0092B-C50C-407E-A947-70E740481C1C}">
                <a14:useLocalDpi xmlns:a14="http://schemas.microsoft.com/office/drawing/2010/main" val="0"/>
              </a:ext>
            </a:extLst>
          </a:blip>
          <a:srcRect/>
          <a:stretch/>
        </p:blipFill>
        <p:spPr>
          <a:xfrm>
            <a:off x="8741620" y="2476379"/>
            <a:ext cx="1469928" cy="731520"/>
          </a:xfrm>
          <a:prstGeom prst="rect">
            <a:avLst/>
          </a:prstGeom>
        </p:spPr>
      </p:pic>
      <p:pic>
        <p:nvPicPr>
          <p:cNvPr id="3" name="Picture 5">
            <a:extLst>
              <a:ext uri="{FF2B5EF4-FFF2-40B4-BE49-F238E27FC236}">
                <a16:creationId xmlns:a16="http://schemas.microsoft.com/office/drawing/2014/main" id="{7BE50CF0-9ED5-209C-EB25-542E66367743}"/>
              </a:ext>
            </a:extLst>
          </p:cNvPr>
          <p:cNvPicPr>
            <a:picLocks noChangeAspect="1"/>
          </p:cNvPicPr>
          <p:nvPr/>
        </p:nvPicPr>
        <p:blipFill>
          <a:blip r:embed="rId18" cstate="print">
            <a:extLst>
              <a:ext uri="{28A0092B-C50C-407E-A947-70E740481C1C}">
                <a14:useLocalDpi xmlns:a14="http://schemas.microsoft.com/office/drawing/2010/main" val="0"/>
              </a:ext>
            </a:extLst>
          </a:blip>
          <a:srcRect/>
          <a:stretch/>
        </p:blipFill>
        <p:spPr>
          <a:xfrm>
            <a:off x="8741620" y="3188625"/>
            <a:ext cx="1469928" cy="731520"/>
          </a:xfrm>
          <a:prstGeom prst="rect">
            <a:avLst/>
          </a:prstGeom>
        </p:spPr>
      </p:pic>
      <p:sp>
        <p:nvSpPr>
          <p:cNvPr id="25" name="テキスト ボックス 23">
            <a:extLst>
              <a:ext uri="{FF2B5EF4-FFF2-40B4-BE49-F238E27FC236}">
                <a16:creationId xmlns:a16="http://schemas.microsoft.com/office/drawing/2014/main" id="{E918B25A-B7F7-0982-0203-9C2F3EDC7148}"/>
              </a:ext>
            </a:extLst>
          </p:cNvPr>
          <p:cNvSpPr txBox="1"/>
          <p:nvPr/>
        </p:nvSpPr>
        <p:spPr>
          <a:xfrm>
            <a:off x="8701885" y="2430218"/>
            <a:ext cx="357790" cy="230832"/>
          </a:xfrm>
          <a:prstGeom prst="rect">
            <a:avLst/>
          </a:prstGeom>
          <a:noFill/>
        </p:spPr>
        <p:txBody>
          <a:bodyPr wrap="none" rtlCol="0">
            <a:spAutoFit/>
          </a:bodyPr>
          <a:lstStyle/>
          <a:p>
            <a:r>
              <a:rPr kumimoji="1" lang="en-US" altLang="ja-JP" sz="900" dirty="0">
                <a:latin typeface="Aptos Narrow" panose="020B0004020202020204" pitchFamily="34" charset="0"/>
                <a:ea typeface="Calibri" panose="020F0502020204030204" pitchFamily="34" charset="0"/>
                <a:cs typeface="Calibri" panose="020F0502020204030204" pitchFamily="34" charset="0"/>
              </a:rPr>
              <a:t>301</a:t>
            </a:r>
            <a:endParaRPr kumimoji="1" lang="ja-JP" altLang="en-US" sz="900" dirty="0">
              <a:latin typeface="Aptos Narrow" panose="020B0004020202020204" pitchFamily="34" charset="0"/>
              <a:cs typeface="Calibri" panose="020F0502020204030204" pitchFamily="34" charset="0"/>
            </a:endParaRPr>
          </a:p>
        </p:txBody>
      </p:sp>
      <p:sp>
        <p:nvSpPr>
          <p:cNvPr id="27" name="テキスト ボックス 24">
            <a:extLst>
              <a:ext uri="{FF2B5EF4-FFF2-40B4-BE49-F238E27FC236}">
                <a16:creationId xmlns:a16="http://schemas.microsoft.com/office/drawing/2014/main" id="{C7A254F4-6E85-A309-7200-D627A2F22CE6}"/>
              </a:ext>
            </a:extLst>
          </p:cNvPr>
          <p:cNvSpPr txBox="1"/>
          <p:nvPr/>
        </p:nvSpPr>
        <p:spPr>
          <a:xfrm>
            <a:off x="8664882" y="3196526"/>
            <a:ext cx="357790" cy="230832"/>
          </a:xfrm>
          <a:prstGeom prst="rect">
            <a:avLst/>
          </a:prstGeom>
          <a:noFill/>
        </p:spPr>
        <p:txBody>
          <a:bodyPr wrap="none" rtlCol="0">
            <a:spAutoFit/>
          </a:bodyPr>
          <a:lstStyle/>
          <a:p>
            <a:r>
              <a:rPr kumimoji="1" lang="en-US" altLang="ja-JP" sz="900" dirty="0">
                <a:latin typeface="Aptos Narrow" panose="020B0004020202020204" pitchFamily="34" charset="0"/>
                <a:ea typeface="Calibri" panose="020F0502020204030204" pitchFamily="34" charset="0"/>
                <a:cs typeface="Calibri" panose="020F0502020204030204" pitchFamily="34" charset="0"/>
              </a:rPr>
              <a:t>401</a:t>
            </a:r>
            <a:endParaRPr kumimoji="1" lang="ja-JP" altLang="en-US" sz="900" dirty="0">
              <a:latin typeface="Aptos Narrow" panose="020B0004020202020204" pitchFamily="34" charset="0"/>
              <a:cs typeface="Calibri" panose="020F0502020204030204" pitchFamily="34" charset="0"/>
            </a:endParaRPr>
          </a:p>
        </p:txBody>
      </p:sp>
    </p:spTree>
    <p:extLst>
      <p:ext uri="{BB962C8B-B14F-4D97-AF65-F5344CB8AC3E}">
        <p14:creationId xmlns:p14="http://schemas.microsoft.com/office/powerpoint/2010/main" val="18793026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536CCD17-64C0-E2E5-848E-93BEBA5B8DAB}"/>
              </a:ext>
            </a:extLst>
          </p:cNvPr>
          <p:cNvGraphicFramePr>
            <a:graphicFrameLocks noChangeAspect="1"/>
          </p:cNvGraphicFramePr>
          <p:nvPr>
            <p:custDataLst>
              <p:tags r:id="rId1"/>
            </p:custDataLst>
            <p:extLst>
              <p:ext uri="{D42A27DB-BD31-4B8C-83A1-F6EECF244321}">
                <p14:modId xmlns:p14="http://schemas.microsoft.com/office/powerpoint/2010/main" val="426764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20" name="think-cell data - do not delete" hidden="1">
                        <a:extLst>
                          <a:ext uri="{FF2B5EF4-FFF2-40B4-BE49-F238E27FC236}">
                            <a16:creationId xmlns:a16="http://schemas.microsoft.com/office/drawing/2014/main" id="{536CCD17-64C0-E2E5-848E-93BEBA5B8D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id="{6277E77A-B5F1-CF63-D27D-BBF7E8EBE050}"/>
              </a:ext>
            </a:extLst>
          </p:cNvPr>
          <p:cNvPicPr>
            <a:picLocks noChangeAspect="1"/>
          </p:cNvPicPr>
          <p:nvPr/>
        </p:nvPicPr>
        <p:blipFill>
          <a:blip r:embed="rId5"/>
          <a:stretch>
            <a:fillRect/>
          </a:stretch>
        </p:blipFill>
        <p:spPr>
          <a:xfrm>
            <a:off x="6883637" y="606013"/>
            <a:ext cx="1570882" cy="751078"/>
          </a:xfrm>
          <a:prstGeom prst="rect">
            <a:avLst/>
          </a:prstGeom>
        </p:spPr>
      </p:pic>
      <p:pic>
        <p:nvPicPr>
          <p:cNvPr id="21" name="Picture 20">
            <a:extLst>
              <a:ext uri="{FF2B5EF4-FFF2-40B4-BE49-F238E27FC236}">
                <a16:creationId xmlns:a16="http://schemas.microsoft.com/office/drawing/2014/main" id="{F2D71B49-203A-486B-DEAB-421BA5265FC3}"/>
              </a:ext>
            </a:extLst>
          </p:cNvPr>
          <p:cNvPicPr>
            <a:picLocks noChangeAspect="1"/>
          </p:cNvPicPr>
          <p:nvPr/>
        </p:nvPicPr>
        <p:blipFill>
          <a:blip r:embed="rId6"/>
          <a:stretch>
            <a:fillRect/>
          </a:stretch>
        </p:blipFill>
        <p:spPr>
          <a:xfrm>
            <a:off x="6883638" y="1556357"/>
            <a:ext cx="1570881" cy="752796"/>
          </a:xfrm>
          <a:prstGeom prst="rect">
            <a:avLst/>
          </a:prstGeom>
        </p:spPr>
      </p:pic>
      <p:sp>
        <p:nvSpPr>
          <p:cNvPr id="18" name="正方形/長方形 68">
            <a:extLst>
              <a:ext uri="{FF2B5EF4-FFF2-40B4-BE49-F238E27FC236}">
                <a16:creationId xmlns:a16="http://schemas.microsoft.com/office/drawing/2014/main" id="{7759CCD0-A3F1-DE0D-B75C-78CED463913F}"/>
              </a:ext>
            </a:extLst>
          </p:cNvPr>
          <p:cNvSpPr/>
          <p:nvPr/>
        </p:nvSpPr>
        <p:spPr>
          <a:xfrm flipV="1">
            <a:off x="202233" y="4519714"/>
            <a:ext cx="11920732" cy="2250804"/>
          </a:xfrm>
          <a:prstGeom prst="rect">
            <a:avLst/>
          </a:prstGeom>
          <a:no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srgbClr val="202322"/>
              </a:solidFill>
              <a:effectLst/>
              <a:uLnTx/>
              <a:uFillTx/>
              <a:latin typeface="Aptos" panose="020B0004020202020204" pitchFamily="34" charset="0"/>
              <a:ea typeface="+mn-ea"/>
              <a:cs typeface="+mn-cs"/>
            </a:endParaRPr>
          </a:p>
        </p:txBody>
      </p:sp>
      <p:sp>
        <p:nvSpPr>
          <p:cNvPr id="69" name="正方形/長方形 68">
            <a:extLst>
              <a:ext uri="{FF2B5EF4-FFF2-40B4-BE49-F238E27FC236}">
                <a16:creationId xmlns:a16="http://schemas.microsoft.com/office/drawing/2014/main" id="{87B2F0A4-DD55-EC50-B919-62AC8F14EF43}"/>
              </a:ext>
            </a:extLst>
          </p:cNvPr>
          <p:cNvSpPr/>
          <p:nvPr/>
        </p:nvSpPr>
        <p:spPr>
          <a:xfrm flipV="1">
            <a:off x="202233" y="540628"/>
            <a:ext cx="11920732" cy="3987454"/>
          </a:xfrm>
          <a:prstGeom prst="rect">
            <a:avLst/>
          </a:prstGeom>
          <a:no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srgbClr val="202322"/>
              </a:solidFill>
              <a:effectLst/>
              <a:uLnTx/>
              <a:uFillTx/>
              <a:latin typeface="Aptos" panose="020B0004020202020204" pitchFamily="34" charset="0"/>
              <a:ea typeface="+mn-ea"/>
              <a:cs typeface="+mn-cs"/>
            </a:endParaRPr>
          </a:p>
        </p:txBody>
      </p:sp>
      <p:sp>
        <p:nvSpPr>
          <p:cNvPr id="10" name="正方形/長方形 9">
            <a:extLst>
              <a:ext uri="{FF2B5EF4-FFF2-40B4-BE49-F238E27FC236}">
                <a16:creationId xmlns:a16="http://schemas.microsoft.com/office/drawing/2014/main" id="{4AC399DE-D4E4-C4AF-59E7-215433152576}"/>
              </a:ext>
            </a:extLst>
          </p:cNvPr>
          <p:cNvSpPr/>
          <p:nvPr/>
        </p:nvSpPr>
        <p:spPr>
          <a:xfrm rot="16200000">
            <a:off x="-2933078" y="3562566"/>
            <a:ext cx="6229933" cy="185970"/>
          </a:xfrm>
          <a:prstGeom prst="rect">
            <a:avLst/>
          </a:prstGeom>
          <a:solidFill>
            <a:srgbClr val="F2EEDE"/>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srgbClr val="202322"/>
                </a:solidFill>
                <a:effectLst/>
                <a:uLnTx/>
                <a:uFillTx/>
                <a:latin typeface="Aptos" panose="020B0004020202020204" pitchFamily="34" charset="0"/>
                <a:ea typeface="+mn-ea"/>
                <a:cs typeface="+mn-cs"/>
              </a:rPr>
              <a:t>PLATINUM </a:t>
            </a:r>
            <a:endParaRPr kumimoji="1" lang="ja-JP" altLang="en-US" sz="800" b="0" i="0" u="none" strike="noStrike" kern="1200" cap="none" spc="0" normalizeH="0" baseline="0" noProof="0">
              <a:ln>
                <a:noFill/>
              </a:ln>
              <a:solidFill>
                <a:srgbClr val="202322"/>
              </a:solidFill>
              <a:effectLst/>
              <a:uLnTx/>
              <a:uFillTx/>
              <a:latin typeface="Aptos" panose="020B0004020202020204" pitchFamily="34" charset="0"/>
              <a:ea typeface="+mn-ea"/>
              <a:cs typeface="+mn-cs"/>
            </a:endParaRPr>
          </a:p>
        </p:txBody>
      </p:sp>
      <p:sp>
        <p:nvSpPr>
          <p:cNvPr id="6" name="タイトル 5">
            <a:extLst>
              <a:ext uri="{FF2B5EF4-FFF2-40B4-BE49-F238E27FC236}">
                <a16:creationId xmlns:a16="http://schemas.microsoft.com/office/drawing/2014/main" id="{71DD7162-8BE6-D95D-E3F5-B36021300E3A}"/>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1" lang="en-US" altLang="ja-JP" sz="1400" b="0" i="0" u="none" strike="noStrike" kern="1200" cap="all" spc="0" normalizeH="0" baseline="0" noProof="0">
                <a:ln>
                  <a:noFill/>
                </a:ln>
                <a:solidFill>
                  <a:srgbClr val="202322"/>
                </a:solidFill>
                <a:effectLst/>
                <a:uLnTx/>
                <a:uFillTx/>
                <a:latin typeface="Aptos"/>
                <a:ea typeface="+mj-ea"/>
                <a:cs typeface="Calibri"/>
              </a:rPr>
              <a:t>GEL-</a:t>
            </a:r>
            <a:r>
              <a:rPr kumimoji="1" lang="en-US" altLang="ja-JP" sz="1400" b="0" i="0" u="none" strike="noStrike" kern="1200" cap="all" spc="0" normalizeH="0" baseline="0" noProof="0" err="1">
                <a:ln>
                  <a:noFill/>
                </a:ln>
                <a:solidFill>
                  <a:srgbClr val="202322"/>
                </a:solidFill>
                <a:effectLst/>
                <a:uLnTx/>
                <a:uFillTx/>
                <a:latin typeface="Aptos"/>
                <a:ea typeface="+mj-ea"/>
                <a:cs typeface="Calibri"/>
              </a:rPr>
              <a:t>nyc</a:t>
            </a:r>
            <a:r>
              <a:rPr kumimoji="1" lang="en-US" altLang="ja-JP" sz="1400" b="0" i="0" u="none" strike="noStrike" kern="1200" cap="all" spc="0" normalizeH="0" baseline="0" noProof="0">
                <a:ln>
                  <a:noFill/>
                </a:ln>
                <a:solidFill>
                  <a:srgbClr val="202322"/>
                </a:solidFill>
                <a:effectLst/>
                <a:uLnTx/>
                <a:uFillTx/>
                <a:latin typeface="Aptos"/>
                <a:ea typeface="+mj-ea"/>
                <a:cs typeface="Calibri"/>
              </a:rPr>
              <a:t> </a:t>
            </a:r>
            <a:r>
              <a:rPr lang="en-US" altLang="ja-JP">
                <a:latin typeface="Aptos"/>
                <a:cs typeface="Calibri"/>
              </a:rPr>
              <a:t>(PAGE 2 OF 2) </a:t>
            </a:r>
            <a:endParaRPr kumimoji="1" lang="ja-JP" altLang="en-US" sz="1400" b="0" i="0" u="none" strike="noStrike" kern="1200" cap="all" spc="0" normalizeH="0" baseline="0" noProof="0">
              <a:ln>
                <a:noFill/>
              </a:ln>
              <a:solidFill>
                <a:srgbClr val="202322"/>
              </a:solidFill>
              <a:effectLst/>
              <a:uLnTx/>
              <a:uFillTx/>
              <a:latin typeface="Aptos" panose="020B0004020202020204" pitchFamily="34" charset="0"/>
              <a:ea typeface="+mj-ea"/>
              <a:cs typeface="Calibri" panose="020F0502020204030204" pitchFamily="34" charset="0"/>
            </a:endParaRPr>
          </a:p>
        </p:txBody>
      </p:sp>
      <p:sp>
        <p:nvSpPr>
          <p:cNvPr id="39" name="Rectangle 2">
            <a:extLst>
              <a:ext uri="{FF2B5EF4-FFF2-40B4-BE49-F238E27FC236}">
                <a16:creationId xmlns:a16="http://schemas.microsoft.com/office/drawing/2014/main" id="{95D27816-4B53-D7A4-807C-FB7A693E4FF3}"/>
              </a:ext>
            </a:extLst>
          </p:cNvPr>
          <p:cNvSpPr/>
          <p:nvPr/>
        </p:nvSpPr>
        <p:spPr>
          <a:xfrm>
            <a:off x="274874" y="4528082"/>
            <a:ext cx="1097557" cy="93349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02322"/>
                </a:solidFill>
                <a:effectLst/>
                <a:uLnTx/>
                <a:uFillTx/>
                <a:latin typeface="Aptos Narrow"/>
                <a:ea typeface="+mn-lt"/>
                <a:cs typeface="+mn-lt"/>
              </a:rPr>
              <a:t>GEL-NY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02322"/>
                </a:solidFill>
                <a:effectLst/>
                <a:uLnTx/>
                <a:uFillTx/>
                <a:latin typeface="Aptos Narrow"/>
                <a:ea typeface="+mn-lt"/>
                <a:cs typeface="+mn-lt"/>
              </a:rPr>
              <a:t>1201A789</a:t>
            </a:r>
            <a:endParaRPr kumimoji="0" lang="en-US" sz="800" b="0" i="0" u="none" strike="noStrike" kern="1200" cap="none" spc="0" normalizeH="0" baseline="0" noProof="0" dirty="0">
              <a:ln>
                <a:noFill/>
              </a:ln>
              <a:solidFill>
                <a:srgbClr val="202322"/>
              </a:solidFill>
              <a:effectLst/>
              <a:uLnTx/>
              <a:uFillTx/>
              <a:latin typeface="Aptos Narrow"/>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02322"/>
                </a:solidFill>
                <a:effectLst/>
                <a:uLnTx/>
                <a:uFillTx/>
                <a:latin typeface="Aptos Narrow"/>
                <a:ea typeface="+mn-lt"/>
                <a:cs typeface="+mn-lt"/>
              </a:rPr>
              <a:t>CARRY OVER</a:t>
            </a:r>
            <a:endParaRPr kumimoji="0" lang="en-US" sz="800" b="0" i="0" u="none" strike="noStrike" kern="1200" cap="none" spc="0" normalizeH="0" baseline="0" noProof="0" dirty="0">
              <a:ln>
                <a:noFill/>
              </a:ln>
              <a:solidFill>
                <a:srgbClr val="F9F9F9"/>
              </a:solidFill>
              <a:effectLst/>
              <a:uLnTx/>
              <a:uFillTx/>
              <a:latin typeface="Aptos Narrow"/>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02322"/>
                </a:solidFill>
                <a:effectLst/>
                <a:uLnTx/>
                <a:uFillTx/>
                <a:latin typeface="Aptos Narrow"/>
                <a:ea typeface="+mn-lt"/>
                <a:cs typeface="+mn-lt"/>
              </a:rPr>
              <a:t>M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02322"/>
                </a:solidFill>
                <a:effectLst/>
                <a:uLnTx/>
                <a:uFillTx/>
                <a:latin typeface="Aptos Narrow"/>
                <a:ea typeface="+mn-lt"/>
                <a:cs typeface="+mn-lt"/>
              </a:rPr>
              <a:t>€155</a:t>
            </a:r>
          </a:p>
        </p:txBody>
      </p:sp>
      <p:sp>
        <p:nvSpPr>
          <p:cNvPr id="51" name="TextBox 50">
            <a:extLst>
              <a:ext uri="{FF2B5EF4-FFF2-40B4-BE49-F238E27FC236}">
                <a16:creationId xmlns:a16="http://schemas.microsoft.com/office/drawing/2014/main" id="{8D8BDA2F-65BC-52D7-9D5A-6ECC000E7CE3}"/>
              </a:ext>
            </a:extLst>
          </p:cNvPr>
          <p:cNvSpPr txBox="1"/>
          <p:nvPr/>
        </p:nvSpPr>
        <p:spPr>
          <a:xfrm>
            <a:off x="1492650" y="4566653"/>
            <a:ext cx="646544"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02322"/>
                </a:solidFill>
                <a:effectLst/>
                <a:uLnTx/>
                <a:uFillTx/>
                <a:latin typeface="Aptos Narrow" panose="020B0004020202020204" pitchFamily="34" charset="0"/>
              </a:rPr>
              <a:t>10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02322"/>
                </a:solidFill>
                <a:effectLst/>
                <a:uLnTx/>
                <a:uFillTx/>
                <a:latin typeface="Aptos Narrow" panose="020B0004020202020204" pitchFamily="34" charset="0"/>
              </a:rPr>
              <a:t>C/O</a:t>
            </a:r>
          </a:p>
        </p:txBody>
      </p:sp>
      <p:sp>
        <p:nvSpPr>
          <p:cNvPr id="11" name="Rectangle 2">
            <a:extLst>
              <a:ext uri="{FF2B5EF4-FFF2-40B4-BE49-F238E27FC236}">
                <a16:creationId xmlns:a16="http://schemas.microsoft.com/office/drawing/2014/main" id="{D48DA210-A952-090B-38B4-803DF04EE103}"/>
              </a:ext>
            </a:extLst>
          </p:cNvPr>
          <p:cNvSpPr/>
          <p:nvPr/>
        </p:nvSpPr>
        <p:spPr>
          <a:xfrm>
            <a:off x="275859" y="545881"/>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NYC</a:t>
            </a:r>
          </a:p>
          <a:p>
            <a:r>
              <a:rPr lang="en-US" sz="800" b="1" dirty="0">
                <a:solidFill>
                  <a:schemeClr val="tx1"/>
                </a:solidFill>
                <a:latin typeface="Aptos Narrow"/>
                <a:ea typeface="+mn-lt"/>
                <a:cs typeface="+mn-lt"/>
              </a:rPr>
              <a:t>1203A897</a:t>
            </a:r>
          </a:p>
          <a:p>
            <a:r>
              <a:rPr lang="en-US" sz="800" dirty="0">
                <a:solidFill>
                  <a:schemeClr val="tx1"/>
                </a:solidFill>
                <a:latin typeface="Aptos Narrow"/>
                <a:ea typeface="+mn-lt"/>
                <a:cs typeface="+mn-lt"/>
              </a:rPr>
              <a:t>MUD</a:t>
            </a:r>
          </a:p>
          <a:p>
            <a:r>
              <a:rPr lang="en-US" sz="800" dirty="0">
                <a:solidFill>
                  <a:schemeClr val="tx1"/>
                </a:solidFill>
                <a:latin typeface="Aptos Narrow"/>
                <a:ea typeface="+mn-lt"/>
                <a:cs typeface="+mn-lt"/>
              </a:rPr>
              <a:t>UNI</a:t>
            </a:r>
          </a:p>
          <a:p>
            <a:r>
              <a:rPr lang="en-US" sz="800" dirty="0">
                <a:solidFill>
                  <a:schemeClr val="tx1"/>
                </a:solidFill>
                <a:latin typeface="Aptos Narrow"/>
                <a:ea typeface="+mn-lt"/>
                <a:cs typeface="+mn-lt"/>
              </a:rPr>
              <a:t>2-TONE SUEDE</a:t>
            </a:r>
          </a:p>
          <a:p>
            <a:r>
              <a:rPr lang="en-US" sz="800" dirty="0">
                <a:solidFill>
                  <a:schemeClr val="tx1"/>
                </a:solidFill>
                <a:latin typeface="Aptos Narrow"/>
                <a:ea typeface="+mn-lt"/>
                <a:cs typeface="+mn-lt"/>
              </a:rPr>
              <a:t>€165</a:t>
            </a:r>
          </a:p>
          <a:p>
            <a:endParaRPr lang="en-US" sz="800" dirty="0">
              <a:solidFill>
                <a:schemeClr val="tx1"/>
              </a:solidFill>
              <a:latin typeface="Aptos Narrow"/>
              <a:ea typeface="+mn-lt"/>
              <a:cs typeface="+mn-lt"/>
            </a:endParaRPr>
          </a:p>
        </p:txBody>
      </p:sp>
      <p:sp>
        <p:nvSpPr>
          <p:cNvPr id="14" name="テキスト ボックス 2">
            <a:extLst>
              <a:ext uri="{FF2B5EF4-FFF2-40B4-BE49-F238E27FC236}">
                <a16:creationId xmlns:a16="http://schemas.microsoft.com/office/drawing/2014/main" id="{2E1CB903-FC43-C9C9-9908-FB9C393BDE04}"/>
              </a:ext>
            </a:extLst>
          </p:cNvPr>
          <p:cNvSpPr txBox="1"/>
          <p:nvPr/>
        </p:nvSpPr>
        <p:spPr>
          <a:xfrm>
            <a:off x="6883637" y="620556"/>
            <a:ext cx="357790" cy="230832"/>
          </a:xfrm>
          <a:prstGeom prst="rect">
            <a:avLst/>
          </a:prstGeom>
          <a:noFill/>
        </p:spPr>
        <p:txBody>
          <a:bodyPr wrap="none" rtlCol="0">
            <a:spAutoFit/>
          </a:bodyPr>
          <a:lstStyle/>
          <a:p>
            <a:r>
              <a:rPr kumimoji="1" lang="en-US" altLang="ja-JP" sz="900">
                <a:latin typeface="Aptos Narrow" panose="020B0004020202020204" pitchFamily="34" charset="0"/>
                <a:ea typeface="Calibri" panose="020F0502020204030204" pitchFamily="34" charset="0"/>
                <a:cs typeface="Calibri" panose="020F0502020204030204" pitchFamily="34" charset="0"/>
              </a:rPr>
              <a:t>200</a:t>
            </a:r>
            <a:endParaRPr kumimoji="1" lang="ja-JP" altLang="en-US" sz="900">
              <a:latin typeface="Aptos Narrow" panose="020B0004020202020204" pitchFamily="34" charset="0"/>
              <a:cs typeface="Calibri" panose="020F0502020204030204" pitchFamily="34" charset="0"/>
            </a:endParaRPr>
          </a:p>
        </p:txBody>
      </p:sp>
      <p:sp>
        <p:nvSpPr>
          <p:cNvPr id="15" name="テキスト ボックス 3">
            <a:extLst>
              <a:ext uri="{FF2B5EF4-FFF2-40B4-BE49-F238E27FC236}">
                <a16:creationId xmlns:a16="http://schemas.microsoft.com/office/drawing/2014/main" id="{77BFBF74-C863-B0D3-6F68-8F007325139B}"/>
              </a:ext>
            </a:extLst>
          </p:cNvPr>
          <p:cNvSpPr txBox="1"/>
          <p:nvPr/>
        </p:nvSpPr>
        <p:spPr>
          <a:xfrm>
            <a:off x="6891511" y="1588304"/>
            <a:ext cx="357790" cy="230832"/>
          </a:xfrm>
          <a:prstGeom prst="rect">
            <a:avLst/>
          </a:prstGeom>
          <a:noFill/>
        </p:spPr>
        <p:txBody>
          <a:bodyPr wrap="none" rtlCol="0">
            <a:spAutoFit/>
          </a:bodyPr>
          <a:lstStyle/>
          <a:p>
            <a:r>
              <a:rPr kumimoji="1" lang="en-US" altLang="ja-JP" sz="900" dirty="0">
                <a:latin typeface="Aptos Narrow" panose="020B0004020202020204" pitchFamily="34" charset="0"/>
                <a:cs typeface="Calibri" panose="020F0502020204030204" pitchFamily="34" charset="0"/>
              </a:rPr>
              <a:t>001</a:t>
            </a:r>
            <a:endParaRPr kumimoji="1" lang="ja-JP" altLang="en-US" sz="900" dirty="0">
              <a:latin typeface="Aptos Narrow" panose="020B0004020202020204" pitchFamily="34" charset="0"/>
              <a:cs typeface="Calibri" panose="020F0502020204030204" pitchFamily="34" charset="0"/>
            </a:endParaRPr>
          </a:p>
        </p:txBody>
      </p:sp>
      <p:pic>
        <p:nvPicPr>
          <p:cNvPr id="12" name="Picture 11">
            <a:extLst>
              <a:ext uri="{FF2B5EF4-FFF2-40B4-BE49-F238E27FC236}">
                <a16:creationId xmlns:a16="http://schemas.microsoft.com/office/drawing/2014/main" id="{E2D9364A-03ED-7F47-0D76-F2B9C662DA58}"/>
              </a:ext>
            </a:extLst>
          </p:cNvPr>
          <p:cNvPicPr>
            <a:picLocks noChangeAspect="1"/>
          </p:cNvPicPr>
          <p:nvPr/>
        </p:nvPicPr>
        <p:blipFill>
          <a:blip r:embed="rId7"/>
          <a:srcRect t="25278" b="29850"/>
          <a:stretch/>
        </p:blipFill>
        <p:spPr>
          <a:xfrm flipH="1">
            <a:off x="1527193" y="4640418"/>
            <a:ext cx="1554480" cy="697519"/>
          </a:xfrm>
          <a:prstGeom prst="rect">
            <a:avLst/>
          </a:prstGeom>
        </p:spPr>
      </p:pic>
    </p:spTree>
    <p:extLst>
      <p:ext uri="{BB962C8B-B14F-4D97-AF65-F5344CB8AC3E}">
        <p14:creationId xmlns:p14="http://schemas.microsoft.com/office/powerpoint/2010/main" val="28357486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3327"/>
        <p:cNvGrpSpPr/>
        <p:nvPr/>
      </p:nvGrpSpPr>
      <p:grpSpPr>
        <a:xfrm>
          <a:off x="0" y="0"/>
          <a:ext cx="0" cy="0"/>
          <a:chOff x="0" y="0"/>
          <a:chExt cx="0" cy="0"/>
        </a:xfrm>
      </p:grpSpPr>
      <p:sp>
        <p:nvSpPr>
          <p:cNvPr id="19" name="Google Shape;3459;p436">
            <a:extLst>
              <a:ext uri="{FF2B5EF4-FFF2-40B4-BE49-F238E27FC236}">
                <a16:creationId xmlns:a16="http://schemas.microsoft.com/office/drawing/2014/main" id="{35ED4F10-2E0B-4C28-B659-55D6669C6FD5}"/>
              </a:ext>
            </a:extLst>
          </p:cNvPr>
          <p:cNvSpPr/>
          <p:nvPr/>
        </p:nvSpPr>
        <p:spPr>
          <a:xfrm>
            <a:off x="0" y="214178"/>
            <a:ext cx="12192000" cy="4021226"/>
          </a:xfrm>
          <a:prstGeom prst="rect">
            <a:avLst/>
          </a:prstGeom>
          <a:solidFill>
            <a:srgbClr val="F0E1D2"/>
          </a:solidFill>
          <a:ln>
            <a:noFill/>
          </a:ln>
        </p:spPr>
        <p:txBody>
          <a:bodyPr spcFirstLastPara="1" wrap="square" lIns="85722" tIns="42845" rIns="85722" bIns="42845" anchor="ctr" anchorCtr="0">
            <a:noAutofit/>
          </a:bodyPr>
          <a:lstStyle/>
          <a:p>
            <a:pPr marL="0" marR="0" lvl="0" indent="0" algn="ctr" defTabSz="1143111" rtl="0" eaLnBrk="1" fontAlgn="auto" latinLnBrk="0" hangingPunct="1">
              <a:lnSpc>
                <a:spcPct val="100000"/>
              </a:lnSpc>
              <a:spcBef>
                <a:spcPts val="0"/>
              </a:spcBef>
              <a:spcAft>
                <a:spcPts val="0"/>
              </a:spcAft>
              <a:buClrTx/>
              <a:buSzTx/>
              <a:buFontTx/>
              <a:buNone/>
              <a:tabLst/>
              <a:defRPr/>
            </a:pPr>
            <a:endParaRPr kumimoji="0" lang="en-US" altLang="ja" sz="1125" b="0" i="0" u="none" strike="noStrike" kern="1200" cap="none" spc="0" normalizeH="0" baseline="0" noProof="0">
              <a:ln>
                <a:noFill/>
              </a:ln>
              <a:solidFill>
                <a:srgbClr val="FFFFFF"/>
              </a:solidFill>
              <a:effectLst/>
              <a:uLnTx/>
              <a:uFillTx/>
              <a:latin typeface="ASICS Font 3.0" panose="00000500000000000000" pitchFamily="50" charset="0"/>
              <a:ea typeface="+mn-ea"/>
              <a:cs typeface="+mn-cs"/>
            </a:endParaRPr>
          </a:p>
        </p:txBody>
      </p:sp>
      <p:sp>
        <p:nvSpPr>
          <p:cNvPr id="20" name="Title 2">
            <a:extLst>
              <a:ext uri="{FF2B5EF4-FFF2-40B4-BE49-F238E27FC236}">
                <a16:creationId xmlns:a16="http://schemas.microsoft.com/office/drawing/2014/main" id="{D986FB76-CFAA-4039-B71C-D9F118378972}"/>
              </a:ext>
            </a:extLst>
          </p:cNvPr>
          <p:cNvSpPr>
            <a:spLocks noGrp="1"/>
          </p:cNvSpPr>
          <p:nvPr>
            <p:ph type="title"/>
          </p:nvPr>
        </p:nvSpPr>
        <p:spPr>
          <a:xfrm>
            <a:off x="653055" y="2508497"/>
            <a:ext cx="6372185" cy="1563887"/>
          </a:xfrm>
        </p:spPr>
        <p:txBody>
          <a:bodyPr>
            <a:normAutofit/>
          </a:bodyPr>
          <a:lstStyle/>
          <a:p>
            <a:pPr>
              <a:lnSpc>
                <a:spcPct val="150000"/>
              </a:lnSpc>
            </a:pPr>
            <a:r>
              <a:rPr lang="en-GB" sz="3000" spc="375">
                <a:solidFill>
                  <a:schemeClr val="bg1"/>
                </a:solidFill>
                <a:latin typeface="ASICS Font 3.0" panose="00000500000000000000" pitchFamily="50" charset="0"/>
              </a:rPr>
              <a:t>URBAN TRAIL</a:t>
            </a:r>
            <a:endParaRPr lang="en-NL" sz="3000" spc="375">
              <a:solidFill>
                <a:schemeClr val="bg1"/>
              </a:solidFill>
              <a:latin typeface="ASICS Font 3.0" panose="00000500000000000000" pitchFamily="50" charset="0"/>
            </a:endParaRPr>
          </a:p>
        </p:txBody>
      </p:sp>
      <p:pic>
        <p:nvPicPr>
          <p:cNvPr id="2" name="Graphic 1">
            <a:extLst>
              <a:ext uri="{FF2B5EF4-FFF2-40B4-BE49-F238E27FC236}">
                <a16:creationId xmlns:a16="http://schemas.microsoft.com/office/drawing/2014/main" id="{B4CF56F4-B20F-3C62-F004-187A88446D0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59157" y="424004"/>
            <a:ext cx="1478735" cy="698400"/>
          </a:xfrm>
          <a:prstGeom prst="rect">
            <a:avLst/>
          </a:prstGeom>
        </p:spPr>
      </p:pic>
    </p:spTree>
    <p:extLst>
      <p:ext uri="{BB962C8B-B14F-4D97-AF65-F5344CB8AC3E}">
        <p14:creationId xmlns:p14="http://schemas.microsoft.com/office/powerpoint/2010/main" val="10496354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3C00443-9F79-977D-71CF-AF4FBDE20564}"/>
              </a:ext>
            </a:extLst>
          </p:cNvPr>
          <p:cNvGraphicFramePr>
            <a:graphicFrameLocks noChangeAspect="1"/>
          </p:cNvGraphicFramePr>
          <p:nvPr>
            <p:custDataLst>
              <p:tags r:id="rId1"/>
            </p:custDataLst>
            <p:extLst>
              <p:ext uri="{D42A27DB-BD31-4B8C-83A1-F6EECF244321}">
                <p14:modId xmlns:p14="http://schemas.microsoft.com/office/powerpoint/2010/main" val="164255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6" name="think-cell data - do not delete" hidden="1">
                        <a:extLst>
                          <a:ext uri="{FF2B5EF4-FFF2-40B4-BE49-F238E27FC236}">
                            <a16:creationId xmlns:a16="http://schemas.microsoft.com/office/drawing/2014/main" id="{E3C00443-9F79-977D-71CF-AF4FBDE205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a:extLst>
              <a:ext uri="{FF2B5EF4-FFF2-40B4-BE49-F238E27FC236}">
                <a16:creationId xmlns:a16="http://schemas.microsoft.com/office/drawing/2014/main" id="{2463DC9F-BA2D-D179-52A7-F4A5A085968D}"/>
              </a:ext>
            </a:extLst>
          </p:cNvPr>
          <p:cNvPicPr>
            <a:picLocks noChangeAspect="1"/>
          </p:cNvPicPr>
          <p:nvPr/>
        </p:nvPicPr>
        <p:blipFill>
          <a:blip r:embed="rId5"/>
          <a:stretch>
            <a:fillRect/>
          </a:stretch>
        </p:blipFill>
        <p:spPr>
          <a:xfrm>
            <a:off x="1572747" y="601165"/>
            <a:ext cx="1515577" cy="742396"/>
          </a:xfrm>
          <a:prstGeom prst="rect">
            <a:avLst/>
          </a:prstGeom>
        </p:spPr>
      </p:pic>
      <p:sp>
        <p:nvSpPr>
          <p:cNvPr id="70" name="Rectangle 2">
            <a:extLst>
              <a:ext uri="{FF2B5EF4-FFF2-40B4-BE49-F238E27FC236}">
                <a16:creationId xmlns:a16="http://schemas.microsoft.com/office/drawing/2014/main" id="{806B8040-186A-DF35-242B-F6AD41CEFC9B}"/>
              </a:ext>
            </a:extLst>
          </p:cNvPr>
          <p:cNvSpPr/>
          <p:nvPr/>
        </p:nvSpPr>
        <p:spPr>
          <a:xfrm>
            <a:off x="275673" y="540586"/>
            <a:ext cx="1097557" cy="775790"/>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VENTURE 6</a:t>
            </a:r>
          </a:p>
          <a:p>
            <a:r>
              <a:rPr lang="en-US" sz="800" b="1" dirty="0">
                <a:solidFill>
                  <a:schemeClr val="tx1"/>
                </a:solidFill>
                <a:latin typeface="Aptos Narrow"/>
                <a:ea typeface="+mn-lt"/>
                <a:cs typeface="+mn-lt"/>
              </a:rPr>
              <a:t>1203A908</a:t>
            </a:r>
          </a:p>
          <a:p>
            <a:r>
              <a:rPr lang="en-US" sz="800" dirty="0">
                <a:solidFill>
                  <a:schemeClr val="tx1"/>
                </a:solidFill>
                <a:latin typeface="Aptos Narrow"/>
                <a:ea typeface="+mn-lt"/>
                <a:cs typeface="+mn-lt"/>
              </a:rPr>
              <a:t>CUD</a:t>
            </a:r>
            <a:endParaRPr lang="en-US" sz="800" dirty="0">
              <a:solidFill>
                <a:srgbClr val="F9F9F9"/>
              </a:solidFill>
              <a:latin typeface="Aptos Narrow"/>
              <a:ea typeface="+mn-lt"/>
              <a:cs typeface="+mn-lt"/>
            </a:endParaRPr>
          </a:p>
          <a:p>
            <a:r>
              <a:rPr lang="en-US" sz="800" dirty="0">
                <a:solidFill>
                  <a:schemeClr val="tx1"/>
                </a:solidFill>
                <a:latin typeface="Aptos Narrow"/>
                <a:ea typeface="+mn-lt"/>
                <a:cs typeface="+mn-lt"/>
              </a:rPr>
              <a:t>UNI</a:t>
            </a:r>
          </a:p>
          <a:p>
            <a:r>
              <a:rPr lang="en-US" sz="800" dirty="0">
                <a:solidFill>
                  <a:schemeClr val="tx1"/>
                </a:solidFill>
                <a:latin typeface="Aptos Narrow"/>
                <a:ea typeface="+mn-lt"/>
                <a:cs typeface="+mn-lt"/>
              </a:rPr>
              <a:t>BASE</a:t>
            </a:r>
          </a:p>
          <a:p>
            <a:r>
              <a:rPr kumimoji="0" lang="en-US" sz="800" b="0" i="0" u="none" strike="noStrike" kern="1200" cap="none" spc="0" normalizeH="0" baseline="0" noProof="0" dirty="0">
                <a:ln>
                  <a:noFill/>
                </a:ln>
                <a:solidFill>
                  <a:srgbClr val="202322"/>
                </a:solidFill>
                <a:effectLst/>
                <a:uLnTx/>
                <a:uFillTx/>
                <a:latin typeface="Aptos Narrow"/>
                <a:ea typeface="+mn-lt"/>
                <a:cs typeface="+mn-lt"/>
              </a:rPr>
              <a:t>€115</a:t>
            </a:r>
          </a:p>
        </p:txBody>
      </p:sp>
      <p:sp>
        <p:nvSpPr>
          <p:cNvPr id="13" name="正方形/長方形 12">
            <a:extLst>
              <a:ext uri="{FF2B5EF4-FFF2-40B4-BE49-F238E27FC236}">
                <a16:creationId xmlns:a16="http://schemas.microsoft.com/office/drawing/2014/main" id="{9C83B014-365B-CE5F-61B1-D0323B12113D}"/>
              </a:ext>
            </a:extLst>
          </p:cNvPr>
          <p:cNvSpPr/>
          <p:nvPr/>
        </p:nvSpPr>
        <p:spPr>
          <a:xfrm rot="16200000">
            <a:off x="-2910674" y="3539173"/>
            <a:ext cx="6192368" cy="195194"/>
          </a:xfrm>
          <a:prstGeom prst="rect">
            <a:avLst/>
          </a:prstGeom>
          <a:solidFill>
            <a:srgbClr val="F2EEDE"/>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solidFill>
                  <a:srgbClr val="202322"/>
                </a:solidFill>
                <a:latin typeface="Aptos" panose="020B0004020202020204" pitchFamily="34" charset="0"/>
              </a:rPr>
              <a:t>PLATINUM</a:t>
            </a:r>
            <a:endParaRPr kumimoji="1" lang="ja-JP" altLang="en-US" sz="800">
              <a:solidFill>
                <a:srgbClr val="202322"/>
              </a:solidFill>
              <a:latin typeface="Aptos" panose="020B0004020202020204" pitchFamily="34" charset="0"/>
            </a:endParaRPr>
          </a:p>
        </p:txBody>
      </p:sp>
      <p:sp>
        <p:nvSpPr>
          <p:cNvPr id="4" name="タイトル 5">
            <a:extLst>
              <a:ext uri="{FF2B5EF4-FFF2-40B4-BE49-F238E27FC236}">
                <a16:creationId xmlns:a16="http://schemas.microsoft.com/office/drawing/2014/main" id="{49F7AEFC-1990-F011-D7DA-ED9DC825F8EF}"/>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r>
              <a:rPr lang="en-US" altLang="ja-JP" dirty="0">
                <a:latin typeface="Aptos"/>
                <a:cs typeface="Calibri"/>
              </a:rPr>
              <a:t>GEL-venture 6 &amp; </a:t>
            </a:r>
            <a:r>
              <a:rPr kumimoji="1" lang="en-US" altLang="ja-JP" sz="1400" b="0" i="0" u="none" strike="noStrike" kern="1200" cap="all" spc="0" normalizeH="0" baseline="0" noProof="0" dirty="0">
                <a:ln>
                  <a:noFill/>
                </a:ln>
                <a:solidFill>
                  <a:srgbClr val="202322"/>
                </a:solidFill>
                <a:effectLst/>
                <a:uLnTx/>
                <a:uFillTx/>
                <a:latin typeface="Aptos"/>
                <a:ea typeface="+mj-ea"/>
                <a:cs typeface="Calibri"/>
              </a:rPr>
              <a:t>GEL-</a:t>
            </a:r>
            <a:r>
              <a:rPr kumimoji="1" lang="en-US" altLang="ja-JP" sz="1400" b="0" i="0" u="none" strike="noStrike" kern="1200" cap="all" spc="0" normalizeH="0" baseline="0" noProof="0" dirty="0" err="1">
                <a:ln>
                  <a:noFill/>
                </a:ln>
                <a:solidFill>
                  <a:srgbClr val="202322"/>
                </a:solidFill>
                <a:effectLst/>
                <a:uLnTx/>
                <a:uFillTx/>
                <a:latin typeface="Aptos"/>
                <a:ea typeface="+mj-ea"/>
                <a:cs typeface="Calibri"/>
              </a:rPr>
              <a:t>ventX</a:t>
            </a:r>
            <a:endParaRPr kumimoji="1" lang="en-US" altLang="ja-JP" sz="1400" b="0" i="0" u="none" strike="noStrike" kern="1200" cap="all" spc="0" normalizeH="0" baseline="0" noProof="0" dirty="0">
              <a:ln>
                <a:noFill/>
              </a:ln>
              <a:solidFill>
                <a:srgbClr val="202322"/>
              </a:solidFill>
              <a:effectLst/>
              <a:uLnTx/>
              <a:uFillTx/>
              <a:latin typeface="Aptos"/>
              <a:ea typeface="+mj-ea"/>
              <a:cs typeface="Calibri"/>
            </a:endParaRPr>
          </a:p>
          <a:p>
            <a:endParaRPr lang="ja-JP" altLang="en-US" dirty="0"/>
          </a:p>
        </p:txBody>
      </p:sp>
      <p:sp>
        <p:nvSpPr>
          <p:cNvPr id="14" name="TextBox 13">
            <a:extLst>
              <a:ext uri="{FF2B5EF4-FFF2-40B4-BE49-F238E27FC236}">
                <a16:creationId xmlns:a16="http://schemas.microsoft.com/office/drawing/2014/main" id="{5B292175-1F80-CF6C-38ED-805C5E871E4F}"/>
              </a:ext>
            </a:extLst>
          </p:cNvPr>
          <p:cNvSpPr txBox="1"/>
          <p:nvPr/>
        </p:nvSpPr>
        <p:spPr>
          <a:xfrm>
            <a:off x="1528611" y="631001"/>
            <a:ext cx="646544" cy="2308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rgbClr val="202322"/>
                </a:solidFill>
                <a:latin typeface="Aptos Narrow" panose="020B0004020202020204" pitchFamily="34" charset="0"/>
              </a:rPr>
              <a:t>021</a:t>
            </a:r>
            <a:endParaRPr kumimoji="0" lang="en-US" sz="900" b="0" i="0" u="none" strike="noStrike" kern="1200" cap="none" spc="0" normalizeH="0" baseline="0" noProof="0" dirty="0">
              <a:ln>
                <a:noFill/>
              </a:ln>
              <a:solidFill>
                <a:srgbClr val="202322"/>
              </a:solidFill>
              <a:effectLst/>
              <a:uLnTx/>
              <a:uFillTx/>
              <a:latin typeface="Aptos Narrow" panose="020B0004020202020204" pitchFamily="34" charset="0"/>
            </a:endParaRPr>
          </a:p>
        </p:txBody>
      </p:sp>
      <p:cxnSp>
        <p:nvCxnSpPr>
          <p:cNvPr id="23" name="Straight Connector 22">
            <a:extLst>
              <a:ext uri="{FF2B5EF4-FFF2-40B4-BE49-F238E27FC236}">
                <a16:creationId xmlns:a16="http://schemas.microsoft.com/office/drawing/2014/main" id="{556D52A0-7871-5A14-95DA-2CAD76A7198A}"/>
              </a:ext>
            </a:extLst>
          </p:cNvPr>
          <p:cNvCxnSpPr>
            <a:cxnSpLocks/>
          </p:cNvCxnSpPr>
          <p:nvPr/>
        </p:nvCxnSpPr>
        <p:spPr>
          <a:xfrm>
            <a:off x="255269" y="2645853"/>
            <a:ext cx="11848819" cy="6178"/>
          </a:xfrm>
          <a:prstGeom prst="line">
            <a:avLst/>
          </a:prstGeom>
          <a:ln w="3175"/>
        </p:spPr>
        <p:style>
          <a:lnRef idx="1">
            <a:schemeClr val="dk1"/>
          </a:lnRef>
          <a:fillRef idx="0">
            <a:schemeClr val="dk1"/>
          </a:fillRef>
          <a:effectRef idx="0">
            <a:schemeClr val="dk1"/>
          </a:effectRef>
          <a:fontRef idx="minor">
            <a:schemeClr val="tx1"/>
          </a:fontRef>
        </p:style>
      </p:cxnSp>
      <p:pic>
        <p:nvPicPr>
          <p:cNvPr id="5" name="Picture 4">
            <a:extLst>
              <a:ext uri="{FF2B5EF4-FFF2-40B4-BE49-F238E27FC236}">
                <a16:creationId xmlns:a16="http://schemas.microsoft.com/office/drawing/2014/main" id="{EE4A305C-A4D7-F404-0185-E52A53FA4E9F}"/>
              </a:ext>
            </a:extLst>
          </p:cNvPr>
          <p:cNvPicPr>
            <a:picLocks noChangeAspect="1"/>
          </p:cNvPicPr>
          <p:nvPr/>
        </p:nvPicPr>
        <p:blipFill>
          <a:blip r:embed="rId6"/>
          <a:stretch>
            <a:fillRect/>
          </a:stretch>
        </p:blipFill>
        <p:spPr>
          <a:xfrm>
            <a:off x="5119706" y="4249502"/>
            <a:ext cx="1465424" cy="714394"/>
          </a:xfrm>
          <a:prstGeom prst="rect">
            <a:avLst/>
          </a:prstGeom>
        </p:spPr>
      </p:pic>
      <p:pic>
        <p:nvPicPr>
          <p:cNvPr id="10" name="Picture 9">
            <a:extLst>
              <a:ext uri="{FF2B5EF4-FFF2-40B4-BE49-F238E27FC236}">
                <a16:creationId xmlns:a16="http://schemas.microsoft.com/office/drawing/2014/main" id="{F23AC014-B45F-CE72-3B44-8543C3320974}"/>
              </a:ext>
            </a:extLst>
          </p:cNvPr>
          <p:cNvPicPr>
            <a:picLocks noChangeAspect="1"/>
          </p:cNvPicPr>
          <p:nvPr/>
        </p:nvPicPr>
        <p:blipFill>
          <a:blip r:embed="rId7"/>
          <a:stretch>
            <a:fillRect/>
          </a:stretch>
        </p:blipFill>
        <p:spPr>
          <a:xfrm>
            <a:off x="5130523" y="2772651"/>
            <a:ext cx="1479006" cy="736036"/>
          </a:xfrm>
          <a:prstGeom prst="rect">
            <a:avLst/>
          </a:prstGeom>
        </p:spPr>
      </p:pic>
      <p:pic>
        <p:nvPicPr>
          <p:cNvPr id="7" name="Picture 6">
            <a:extLst>
              <a:ext uri="{FF2B5EF4-FFF2-40B4-BE49-F238E27FC236}">
                <a16:creationId xmlns:a16="http://schemas.microsoft.com/office/drawing/2014/main" id="{02429394-8C78-1984-66E5-E77A36033631}"/>
              </a:ext>
            </a:extLst>
          </p:cNvPr>
          <p:cNvPicPr>
            <a:picLocks noChangeAspect="1"/>
          </p:cNvPicPr>
          <p:nvPr/>
        </p:nvPicPr>
        <p:blipFill>
          <a:blip r:embed="rId8"/>
          <a:stretch>
            <a:fillRect/>
          </a:stretch>
        </p:blipFill>
        <p:spPr>
          <a:xfrm>
            <a:off x="5130523" y="3505295"/>
            <a:ext cx="1465424" cy="718973"/>
          </a:xfrm>
          <a:prstGeom prst="rect">
            <a:avLst/>
          </a:prstGeom>
        </p:spPr>
      </p:pic>
      <p:pic>
        <p:nvPicPr>
          <p:cNvPr id="8" name="Picture 7">
            <a:extLst>
              <a:ext uri="{FF2B5EF4-FFF2-40B4-BE49-F238E27FC236}">
                <a16:creationId xmlns:a16="http://schemas.microsoft.com/office/drawing/2014/main" id="{5E975C9B-5751-E588-597B-18A33D15A613}"/>
              </a:ext>
            </a:extLst>
          </p:cNvPr>
          <p:cNvPicPr>
            <a:picLocks noChangeAspect="1"/>
          </p:cNvPicPr>
          <p:nvPr/>
        </p:nvPicPr>
        <p:blipFill>
          <a:blip r:embed="rId9"/>
          <a:stretch>
            <a:fillRect/>
          </a:stretch>
        </p:blipFill>
        <p:spPr>
          <a:xfrm>
            <a:off x="5130523" y="4932427"/>
            <a:ext cx="1479006" cy="718705"/>
          </a:xfrm>
          <a:prstGeom prst="rect">
            <a:avLst/>
          </a:prstGeom>
        </p:spPr>
      </p:pic>
      <p:sp>
        <p:nvSpPr>
          <p:cNvPr id="47" name="TextBox 46">
            <a:extLst>
              <a:ext uri="{FF2B5EF4-FFF2-40B4-BE49-F238E27FC236}">
                <a16:creationId xmlns:a16="http://schemas.microsoft.com/office/drawing/2014/main" id="{EDCB1746-69D8-711E-6340-2E84ADEC2619}"/>
              </a:ext>
            </a:extLst>
          </p:cNvPr>
          <p:cNvSpPr txBox="1"/>
          <p:nvPr/>
        </p:nvSpPr>
        <p:spPr>
          <a:xfrm>
            <a:off x="5130523" y="2758418"/>
            <a:ext cx="646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202322"/>
                </a:solidFill>
                <a:latin typeface="Aptos Narrow" panose="020B0004020202020204" pitchFamily="34" charset="0"/>
              </a:rPr>
              <a:t>201</a:t>
            </a:r>
            <a:endParaRPr kumimoji="0" lang="en-US" sz="1000" b="0" i="0" u="none" strike="noStrike" kern="1200" cap="none" spc="0" normalizeH="0" baseline="0" noProof="0" dirty="0">
              <a:ln>
                <a:noFill/>
              </a:ln>
              <a:solidFill>
                <a:srgbClr val="202322"/>
              </a:solidFill>
              <a:effectLst/>
              <a:uLnTx/>
              <a:uFillTx/>
              <a:latin typeface="Aptos Narrow" panose="020B0004020202020204" pitchFamily="34" charset="0"/>
            </a:endParaRPr>
          </a:p>
        </p:txBody>
      </p:sp>
      <p:sp>
        <p:nvSpPr>
          <p:cNvPr id="48" name="TextBox 47">
            <a:extLst>
              <a:ext uri="{FF2B5EF4-FFF2-40B4-BE49-F238E27FC236}">
                <a16:creationId xmlns:a16="http://schemas.microsoft.com/office/drawing/2014/main" id="{37772472-6564-C150-4A79-EA1C1AC5D67D}"/>
              </a:ext>
            </a:extLst>
          </p:cNvPr>
          <p:cNvSpPr txBox="1"/>
          <p:nvPr/>
        </p:nvSpPr>
        <p:spPr>
          <a:xfrm>
            <a:off x="5130523" y="3471692"/>
            <a:ext cx="646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202322"/>
                </a:solidFill>
                <a:latin typeface="Aptos Narrow" panose="020B0004020202020204" pitchFamily="34" charset="0"/>
              </a:rPr>
              <a:t>100</a:t>
            </a:r>
            <a:endParaRPr kumimoji="0" lang="en-US" sz="1000" b="0" i="0" u="none" strike="noStrike" kern="1200" cap="none" spc="0" normalizeH="0" baseline="0" noProof="0" dirty="0">
              <a:ln>
                <a:noFill/>
              </a:ln>
              <a:solidFill>
                <a:srgbClr val="202322"/>
              </a:solidFill>
              <a:effectLst/>
              <a:uLnTx/>
              <a:uFillTx/>
              <a:latin typeface="Aptos Narrow" panose="020B0004020202020204" pitchFamily="34" charset="0"/>
            </a:endParaRPr>
          </a:p>
        </p:txBody>
      </p:sp>
      <p:sp>
        <p:nvSpPr>
          <p:cNvPr id="49" name="TextBox 48">
            <a:extLst>
              <a:ext uri="{FF2B5EF4-FFF2-40B4-BE49-F238E27FC236}">
                <a16:creationId xmlns:a16="http://schemas.microsoft.com/office/drawing/2014/main" id="{F1201C1E-D730-FC0C-D2C9-D42DAC62B49B}"/>
              </a:ext>
            </a:extLst>
          </p:cNvPr>
          <p:cNvSpPr txBox="1"/>
          <p:nvPr/>
        </p:nvSpPr>
        <p:spPr>
          <a:xfrm>
            <a:off x="5130523" y="4185550"/>
            <a:ext cx="646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202322"/>
                </a:solidFill>
                <a:latin typeface="Aptos Narrow" panose="020B0004020202020204" pitchFamily="34" charset="0"/>
              </a:rPr>
              <a:t>001</a:t>
            </a:r>
            <a:endParaRPr kumimoji="0" lang="en-US" sz="1000" b="0" i="0" u="none" strike="noStrike" kern="1200" cap="none" spc="0" normalizeH="0" baseline="0" noProof="0" dirty="0">
              <a:ln>
                <a:noFill/>
              </a:ln>
              <a:solidFill>
                <a:srgbClr val="202322"/>
              </a:solidFill>
              <a:effectLst/>
              <a:uLnTx/>
              <a:uFillTx/>
              <a:latin typeface="Aptos Narrow" panose="020B0004020202020204" pitchFamily="34" charset="0"/>
            </a:endParaRPr>
          </a:p>
        </p:txBody>
      </p:sp>
      <p:sp>
        <p:nvSpPr>
          <p:cNvPr id="50" name="TextBox 49">
            <a:extLst>
              <a:ext uri="{FF2B5EF4-FFF2-40B4-BE49-F238E27FC236}">
                <a16:creationId xmlns:a16="http://schemas.microsoft.com/office/drawing/2014/main" id="{A2EF0CE7-DC9B-24D1-8EBC-C46C18EF1D4B}"/>
              </a:ext>
            </a:extLst>
          </p:cNvPr>
          <p:cNvSpPr txBox="1"/>
          <p:nvPr/>
        </p:nvSpPr>
        <p:spPr>
          <a:xfrm>
            <a:off x="5130523" y="4898341"/>
            <a:ext cx="646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202322"/>
                </a:solidFill>
                <a:latin typeface="Aptos Narrow" panose="020B0004020202020204" pitchFamily="34" charset="0"/>
              </a:rPr>
              <a:t>200</a:t>
            </a:r>
            <a:endParaRPr kumimoji="0" lang="en-US" sz="1000" b="0" i="0" u="none" strike="noStrike" kern="1200" cap="none" spc="0" normalizeH="0" baseline="0" noProof="0" dirty="0">
              <a:ln>
                <a:noFill/>
              </a:ln>
              <a:solidFill>
                <a:srgbClr val="202322"/>
              </a:solidFill>
              <a:effectLst/>
              <a:uLnTx/>
              <a:uFillTx/>
              <a:latin typeface="Aptos Narrow" panose="020B0004020202020204" pitchFamily="34" charset="0"/>
            </a:endParaRPr>
          </a:p>
        </p:txBody>
      </p:sp>
      <p:sp>
        <p:nvSpPr>
          <p:cNvPr id="11" name="Rectangle 2">
            <a:extLst>
              <a:ext uri="{FF2B5EF4-FFF2-40B4-BE49-F238E27FC236}">
                <a16:creationId xmlns:a16="http://schemas.microsoft.com/office/drawing/2014/main" id="{40B24B90-41A2-3C31-1ADE-B3A1CEE3DA95}"/>
              </a:ext>
            </a:extLst>
          </p:cNvPr>
          <p:cNvSpPr/>
          <p:nvPr/>
        </p:nvSpPr>
        <p:spPr>
          <a:xfrm>
            <a:off x="283108" y="2640220"/>
            <a:ext cx="1097557" cy="954582"/>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02322"/>
                </a:solidFill>
                <a:effectLst/>
                <a:uLnTx/>
                <a:uFillTx/>
                <a:latin typeface="Aptos Narrow"/>
                <a:ea typeface="+mn-lt"/>
                <a:cs typeface="+mn-lt"/>
              </a:rPr>
              <a:t>GEL-VENTX</a:t>
            </a:r>
            <a:endParaRPr kumimoji="0" lang="en-US" sz="1800" b="0" i="0" u="none" strike="noStrike" kern="1200" cap="none" spc="0" normalizeH="0" baseline="0" noProof="0" dirty="0">
              <a:ln>
                <a:noFill/>
              </a:ln>
              <a:solidFill>
                <a:srgbClr val="202322"/>
              </a:solidFill>
              <a:effectLst/>
              <a:uLnTx/>
              <a:uFillTx/>
              <a:latin typeface="Aptos Narrow"/>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02322"/>
                </a:solidFill>
                <a:effectLst/>
                <a:uLnTx/>
                <a:uFillTx/>
                <a:latin typeface="Aptos Narrow"/>
                <a:ea typeface="+mn-lt"/>
                <a:cs typeface="+mn-lt"/>
              </a:rPr>
              <a:t>1203B04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02322"/>
                </a:solidFill>
                <a:effectLst/>
                <a:uLnTx/>
                <a:uFillTx/>
                <a:latin typeface="Aptos Narrow"/>
                <a:ea typeface="+mn-lt"/>
                <a:cs typeface="+mn-lt"/>
              </a:rPr>
              <a:t>NEW</a:t>
            </a:r>
            <a:endParaRPr kumimoji="0" lang="en-US" sz="1800" b="0" i="0" u="none" strike="noStrike" kern="1200" cap="none" spc="0" normalizeH="0" baseline="0" noProof="0" dirty="0">
              <a:ln>
                <a:noFill/>
              </a:ln>
              <a:solidFill>
                <a:srgbClr val="F9F9F9"/>
              </a:solidFill>
              <a:effectLst/>
              <a:uLnTx/>
              <a:uFillTx/>
              <a:latin typeface="Aptos Narrow"/>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02322"/>
                </a:solidFill>
                <a:effectLst/>
                <a:uLnTx/>
                <a:uFillTx/>
                <a:latin typeface="Aptos Narrow"/>
                <a:ea typeface="+mn-lt"/>
                <a:cs typeface="+mn-lt"/>
              </a:rPr>
              <a:t>UN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02322"/>
                </a:solidFill>
                <a:effectLst/>
                <a:uLnTx/>
                <a:uFillTx/>
                <a:latin typeface="Aptos Narrow"/>
                <a:ea typeface="+mn-lt"/>
                <a:cs typeface="+mn-lt"/>
              </a:rPr>
              <a:t>€110</a:t>
            </a:r>
          </a:p>
        </p:txBody>
      </p:sp>
    </p:spTree>
    <p:extLst>
      <p:ext uri="{BB962C8B-B14F-4D97-AF65-F5344CB8AC3E}">
        <p14:creationId xmlns:p14="http://schemas.microsoft.com/office/powerpoint/2010/main" val="47665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F1A487F-16FD-C35C-7C13-FBBCF9393EBD}"/>
              </a:ext>
            </a:extLst>
          </p:cNvPr>
          <p:cNvGraphicFramePr>
            <a:graphicFrameLocks noChangeAspect="1"/>
          </p:cNvGraphicFramePr>
          <p:nvPr>
            <p:custDataLst>
              <p:tags r:id="rId1"/>
            </p:custDataLst>
            <p:extLst>
              <p:ext uri="{D42A27DB-BD31-4B8C-83A1-F6EECF244321}">
                <p14:modId xmlns:p14="http://schemas.microsoft.com/office/powerpoint/2010/main" val="4061255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8" name="think-cell data - do not delete" hidden="1">
                        <a:extLst>
                          <a:ext uri="{FF2B5EF4-FFF2-40B4-BE49-F238E27FC236}">
                            <a16:creationId xmlns:a16="http://schemas.microsoft.com/office/drawing/2014/main" id="{2F1A487F-16FD-C35C-7C13-FBBCF9393E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0" name="Picture 5">
            <a:extLst>
              <a:ext uri="{FF2B5EF4-FFF2-40B4-BE49-F238E27FC236}">
                <a16:creationId xmlns:a16="http://schemas.microsoft.com/office/drawing/2014/main" id="{211331C7-4C8E-EC6B-9499-336BED4FA3C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1564771" y="733242"/>
            <a:ext cx="1555392" cy="731520"/>
          </a:xfrm>
          <a:prstGeom prst="rect">
            <a:avLst/>
          </a:prstGeom>
        </p:spPr>
      </p:pic>
      <p:sp>
        <p:nvSpPr>
          <p:cNvPr id="66" name="正方形/長方形 65">
            <a:extLst>
              <a:ext uri="{FF2B5EF4-FFF2-40B4-BE49-F238E27FC236}">
                <a16:creationId xmlns:a16="http://schemas.microsoft.com/office/drawing/2014/main" id="{E3D66219-C056-79DF-43B6-AD9C57CCEB15}"/>
              </a:ext>
            </a:extLst>
          </p:cNvPr>
          <p:cNvSpPr/>
          <p:nvPr/>
        </p:nvSpPr>
        <p:spPr>
          <a:xfrm>
            <a:off x="0" y="-1361361"/>
            <a:ext cx="12033402" cy="1917847"/>
          </a:xfrm>
          <a:prstGeom prst="rect">
            <a:avLst/>
          </a:prstGeom>
          <a:no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latin typeface="Aptos" panose="020B0004020202020204" pitchFamily="34" charset="0"/>
            </a:endParaRPr>
          </a:p>
        </p:txBody>
      </p:sp>
      <p:sp>
        <p:nvSpPr>
          <p:cNvPr id="71" name="Rectangle 2">
            <a:extLst>
              <a:ext uri="{FF2B5EF4-FFF2-40B4-BE49-F238E27FC236}">
                <a16:creationId xmlns:a16="http://schemas.microsoft.com/office/drawing/2014/main" id="{2AD15FC7-13C1-7EAF-160A-6AFB645E257B}"/>
              </a:ext>
            </a:extLst>
          </p:cNvPr>
          <p:cNvSpPr/>
          <p:nvPr/>
        </p:nvSpPr>
        <p:spPr>
          <a:xfrm>
            <a:off x="275859" y="688972"/>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NUNOBIKI</a:t>
            </a:r>
          </a:p>
          <a:p>
            <a:r>
              <a:rPr lang="en-US" sz="800" b="1" dirty="0">
                <a:solidFill>
                  <a:schemeClr val="tx1"/>
                </a:solidFill>
                <a:latin typeface="Aptos Narrow"/>
                <a:ea typeface="+mn-lt"/>
                <a:cs typeface="+mn-lt"/>
              </a:rPr>
              <a:t>1203A536</a:t>
            </a:r>
          </a:p>
          <a:p>
            <a:r>
              <a:rPr lang="en-US" sz="800" dirty="0">
                <a:solidFill>
                  <a:schemeClr val="tx1"/>
                </a:solidFill>
                <a:latin typeface="Aptos Narrow"/>
                <a:ea typeface="+mn-lt"/>
                <a:cs typeface="+mn-lt"/>
              </a:rPr>
              <a:t>CUD</a:t>
            </a:r>
          </a:p>
          <a:p>
            <a:r>
              <a:rPr lang="en-US" sz="800" dirty="0">
                <a:solidFill>
                  <a:schemeClr val="tx1"/>
                </a:solidFill>
                <a:latin typeface="Aptos Narrow"/>
                <a:ea typeface="+mn-lt"/>
                <a:cs typeface="+mn-lt"/>
              </a:rPr>
              <a:t>UNI</a:t>
            </a:r>
          </a:p>
          <a:p>
            <a:r>
              <a:rPr lang="en-US" sz="800" dirty="0">
                <a:solidFill>
                  <a:schemeClr val="tx1"/>
                </a:solidFill>
                <a:latin typeface="Aptos Narrow"/>
                <a:ea typeface="+mn-lt"/>
                <a:cs typeface="+mn-lt"/>
              </a:rPr>
              <a:t>BASE</a:t>
            </a:r>
          </a:p>
          <a:p>
            <a:r>
              <a:rPr lang="en-US" sz="800" dirty="0">
                <a:solidFill>
                  <a:schemeClr val="tx1"/>
                </a:solidFill>
                <a:latin typeface="Aptos Narrow"/>
                <a:ea typeface="+mn-lt"/>
                <a:cs typeface="+mn-lt"/>
              </a:rPr>
              <a:t>€115</a:t>
            </a:r>
          </a:p>
          <a:p>
            <a:endParaRPr lang="en-US" sz="800" dirty="0">
              <a:latin typeface="Aptos Narrow"/>
            </a:endParaRPr>
          </a:p>
        </p:txBody>
      </p:sp>
      <p:sp>
        <p:nvSpPr>
          <p:cNvPr id="13" name="正方形/長方形 12">
            <a:extLst>
              <a:ext uri="{FF2B5EF4-FFF2-40B4-BE49-F238E27FC236}">
                <a16:creationId xmlns:a16="http://schemas.microsoft.com/office/drawing/2014/main" id="{9C83B014-365B-CE5F-61B1-D0323B12113D}"/>
              </a:ext>
            </a:extLst>
          </p:cNvPr>
          <p:cNvSpPr/>
          <p:nvPr/>
        </p:nvSpPr>
        <p:spPr>
          <a:xfrm rot="16200000">
            <a:off x="-2924641" y="3573526"/>
            <a:ext cx="6217540" cy="183461"/>
          </a:xfrm>
          <a:prstGeom prst="rect">
            <a:avLst/>
          </a:prstGeom>
          <a:solidFill>
            <a:srgbClr val="D8CC9D"/>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solidFill>
                  <a:schemeClr val="tx1"/>
                </a:solidFill>
                <a:latin typeface="Aptos" panose="020B0004020202020204" pitchFamily="34" charset="0"/>
              </a:rPr>
              <a:t>GOLD</a:t>
            </a:r>
            <a:endParaRPr kumimoji="1" lang="ja-JP" altLang="en-US" sz="800">
              <a:solidFill>
                <a:schemeClr val="tx1"/>
              </a:solidFill>
              <a:latin typeface="Aptos" panose="020B0004020202020204" pitchFamily="34" charset="0"/>
            </a:endParaRPr>
          </a:p>
        </p:txBody>
      </p:sp>
      <p:sp>
        <p:nvSpPr>
          <p:cNvPr id="4" name="タイトル 5">
            <a:extLst>
              <a:ext uri="{FF2B5EF4-FFF2-40B4-BE49-F238E27FC236}">
                <a16:creationId xmlns:a16="http://schemas.microsoft.com/office/drawing/2014/main" id="{69771C21-E89C-DDE6-CF08-DC3247E62040}"/>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r>
              <a:rPr lang="en-US" altLang="ja-JP" dirty="0">
                <a:latin typeface="Aptos"/>
                <a:cs typeface="Calibri"/>
              </a:rPr>
              <a:t>GEL-</a:t>
            </a:r>
            <a:r>
              <a:rPr lang="en-US" altLang="ja-JP" dirty="0" err="1">
                <a:latin typeface="Aptos"/>
                <a:cs typeface="Calibri"/>
              </a:rPr>
              <a:t>nunobiki</a:t>
            </a:r>
            <a:endParaRPr lang="ja-JP" altLang="en-US" dirty="0"/>
          </a:p>
        </p:txBody>
      </p:sp>
      <p:sp>
        <p:nvSpPr>
          <p:cNvPr id="9" name="テキスト ボックス 6">
            <a:extLst>
              <a:ext uri="{FF2B5EF4-FFF2-40B4-BE49-F238E27FC236}">
                <a16:creationId xmlns:a16="http://schemas.microsoft.com/office/drawing/2014/main" id="{2B2BC842-20B8-3A9F-DEDC-0FCF2AAB2A5B}"/>
              </a:ext>
            </a:extLst>
          </p:cNvPr>
          <p:cNvSpPr txBox="1"/>
          <p:nvPr/>
        </p:nvSpPr>
        <p:spPr>
          <a:xfrm>
            <a:off x="1556878" y="701058"/>
            <a:ext cx="357790" cy="230832"/>
          </a:xfrm>
          <a:prstGeom prst="rect">
            <a:avLst/>
          </a:prstGeom>
          <a:noFill/>
        </p:spPr>
        <p:txBody>
          <a:bodyPr wrap="none" rtlCol="0">
            <a:spAutoFit/>
          </a:bodyPr>
          <a:lstStyle/>
          <a:p>
            <a:r>
              <a:rPr kumimoji="1" lang="en-US" altLang="ja-JP" sz="900">
                <a:latin typeface="Aptos Narrow" panose="020B0004020202020204" pitchFamily="34" charset="0"/>
                <a:ea typeface="Calibri" panose="020F0502020204030204" pitchFamily="34" charset="0"/>
                <a:cs typeface="Calibri" panose="020F0502020204030204" pitchFamily="34" charset="0"/>
              </a:rPr>
              <a:t>004</a:t>
            </a:r>
            <a:endParaRPr kumimoji="1" lang="ja-JP" altLang="en-US" sz="900">
              <a:latin typeface="Aptos Narrow" panose="020B0004020202020204" pitchFamily="34" charset="0"/>
              <a:cs typeface="Calibri" panose="020F0502020204030204" pitchFamily="34" charset="0"/>
            </a:endParaRPr>
          </a:p>
        </p:txBody>
      </p:sp>
    </p:spTree>
    <p:extLst>
      <p:ext uri="{BB962C8B-B14F-4D97-AF65-F5344CB8AC3E}">
        <p14:creationId xmlns:p14="http://schemas.microsoft.com/office/powerpoint/2010/main" val="23642817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7B1C95-F654-F509-CBFB-4E6C8504E8E3}"/>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4B552E2-A1F9-8677-B21E-95FB1FEDAB30}"/>
              </a:ext>
            </a:extLst>
          </p:cNvPr>
          <p:cNvGraphicFramePr>
            <a:graphicFrameLocks noChangeAspect="1"/>
          </p:cNvGraphicFramePr>
          <p:nvPr>
            <p:custDataLst>
              <p:tags r:id="rId1"/>
            </p:custDataLst>
            <p:extLst>
              <p:ext uri="{D42A27DB-BD31-4B8C-83A1-F6EECF244321}">
                <p14:modId xmlns:p14="http://schemas.microsoft.com/office/powerpoint/2010/main" val="2324063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18" name="think-cell data - do not delete" hidden="1">
                        <a:extLst>
                          <a:ext uri="{FF2B5EF4-FFF2-40B4-BE49-F238E27FC236}">
                            <a16:creationId xmlns:a16="http://schemas.microsoft.com/office/drawing/2014/main" id="{F4B552E2-A1F9-8677-B21E-95FB1FEDAB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CDF34A5-7D6F-1BAB-1C0B-4EE99C20DF9F}"/>
              </a:ext>
            </a:extLst>
          </p:cNvPr>
          <p:cNvPicPr>
            <a:picLocks noChangeAspect="1"/>
          </p:cNvPicPr>
          <p:nvPr/>
        </p:nvPicPr>
        <p:blipFill>
          <a:blip r:embed="rId6"/>
          <a:stretch>
            <a:fillRect/>
          </a:stretch>
        </p:blipFill>
        <p:spPr>
          <a:xfrm>
            <a:off x="5047428" y="640879"/>
            <a:ext cx="1623885" cy="864000"/>
          </a:xfrm>
          <a:prstGeom prst="rect">
            <a:avLst/>
          </a:prstGeom>
        </p:spPr>
      </p:pic>
      <p:pic>
        <p:nvPicPr>
          <p:cNvPr id="14" name="Picture 13">
            <a:extLst>
              <a:ext uri="{FF2B5EF4-FFF2-40B4-BE49-F238E27FC236}">
                <a16:creationId xmlns:a16="http://schemas.microsoft.com/office/drawing/2014/main" id="{FC7078D4-D72D-2A6C-AB70-0ACDF670B908}"/>
              </a:ext>
            </a:extLst>
          </p:cNvPr>
          <p:cNvPicPr>
            <a:picLocks noChangeAspect="1"/>
          </p:cNvPicPr>
          <p:nvPr/>
        </p:nvPicPr>
        <p:blipFill>
          <a:blip r:embed="rId7"/>
          <a:stretch>
            <a:fillRect/>
          </a:stretch>
        </p:blipFill>
        <p:spPr>
          <a:xfrm>
            <a:off x="1436836" y="640879"/>
            <a:ext cx="1677039" cy="864000"/>
          </a:xfrm>
          <a:prstGeom prst="rect">
            <a:avLst/>
          </a:prstGeom>
        </p:spPr>
      </p:pic>
      <p:sp>
        <p:nvSpPr>
          <p:cNvPr id="3" name="Rectangle 2">
            <a:extLst>
              <a:ext uri="{FF2B5EF4-FFF2-40B4-BE49-F238E27FC236}">
                <a16:creationId xmlns:a16="http://schemas.microsoft.com/office/drawing/2014/main" id="{C8E17898-DA7D-93F1-1185-927716BB811A}"/>
              </a:ext>
            </a:extLst>
          </p:cNvPr>
          <p:cNvSpPr/>
          <p:nvPr/>
        </p:nvSpPr>
        <p:spPr>
          <a:xfrm>
            <a:off x="275673" y="540586"/>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a:solidFill>
                  <a:schemeClr val="tx1"/>
                </a:solidFill>
                <a:latin typeface="Aptos Narrow" panose="020B0004020202020204" pitchFamily="34" charset="0"/>
                <a:ea typeface="+mn-lt"/>
                <a:cs typeface="+mn-lt"/>
              </a:rPr>
              <a:t>GEL-KINETIC 2.0</a:t>
            </a:r>
          </a:p>
          <a:p>
            <a:r>
              <a:rPr lang="en-US" sz="800" b="1">
                <a:solidFill>
                  <a:schemeClr val="tx1"/>
                </a:solidFill>
                <a:latin typeface="Aptos Narrow" panose="020B0004020202020204" pitchFamily="34" charset="0"/>
                <a:ea typeface="+mn-lt"/>
                <a:cs typeface="+mn-lt"/>
              </a:rPr>
              <a:t>1203A678</a:t>
            </a:r>
          </a:p>
          <a:p>
            <a:r>
              <a:rPr lang="en-US" sz="800">
                <a:solidFill>
                  <a:schemeClr val="tx1"/>
                </a:solidFill>
                <a:latin typeface="Aptos Narrow" panose="020B0004020202020204" pitchFamily="34" charset="0"/>
                <a:ea typeface="+mn-lt"/>
                <a:cs typeface="+mn-lt"/>
              </a:rPr>
              <a:t>NEW</a:t>
            </a:r>
          </a:p>
          <a:p>
            <a:r>
              <a:rPr lang="en-US" sz="800">
                <a:solidFill>
                  <a:schemeClr val="tx1"/>
                </a:solidFill>
                <a:latin typeface="Aptos Narrow" panose="020B0004020202020204" pitchFamily="34" charset="0"/>
                <a:ea typeface="+mn-lt"/>
                <a:cs typeface="+mn-lt"/>
              </a:rPr>
              <a:t>UNI</a:t>
            </a:r>
          </a:p>
          <a:p>
            <a:r>
              <a:rPr lang="en-US" sz="800">
                <a:solidFill>
                  <a:schemeClr val="tx1"/>
                </a:solidFill>
                <a:latin typeface="Aptos Narrow" panose="020B0004020202020204" pitchFamily="34" charset="0"/>
                <a:ea typeface="+mn-lt"/>
                <a:cs typeface="+mn-lt"/>
              </a:rPr>
              <a:t>BASE</a:t>
            </a:r>
          </a:p>
          <a:p>
            <a:r>
              <a:rPr lang="en-US" sz="800">
                <a:solidFill>
                  <a:schemeClr val="tx1"/>
                </a:solidFill>
                <a:latin typeface="Aptos Narrow" panose="020B0004020202020204" pitchFamily="34" charset="0"/>
                <a:ea typeface="+mn-lt"/>
                <a:cs typeface="+mn-lt"/>
              </a:rPr>
              <a:t>€240</a:t>
            </a:r>
          </a:p>
          <a:p>
            <a:endParaRPr lang="en-US" sz="800">
              <a:solidFill>
                <a:schemeClr val="tx1"/>
              </a:solidFill>
              <a:latin typeface="Aptos Narrow" panose="020B0004020202020204" pitchFamily="34" charset="0"/>
              <a:ea typeface="+mn-lt"/>
              <a:cs typeface="+mn-lt"/>
            </a:endParaRPr>
          </a:p>
        </p:txBody>
      </p:sp>
      <p:sp>
        <p:nvSpPr>
          <p:cNvPr id="6" name="タイトル 5">
            <a:extLst>
              <a:ext uri="{FF2B5EF4-FFF2-40B4-BE49-F238E27FC236}">
                <a16:creationId xmlns:a16="http://schemas.microsoft.com/office/drawing/2014/main" id="{78AF93A7-7FED-145D-B3A0-1BE92C07B25C}"/>
              </a:ext>
            </a:extLst>
          </p:cNvPr>
          <p:cNvSpPr>
            <a:spLocks noGrp="1"/>
          </p:cNvSpPr>
          <p:nvPr>
            <p:ph type="title"/>
          </p:nvPr>
        </p:nvSpPr>
        <p:spPr>
          <a:xfrm>
            <a:off x="1373416" y="78568"/>
            <a:ext cx="7106957" cy="255420"/>
          </a:xfrm>
        </p:spPr>
        <p:txBody>
          <a:bodyPr vert="horz" lIns="54864" tIns="54864" rIns="45720" bIns="45720" rtlCol="0" anchor="t" anchorCtr="0">
            <a:noAutofit/>
          </a:bodyPr>
          <a:lstStyle/>
          <a:p>
            <a:r>
              <a:rPr lang="en-US" altLang="ja-JP">
                <a:latin typeface="Aptos"/>
                <a:cs typeface="Calibri"/>
              </a:rPr>
              <a:t>GEL-KINETIC 2.0</a:t>
            </a:r>
            <a:endParaRPr lang="ja-JP" altLang="en-US"/>
          </a:p>
        </p:txBody>
      </p:sp>
      <p:sp>
        <p:nvSpPr>
          <p:cNvPr id="4" name="正方形/長方形 3">
            <a:extLst>
              <a:ext uri="{FF2B5EF4-FFF2-40B4-BE49-F238E27FC236}">
                <a16:creationId xmlns:a16="http://schemas.microsoft.com/office/drawing/2014/main" id="{0BE2B642-5FE0-8DC4-4FBD-D3363E742381}"/>
              </a:ext>
            </a:extLst>
          </p:cNvPr>
          <p:cNvSpPr/>
          <p:nvPr/>
        </p:nvSpPr>
        <p:spPr>
          <a:xfrm rot="16200000">
            <a:off x="-2931452" y="3562529"/>
            <a:ext cx="6226488" cy="185782"/>
          </a:xfrm>
          <a:prstGeom prst="rect">
            <a:avLst/>
          </a:prstGeom>
          <a:solidFill>
            <a:srgbClr val="EDEEEE"/>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solidFill>
                  <a:schemeClr val="tx1"/>
                </a:solidFill>
                <a:latin typeface="Aptos" panose="020B0004020202020204" pitchFamily="34" charset="0"/>
              </a:rPr>
              <a:t>PLATINUM PLUS</a:t>
            </a:r>
            <a:endParaRPr kumimoji="1" lang="ja-JP" altLang="en-US" sz="800">
              <a:solidFill>
                <a:schemeClr val="tx1"/>
              </a:solidFill>
              <a:latin typeface="Aptos" panose="020B0004020202020204" pitchFamily="34" charset="0"/>
            </a:endParaRPr>
          </a:p>
        </p:txBody>
      </p:sp>
      <p:sp>
        <p:nvSpPr>
          <p:cNvPr id="11" name="Google Shape;84;p13">
            <a:extLst>
              <a:ext uri="{FF2B5EF4-FFF2-40B4-BE49-F238E27FC236}">
                <a16:creationId xmlns:a16="http://schemas.microsoft.com/office/drawing/2014/main" id="{69C15E55-9C99-AC93-7BC9-3A1B31F0990B}"/>
              </a:ext>
            </a:extLst>
          </p:cNvPr>
          <p:cNvSpPr txBox="1"/>
          <p:nvPr/>
        </p:nvSpPr>
        <p:spPr>
          <a:xfrm>
            <a:off x="5129507" y="640879"/>
            <a:ext cx="365443" cy="230832"/>
          </a:xfrm>
          <a:prstGeom prst="rect">
            <a:avLst/>
          </a:prstGeom>
          <a:noFill/>
        </p:spPr>
        <p:txBody>
          <a:bodyPr wrap="squar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dirty="0">
                <a:latin typeface="Aptos Narrow" panose="020B0004020202020204" pitchFamily="34" charset="0"/>
              </a:rPr>
              <a:t>023</a:t>
            </a:r>
          </a:p>
        </p:txBody>
      </p:sp>
      <p:sp>
        <p:nvSpPr>
          <p:cNvPr id="13" name="Google Shape;84;p13">
            <a:extLst>
              <a:ext uri="{FF2B5EF4-FFF2-40B4-BE49-F238E27FC236}">
                <a16:creationId xmlns:a16="http://schemas.microsoft.com/office/drawing/2014/main" id="{D1198A75-FB9C-F2C7-32B2-B544CFB75220}"/>
              </a:ext>
            </a:extLst>
          </p:cNvPr>
          <p:cNvSpPr txBox="1"/>
          <p:nvPr/>
        </p:nvSpPr>
        <p:spPr>
          <a:xfrm>
            <a:off x="1604658" y="632207"/>
            <a:ext cx="365443" cy="230832"/>
          </a:xfrm>
          <a:prstGeom prst="rect">
            <a:avLst/>
          </a:prstGeom>
          <a:noFill/>
        </p:spPr>
        <p:txBody>
          <a:bodyPr wrap="squar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altLang="ja">
                <a:latin typeface="Aptos Narrow" panose="020B0004020202020204" pitchFamily="34" charset="0"/>
              </a:rPr>
              <a:t>022</a:t>
            </a:r>
          </a:p>
        </p:txBody>
      </p:sp>
    </p:spTree>
    <p:extLst>
      <p:ext uri="{BB962C8B-B14F-4D97-AF65-F5344CB8AC3E}">
        <p14:creationId xmlns:p14="http://schemas.microsoft.com/office/powerpoint/2010/main" val="4372381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3327"/>
        <p:cNvGrpSpPr/>
        <p:nvPr/>
      </p:nvGrpSpPr>
      <p:grpSpPr>
        <a:xfrm>
          <a:off x="0" y="0"/>
          <a:ext cx="0" cy="0"/>
          <a:chOff x="0" y="0"/>
          <a:chExt cx="0" cy="0"/>
        </a:xfrm>
      </p:grpSpPr>
      <p:sp>
        <p:nvSpPr>
          <p:cNvPr id="19" name="Google Shape;3459;p436">
            <a:extLst>
              <a:ext uri="{FF2B5EF4-FFF2-40B4-BE49-F238E27FC236}">
                <a16:creationId xmlns:a16="http://schemas.microsoft.com/office/drawing/2014/main" id="{35ED4F10-2E0B-4C28-B659-55D6669C6FD5}"/>
              </a:ext>
            </a:extLst>
          </p:cNvPr>
          <p:cNvSpPr/>
          <p:nvPr/>
        </p:nvSpPr>
        <p:spPr>
          <a:xfrm>
            <a:off x="0" y="214178"/>
            <a:ext cx="12192000" cy="4021226"/>
          </a:xfrm>
          <a:prstGeom prst="rect">
            <a:avLst/>
          </a:prstGeom>
          <a:solidFill>
            <a:srgbClr val="FFB7B7"/>
          </a:solidFill>
          <a:ln>
            <a:noFill/>
          </a:ln>
        </p:spPr>
        <p:txBody>
          <a:bodyPr spcFirstLastPara="1" wrap="square" lIns="85722" tIns="42845" rIns="85722" bIns="42845" anchor="ctr" anchorCtr="0">
            <a:noAutofit/>
          </a:bodyPr>
          <a:lstStyle/>
          <a:p>
            <a:pPr marL="0" marR="0" lvl="0" indent="0" algn="ctr" defTabSz="1143111" rtl="0" eaLnBrk="1" fontAlgn="auto" latinLnBrk="0" hangingPunct="1">
              <a:lnSpc>
                <a:spcPct val="100000"/>
              </a:lnSpc>
              <a:spcBef>
                <a:spcPts val="0"/>
              </a:spcBef>
              <a:spcAft>
                <a:spcPts val="0"/>
              </a:spcAft>
              <a:buClrTx/>
              <a:buSzTx/>
              <a:buFontTx/>
              <a:buNone/>
              <a:tabLst/>
              <a:defRPr/>
            </a:pPr>
            <a:endParaRPr kumimoji="0" lang="en-US" altLang="ja" sz="1125" b="0" i="0" u="none" strike="noStrike" kern="1200" cap="none" spc="0" normalizeH="0" baseline="0" noProof="0">
              <a:ln>
                <a:noFill/>
              </a:ln>
              <a:solidFill>
                <a:srgbClr val="FFFFFF"/>
              </a:solidFill>
              <a:effectLst/>
              <a:uLnTx/>
              <a:uFillTx/>
              <a:latin typeface="ASICS Font 3.0" panose="00000500000000000000" pitchFamily="50" charset="0"/>
              <a:ea typeface="+mn-ea"/>
              <a:cs typeface="+mn-cs"/>
            </a:endParaRPr>
          </a:p>
        </p:txBody>
      </p:sp>
      <p:sp>
        <p:nvSpPr>
          <p:cNvPr id="20" name="Title 2">
            <a:extLst>
              <a:ext uri="{FF2B5EF4-FFF2-40B4-BE49-F238E27FC236}">
                <a16:creationId xmlns:a16="http://schemas.microsoft.com/office/drawing/2014/main" id="{D986FB76-CFAA-4039-B71C-D9F118378972}"/>
              </a:ext>
            </a:extLst>
          </p:cNvPr>
          <p:cNvSpPr>
            <a:spLocks noGrp="1"/>
          </p:cNvSpPr>
          <p:nvPr>
            <p:ph type="title"/>
          </p:nvPr>
        </p:nvSpPr>
        <p:spPr>
          <a:xfrm>
            <a:off x="653055" y="2508497"/>
            <a:ext cx="6372185" cy="1563887"/>
          </a:xfrm>
        </p:spPr>
        <p:txBody>
          <a:bodyPr>
            <a:normAutofit/>
          </a:bodyPr>
          <a:lstStyle/>
          <a:p>
            <a:pPr>
              <a:lnSpc>
                <a:spcPct val="150000"/>
              </a:lnSpc>
            </a:pPr>
            <a:r>
              <a:rPr lang="en-GB" sz="3000" spc="375">
                <a:solidFill>
                  <a:schemeClr val="bg1"/>
                </a:solidFill>
                <a:latin typeface="ASICS Font 3.0" panose="00000500000000000000" pitchFamily="50" charset="0"/>
              </a:rPr>
              <a:t>COURT</a:t>
            </a:r>
            <a:endParaRPr lang="en-NL" sz="3000" spc="375">
              <a:solidFill>
                <a:schemeClr val="bg1"/>
              </a:solidFill>
              <a:latin typeface="ASICS Font 3.0" panose="00000500000000000000" pitchFamily="50" charset="0"/>
            </a:endParaRPr>
          </a:p>
        </p:txBody>
      </p:sp>
      <p:pic>
        <p:nvPicPr>
          <p:cNvPr id="2" name="Graphic 1">
            <a:extLst>
              <a:ext uri="{FF2B5EF4-FFF2-40B4-BE49-F238E27FC236}">
                <a16:creationId xmlns:a16="http://schemas.microsoft.com/office/drawing/2014/main" id="{F4552B43-AD38-0CF3-ADFE-204591C7E289}"/>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59157" y="424004"/>
            <a:ext cx="1478735" cy="698400"/>
          </a:xfrm>
          <a:prstGeom prst="rect">
            <a:avLst/>
          </a:prstGeom>
        </p:spPr>
      </p:pic>
    </p:spTree>
    <p:extLst>
      <p:ext uri="{BB962C8B-B14F-4D97-AF65-F5344CB8AC3E}">
        <p14:creationId xmlns:p14="http://schemas.microsoft.com/office/powerpoint/2010/main" val="7355671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BB54D1D-FB2A-4811-9981-2F6D6CFC7D3F}"/>
              </a:ext>
            </a:extLst>
          </p:cNvPr>
          <p:cNvGraphicFramePr>
            <a:graphicFrameLocks noChangeAspect="1"/>
          </p:cNvGraphicFramePr>
          <p:nvPr>
            <p:custDataLst>
              <p:tags r:id="rId1"/>
            </p:custDataLst>
            <p:extLst>
              <p:ext uri="{D42A27DB-BD31-4B8C-83A1-F6EECF244321}">
                <p14:modId xmlns:p14="http://schemas.microsoft.com/office/powerpoint/2010/main" val="2005300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9" name="think-cell data - do not delete" hidden="1">
                        <a:extLst>
                          <a:ext uri="{FF2B5EF4-FFF2-40B4-BE49-F238E27FC236}">
                            <a16:creationId xmlns:a16="http://schemas.microsoft.com/office/drawing/2014/main" id="{3BB54D1D-FB2A-4811-9981-2F6D6CFC7D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BE8D4C36-F0EA-1132-692C-7944C8810469}"/>
              </a:ext>
            </a:extLst>
          </p:cNvPr>
          <p:cNvPicPr>
            <a:picLocks noChangeAspect="1"/>
          </p:cNvPicPr>
          <p:nvPr/>
        </p:nvPicPr>
        <p:blipFill>
          <a:blip r:embed="rId5"/>
          <a:stretch>
            <a:fillRect/>
          </a:stretch>
        </p:blipFill>
        <p:spPr>
          <a:xfrm>
            <a:off x="10390739" y="1457739"/>
            <a:ext cx="1612033" cy="775790"/>
          </a:xfrm>
          <a:prstGeom prst="rect">
            <a:avLst/>
          </a:prstGeom>
        </p:spPr>
      </p:pic>
      <p:pic>
        <p:nvPicPr>
          <p:cNvPr id="7" name="Picture 6">
            <a:extLst>
              <a:ext uri="{FF2B5EF4-FFF2-40B4-BE49-F238E27FC236}">
                <a16:creationId xmlns:a16="http://schemas.microsoft.com/office/drawing/2014/main" id="{1229F743-E930-98AE-7AB7-AB6FC5F9B213}"/>
              </a:ext>
            </a:extLst>
          </p:cNvPr>
          <p:cNvPicPr>
            <a:picLocks noChangeAspect="1"/>
          </p:cNvPicPr>
          <p:nvPr/>
        </p:nvPicPr>
        <p:blipFill>
          <a:blip r:embed="rId6"/>
          <a:stretch>
            <a:fillRect/>
          </a:stretch>
        </p:blipFill>
        <p:spPr>
          <a:xfrm>
            <a:off x="10387320" y="634868"/>
            <a:ext cx="1615452" cy="822871"/>
          </a:xfrm>
          <a:prstGeom prst="rect">
            <a:avLst/>
          </a:prstGeom>
        </p:spPr>
      </p:pic>
      <p:sp>
        <p:nvSpPr>
          <p:cNvPr id="70" name="Rectangle 2">
            <a:extLst>
              <a:ext uri="{FF2B5EF4-FFF2-40B4-BE49-F238E27FC236}">
                <a16:creationId xmlns:a16="http://schemas.microsoft.com/office/drawing/2014/main" id="{806B8040-186A-DF35-242B-F6AD41CEFC9B}"/>
              </a:ext>
            </a:extLst>
          </p:cNvPr>
          <p:cNvSpPr/>
          <p:nvPr/>
        </p:nvSpPr>
        <p:spPr>
          <a:xfrm>
            <a:off x="275673" y="540586"/>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RESOLUTION 5</a:t>
            </a:r>
            <a:endParaRPr lang="en-US" sz="800" dirty="0">
              <a:latin typeface="Aptos Narrow"/>
            </a:endParaRPr>
          </a:p>
          <a:p>
            <a:r>
              <a:rPr lang="en-US" sz="800" b="1" dirty="0">
                <a:solidFill>
                  <a:schemeClr val="tx1"/>
                </a:solidFill>
                <a:latin typeface="Aptos Narrow"/>
                <a:ea typeface="+mn-lt"/>
                <a:cs typeface="+mn-lt"/>
              </a:rPr>
              <a:t>1203A901</a:t>
            </a:r>
          </a:p>
          <a:p>
            <a:r>
              <a:rPr lang="en-US" sz="800" dirty="0">
                <a:solidFill>
                  <a:schemeClr val="tx1"/>
                </a:solidFill>
                <a:latin typeface="Aptos Narrow"/>
                <a:ea typeface="+mn-lt"/>
                <a:cs typeface="+mn-lt"/>
              </a:rPr>
              <a:t>NEW</a:t>
            </a:r>
          </a:p>
          <a:p>
            <a:r>
              <a:rPr lang="en-US" sz="800" dirty="0">
                <a:solidFill>
                  <a:schemeClr val="tx1"/>
                </a:solidFill>
                <a:latin typeface="Aptos Narrow"/>
                <a:ea typeface="+mn-lt"/>
                <a:cs typeface="+mn-lt"/>
              </a:rPr>
              <a:t>UNI</a:t>
            </a:r>
          </a:p>
          <a:p>
            <a:r>
              <a:rPr lang="en-US" sz="800" dirty="0">
                <a:solidFill>
                  <a:schemeClr val="tx1"/>
                </a:solidFill>
                <a:latin typeface="Aptos Narrow"/>
                <a:ea typeface="+mn-lt"/>
                <a:cs typeface="+mn-lt"/>
              </a:rPr>
              <a:t>BASE </a:t>
            </a:r>
          </a:p>
          <a:p>
            <a:r>
              <a:rPr lang="en-US" sz="800" dirty="0">
                <a:solidFill>
                  <a:schemeClr val="tx1"/>
                </a:solidFill>
                <a:latin typeface="Aptos Narrow"/>
                <a:ea typeface="+mn-lt"/>
                <a:cs typeface="+mn-lt"/>
              </a:rPr>
              <a:t>€165</a:t>
            </a:r>
          </a:p>
          <a:p>
            <a:endParaRPr lang="en-US" sz="800" dirty="0">
              <a:solidFill>
                <a:schemeClr val="tx1"/>
              </a:solidFill>
              <a:latin typeface="Aptos Narrow"/>
            </a:endParaRPr>
          </a:p>
        </p:txBody>
      </p:sp>
      <p:sp>
        <p:nvSpPr>
          <p:cNvPr id="8" name="正方形/長方形 7">
            <a:extLst>
              <a:ext uri="{FF2B5EF4-FFF2-40B4-BE49-F238E27FC236}">
                <a16:creationId xmlns:a16="http://schemas.microsoft.com/office/drawing/2014/main" id="{B4ECB390-398C-CD36-5996-F412134D736D}"/>
              </a:ext>
            </a:extLst>
          </p:cNvPr>
          <p:cNvSpPr/>
          <p:nvPr/>
        </p:nvSpPr>
        <p:spPr>
          <a:xfrm rot="16200000">
            <a:off x="-2930893" y="3561969"/>
            <a:ext cx="6224384" cy="184795"/>
          </a:xfrm>
          <a:prstGeom prst="rect">
            <a:avLst/>
          </a:prstGeom>
          <a:solidFill>
            <a:srgbClr val="EDEEEE"/>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solidFill>
                  <a:schemeClr val="tx1"/>
                </a:solidFill>
                <a:latin typeface="Aptos" panose="020B0004020202020204" pitchFamily="34" charset="0"/>
              </a:rPr>
              <a:t>PLATINUM PLUS</a:t>
            </a:r>
            <a:endParaRPr kumimoji="1" lang="ja-JP" altLang="en-US" sz="800">
              <a:solidFill>
                <a:schemeClr val="tx1"/>
              </a:solidFill>
              <a:latin typeface="Aptos" panose="020B0004020202020204" pitchFamily="34" charset="0"/>
            </a:endParaRPr>
          </a:p>
        </p:txBody>
      </p:sp>
      <p:sp>
        <p:nvSpPr>
          <p:cNvPr id="4" name="タイトル 5">
            <a:extLst>
              <a:ext uri="{FF2B5EF4-FFF2-40B4-BE49-F238E27FC236}">
                <a16:creationId xmlns:a16="http://schemas.microsoft.com/office/drawing/2014/main" id="{99565CD3-07FF-1C05-93AC-4541A6CDBDB1}"/>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r>
              <a:rPr lang="en-US" altLang="ja-JP">
                <a:latin typeface="Aptos"/>
                <a:cs typeface="Calibri"/>
              </a:rPr>
              <a:t>GEL-RESOLUTION 5</a:t>
            </a:r>
            <a:endParaRPr lang="en-US"/>
          </a:p>
        </p:txBody>
      </p:sp>
      <p:sp>
        <p:nvSpPr>
          <p:cNvPr id="5" name="テキスト ボックス 4">
            <a:extLst>
              <a:ext uri="{FF2B5EF4-FFF2-40B4-BE49-F238E27FC236}">
                <a16:creationId xmlns:a16="http://schemas.microsoft.com/office/drawing/2014/main" id="{E6A5A5C3-69C3-A2DD-B0E4-390820419793}"/>
              </a:ext>
            </a:extLst>
          </p:cNvPr>
          <p:cNvSpPr txBox="1"/>
          <p:nvPr/>
        </p:nvSpPr>
        <p:spPr>
          <a:xfrm>
            <a:off x="10494108" y="686642"/>
            <a:ext cx="367200" cy="230832"/>
          </a:xfrm>
          <a:prstGeom prst="rect">
            <a:avLst/>
          </a:prstGeom>
          <a:noFill/>
        </p:spPr>
        <p:txBody>
          <a:bodyPr wrap="none" rtlCol="0">
            <a:spAutoFit/>
          </a:bodyPr>
          <a:lstStyle/>
          <a:p>
            <a:r>
              <a:rPr kumimoji="1" lang="en-GB" altLang="ja-JP" sz="900">
                <a:latin typeface="Aptos Narrow" panose="020B0004020202020204" pitchFamily="34" charset="0"/>
                <a:ea typeface="Calibri" panose="020F0502020204030204" pitchFamily="34" charset="0"/>
                <a:cs typeface="Calibri" panose="020F0502020204030204" pitchFamily="34" charset="0"/>
              </a:rPr>
              <a:t>4</a:t>
            </a:r>
            <a:r>
              <a:rPr kumimoji="1" lang="en-US" altLang="ja-JP" sz="900">
                <a:latin typeface="Aptos Narrow" panose="020B0004020202020204" pitchFamily="34" charset="0"/>
                <a:ea typeface="Calibri" panose="020F0502020204030204" pitchFamily="34" charset="0"/>
                <a:cs typeface="Calibri" panose="020F0502020204030204" pitchFamily="34" charset="0"/>
              </a:rPr>
              <a:t>00</a:t>
            </a:r>
            <a:endParaRPr kumimoji="1" lang="ja-JP" altLang="en-US" sz="900">
              <a:latin typeface="Aptos Narrow" panose="020B0004020202020204" pitchFamily="34" charset="0"/>
              <a:cs typeface="Calibri" panose="020F0502020204030204" pitchFamily="34" charset="0"/>
            </a:endParaRPr>
          </a:p>
        </p:txBody>
      </p:sp>
      <p:sp>
        <p:nvSpPr>
          <p:cNvPr id="6" name="テキスト ボックス 5">
            <a:extLst>
              <a:ext uri="{FF2B5EF4-FFF2-40B4-BE49-F238E27FC236}">
                <a16:creationId xmlns:a16="http://schemas.microsoft.com/office/drawing/2014/main" id="{5734371D-B4A8-54D6-E0A0-F87AC2571B50}"/>
              </a:ext>
            </a:extLst>
          </p:cNvPr>
          <p:cNvSpPr txBox="1"/>
          <p:nvPr/>
        </p:nvSpPr>
        <p:spPr>
          <a:xfrm>
            <a:off x="10494108" y="1410715"/>
            <a:ext cx="357790" cy="230832"/>
          </a:xfrm>
          <a:prstGeom prst="rect">
            <a:avLst/>
          </a:prstGeom>
          <a:noFill/>
        </p:spPr>
        <p:txBody>
          <a:bodyPr wrap="none" rtlCol="0">
            <a:spAutoFit/>
          </a:bodyPr>
          <a:lstStyle/>
          <a:p>
            <a:r>
              <a:rPr kumimoji="1" lang="en-US" altLang="ja-JP" sz="900">
                <a:latin typeface="Aptos Narrow" panose="020B0004020202020204" pitchFamily="34" charset="0"/>
                <a:ea typeface="Calibri" panose="020F0502020204030204" pitchFamily="34" charset="0"/>
                <a:cs typeface="Calibri" panose="020F0502020204030204" pitchFamily="34" charset="0"/>
              </a:rPr>
              <a:t>100</a:t>
            </a:r>
            <a:endParaRPr kumimoji="1" lang="ja-JP" altLang="en-US" sz="900">
              <a:latin typeface="Aptos Narrow" panose="020B0004020202020204" pitchFamily="34" charset="0"/>
              <a:cs typeface="Calibri" panose="020F0502020204030204" pitchFamily="34" charset="0"/>
            </a:endParaRPr>
          </a:p>
        </p:txBody>
      </p:sp>
    </p:spTree>
    <p:extLst>
      <p:ext uri="{BB962C8B-B14F-4D97-AF65-F5344CB8AC3E}">
        <p14:creationId xmlns:p14="http://schemas.microsoft.com/office/powerpoint/2010/main" val="14581801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正方形/長方形 3">
            <a:extLst>
              <a:ext uri="{FF2B5EF4-FFF2-40B4-BE49-F238E27FC236}">
                <a16:creationId xmlns:a16="http://schemas.microsoft.com/office/drawing/2014/main" id="{72F065A1-5D5F-2E77-CB4B-36212160FFDE}"/>
              </a:ext>
            </a:extLst>
          </p:cNvPr>
          <p:cNvSpPr/>
          <p:nvPr/>
        </p:nvSpPr>
        <p:spPr>
          <a:xfrm>
            <a:off x="187568" y="3803745"/>
            <a:ext cx="11933745" cy="2962222"/>
          </a:xfrm>
          <a:prstGeom prst="rect">
            <a:avLst/>
          </a:prstGeom>
          <a:no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latin typeface="Aptos" panose="020B0004020202020204" pitchFamily="34" charset="0"/>
            </a:endParaRPr>
          </a:p>
        </p:txBody>
      </p:sp>
      <p:sp>
        <p:nvSpPr>
          <p:cNvPr id="4" name="正方形/長方形 3">
            <a:extLst>
              <a:ext uri="{FF2B5EF4-FFF2-40B4-BE49-F238E27FC236}">
                <a16:creationId xmlns:a16="http://schemas.microsoft.com/office/drawing/2014/main" id="{03EB79B8-7BB2-7CB3-FBF7-FB4256C2976C}"/>
              </a:ext>
            </a:extLst>
          </p:cNvPr>
          <p:cNvSpPr/>
          <p:nvPr/>
        </p:nvSpPr>
        <p:spPr>
          <a:xfrm>
            <a:off x="87912" y="540591"/>
            <a:ext cx="12033402" cy="1593009"/>
          </a:xfrm>
          <a:prstGeom prst="rect">
            <a:avLst/>
          </a:prstGeom>
          <a:no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latin typeface="Aptos" panose="020B0004020202020204" pitchFamily="34" charset="0"/>
            </a:endParaRPr>
          </a:p>
        </p:txBody>
      </p:sp>
      <p:sp>
        <p:nvSpPr>
          <p:cNvPr id="6" name="タイトル 5">
            <a:extLst>
              <a:ext uri="{FF2B5EF4-FFF2-40B4-BE49-F238E27FC236}">
                <a16:creationId xmlns:a16="http://schemas.microsoft.com/office/drawing/2014/main" id="{06556190-E177-B50E-C49B-883F6F7811D9}"/>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r>
              <a:rPr lang="en-US" altLang="ja-JP">
                <a:latin typeface="Aptos"/>
                <a:cs typeface="Calibri"/>
              </a:rPr>
              <a:t>JAPAN S (PAGE 1 OF 2)</a:t>
            </a:r>
            <a:endParaRPr lang="en-US" altLang="ja-JP"/>
          </a:p>
        </p:txBody>
      </p:sp>
      <p:sp>
        <p:nvSpPr>
          <p:cNvPr id="15" name="Rectangle 2">
            <a:extLst>
              <a:ext uri="{FF2B5EF4-FFF2-40B4-BE49-F238E27FC236}">
                <a16:creationId xmlns:a16="http://schemas.microsoft.com/office/drawing/2014/main" id="{6DA457AD-0645-1EBC-C0D3-DE70D8BA46E9}"/>
              </a:ext>
            </a:extLst>
          </p:cNvPr>
          <p:cNvSpPr/>
          <p:nvPr/>
        </p:nvSpPr>
        <p:spPr>
          <a:xfrm>
            <a:off x="275674" y="546568"/>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JAPAN S</a:t>
            </a:r>
          </a:p>
          <a:p>
            <a:r>
              <a:rPr lang="en-US" sz="800" b="1" dirty="0">
                <a:solidFill>
                  <a:schemeClr val="tx1"/>
                </a:solidFill>
                <a:latin typeface="Aptos Narrow"/>
                <a:ea typeface="+mn-lt"/>
                <a:cs typeface="+mn-lt"/>
              </a:rPr>
              <a:t>1203A615</a:t>
            </a:r>
          </a:p>
          <a:p>
            <a:r>
              <a:rPr lang="en-US" sz="800" dirty="0">
                <a:solidFill>
                  <a:schemeClr val="tx1"/>
                </a:solidFill>
                <a:latin typeface="Aptos Narrow"/>
                <a:ea typeface="+mn-lt"/>
                <a:cs typeface="+mn-lt"/>
              </a:rPr>
              <a:t>CUD</a:t>
            </a:r>
          </a:p>
          <a:p>
            <a:r>
              <a:rPr lang="en-US" sz="800" dirty="0">
                <a:solidFill>
                  <a:schemeClr val="tx1"/>
                </a:solidFill>
                <a:latin typeface="Aptos Narrow"/>
                <a:ea typeface="+mn-lt"/>
                <a:cs typeface="+mn-lt"/>
              </a:rPr>
              <a:t>UNI</a:t>
            </a:r>
          </a:p>
          <a:p>
            <a:r>
              <a:rPr lang="en-US" sz="800" dirty="0">
                <a:solidFill>
                  <a:schemeClr val="tx1"/>
                </a:solidFill>
                <a:latin typeface="Aptos Narrow"/>
                <a:ea typeface="+mn-lt"/>
                <a:cs typeface="+mn-lt"/>
              </a:rPr>
              <a:t>BASE</a:t>
            </a:r>
          </a:p>
          <a:p>
            <a:r>
              <a:rPr lang="en-US" sz="800" dirty="0">
                <a:solidFill>
                  <a:schemeClr val="tx1"/>
                </a:solidFill>
                <a:latin typeface="Aptos Narrow"/>
                <a:ea typeface="+mn-lt"/>
                <a:cs typeface="+mn-lt"/>
              </a:rPr>
              <a:t>€90</a:t>
            </a:r>
          </a:p>
          <a:p>
            <a:endParaRPr lang="en-US" sz="800" dirty="0">
              <a:solidFill>
                <a:schemeClr val="tx1"/>
              </a:solidFill>
              <a:latin typeface="Aptos Narrow"/>
            </a:endParaRPr>
          </a:p>
        </p:txBody>
      </p:sp>
      <p:pic>
        <p:nvPicPr>
          <p:cNvPr id="18" name="Picture 5">
            <a:extLst>
              <a:ext uri="{FF2B5EF4-FFF2-40B4-BE49-F238E27FC236}">
                <a16:creationId xmlns:a16="http://schemas.microsoft.com/office/drawing/2014/main" id="{5FEBD236-EBD9-A7E0-3BDA-DA91E440C0EF}"/>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1538437" y="683359"/>
            <a:ext cx="1463184" cy="638999"/>
          </a:xfrm>
          <a:prstGeom prst="rect">
            <a:avLst/>
          </a:prstGeom>
        </p:spPr>
      </p:pic>
      <p:pic>
        <p:nvPicPr>
          <p:cNvPr id="19" name="Picture 5">
            <a:extLst>
              <a:ext uri="{FF2B5EF4-FFF2-40B4-BE49-F238E27FC236}">
                <a16:creationId xmlns:a16="http://schemas.microsoft.com/office/drawing/2014/main" id="{0DE38F1D-82C6-1660-A580-00AED0C37DF2}"/>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538437" y="1476031"/>
            <a:ext cx="1463040" cy="626364"/>
          </a:xfrm>
          <a:prstGeom prst="rect">
            <a:avLst/>
          </a:prstGeom>
        </p:spPr>
      </p:pic>
      <p:pic>
        <p:nvPicPr>
          <p:cNvPr id="21" name="Graphic 20" descr="Heart with solid fill">
            <a:extLst>
              <a:ext uri="{FF2B5EF4-FFF2-40B4-BE49-F238E27FC236}">
                <a16:creationId xmlns:a16="http://schemas.microsoft.com/office/drawing/2014/main" id="{9F74BE08-83FB-A16B-6C12-2677EC8D0B1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910749" y="6989628"/>
            <a:ext cx="228357" cy="230660"/>
          </a:xfrm>
          <a:prstGeom prst="rect">
            <a:avLst/>
          </a:prstGeom>
        </p:spPr>
      </p:pic>
      <p:pic>
        <p:nvPicPr>
          <p:cNvPr id="22" name="Graphic 21" descr="Heart with solid fill">
            <a:extLst>
              <a:ext uri="{FF2B5EF4-FFF2-40B4-BE49-F238E27FC236}">
                <a16:creationId xmlns:a16="http://schemas.microsoft.com/office/drawing/2014/main" id="{CAA8A035-F4BD-2CAE-8114-98B47870297C}"/>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538436" y="7006656"/>
            <a:ext cx="228357" cy="230660"/>
          </a:xfrm>
          <a:prstGeom prst="rect">
            <a:avLst/>
          </a:prstGeom>
        </p:spPr>
      </p:pic>
      <p:sp>
        <p:nvSpPr>
          <p:cNvPr id="23" name="正方形/長方形 2">
            <a:extLst>
              <a:ext uri="{FF2B5EF4-FFF2-40B4-BE49-F238E27FC236}">
                <a16:creationId xmlns:a16="http://schemas.microsoft.com/office/drawing/2014/main" id="{6739C5CF-57C2-2255-1969-F4A6EB2FBA84}"/>
              </a:ext>
            </a:extLst>
          </p:cNvPr>
          <p:cNvSpPr/>
          <p:nvPr/>
        </p:nvSpPr>
        <p:spPr>
          <a:xfrm rot="16200000">
            <a:off x="-2939533" y="3564227"/>
            <a:ext cx="6238842" cy="191570"/>
          </a:xfrm>
          <a:prstGeom prst="rect">
            <a:avLst/>
          </a:prstGeom>
          <a:solidFill>
            <a:srgbClr val="BFC1C4"/>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solidFill>
                  <a:schemeClr val="tx1"/>
                </a:solidFill>
                <a:latin typeface="Aptos" panose="020B0004020202020204" pitchFamily="34" charset="0"/>
              </a:rPr>
              <a:t>SILVER</a:t>
            </a:r>
            <a:endParaRPr kumimoji="1" lang="ja-JP" altLang="en-US" sz="800">
              <a:solidFill>
                <a:schemeClr val="tx1"/>
              </a:solidFill>
              <a:latin typeface="Aptos" panose="020B0004020202020204" pitchFamily="34" charset="0"/>
            </a:endParaRPr>
          </a:p>
        </p:txBody>
      </p:sp>
      <p:sp>
        <p:nvSpPr>
          <p:cNvPr id="29" name="テキスト ボックス 19">
            <a:extLst>
              <a:ext uri="{FF2B5EF4-FFF2-40B4-BE49-F238E27FC236}">
                <a16:creationId xmlns:a16="http://schemas.microsoft.com/office/drawing/2014/main" id="{1BC6DBE1-C331-4902-034F-946035824392}"/>
              </a:ext>
            </a:extLst>
          </p:cNvPr>
          <p:cNvSpPr txBox="1"/>
          <p:nvPr/>
        </p:nvSpPr>
        <p:spPr>
          <a:xfrm>
            <a:off x="1538437" y="681856"/>
            <a:ext cx="357790" cy="230832"/>
          </a:xfrm>
          <a:prstGeom prst="rect">
            <a:avLst/>
          </a:prstGeom>
          <a:noFill/>
        </p:spPr>
        <p:txBody>
          <a:bodyPr wrap="none" rtlCol="0">
            <a:spAutoFit/>
          </a:bodyPr>
          <a:lstStyle/>
          <a:p>
            <a:r>
              <a:rPr kumimoji="1" lang="en-GB" altLang="ja-JP" sz="900">
                <a:latin typeface="Aptos Narrow" panose="020B0004020202020204" pitchFamily="34" charset="0"/>
                <a:ea typeface="Calibri" panose="020F0502020204030204" pitchFamily="34" charset="0"/>
                <a:cs typeface="Calibri" panose="020F0502020204030204" pitchFamily="34" charset="0"/>
              </a:rPr>
              <a:t>1</a:t>
            </a:r>
            <a:r>
              <a:rPr kumimoji="1" lang="en-US" altLang="ja-JP" sz="900">
                <a:latin typeface="Aptos Narrow" panose="020B0004020202020204" pitchFamily="34" charset="0"/>
                <a:ea typeface="Calibri" panose="020F0502020204030204" pitchFamily="34" charset="0"/>
                <a:cs typeface="Calibri" panose="020F0502020204030204" pitchFamily="34" charset="0"/>
              </a:rPr>
              <a:t>08</a:t>
            </a:r>
            <a:endParaRPr kumimoji="1" lang="ja-JP" altLang="en-US" sz="900">
              <a:latin typeface="Aptos Narrow" panose="020B0004020202020204" pitchFamily="34" charset="0"/>
              <a:cs typeface="Calibri" panose="020F0502020204030204" pitchFamily="34" charset="0"/>
            </a:endParaRPr>
          </a:p>
        </p:txBody>
      </p:sp>
      <p:sp>
        <p:nvSpPr>
          <p:cNvPr id="30" name="テキスト ボックス 20">
            <a:extLst>
              <a:ext uri="{FF2B5EF4-FFF2-40B4-BE49-F238E27FC236}">
                <a16:creationId xmlns:a16="http://schemas.microsoft.com/office/drawing/2014/main" id="{9D8FB23E-E511-E541-88B8-C682305BF207}"/>
              </a:ext>
            </a:extLst>
          </p:cNvPr>
          <p:cNvSpPr txBox="1"/>
          <p:nvPr/>
        </p:nvSpPr>
        <p:spPr>
          <a:xfrm>
            <a:off x="1538437" y="1492955"/>
            <a:ext cx="357790" cy="230832"/>
          </a:xfrm>
          <a:prstGeom prst="rect">
            <a:avLst/>
          </a:prstGeom>
          <a:noFill/>
        </p:spPr>
        <p:txBody>
          <a:bodyPr wrap="none" rtlCol="0">
            <a:spAutoFit/>
          </a:bodyPr>
          <a:lstStyle/>
          <a:p>
            <a:r>
              <a:rPr kumimoji="1" lang="en-GB" altLang="ja-JP" sz="900" dirty="0">
                <a:latin typeface="Aptos Narrow" panose="020B0004020202020204" pitchFamily="34" charset="0"/>
                <a:ea typeface="Calibri" panose="020F0502020204030204" pitchFamily="34" charset="0"/>
                <a:cs typeface="Calibri" panose="020F0502020204030204" pitchFamily="34" charset="0"/>
              </a:rPr>
              <a:t>1</a:t>
            </a:r>
            <a:r>
              <a:rPr kumimoji="1" lang="en-US" altLang="ja-JP" sz="900" dirty="0">
                <a:latin typeface="Aptos Narrow" panose="020B0004020202020204" pitchFamily="34" charset="0"/>
                <a:ea typeface="Calibri" panose="020F0502020204030204" pitchFamily="34" charset="0"/>
                <a:cs typeface="Calibri" panose="020F0502020204030204" pitchFamily="34" charset="0"/>
              </a:rPr>
              <a:t>10</a:t>
            </a:r>
            <a:endParaRPr kumimoji="1" lang="ja-JP" altLang="en-US" sz="900" dirty="0">
              <a:latin typeface="Aptos Narrow" panose="020B0004020202020204" pitchFamily="34" charset="0"/>
              <a:cs typeface="Calibri" panose="020F0502020204030204" pitchFamily="34" charset="0"/>
            </a:endParaRPr>
          </a:p>
        </p:txBody>
      </p:sp>
    </p:spTree>
    <p:extLst>
      <p:ext uri="{BB962C8B-B14F-4D97-AF65-F5344CB8AC3E}">
        <p14:creationId xmlns:p14="http://schemas.microsoft.com/office/powerpoint/2010/main" val="22673282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3327"/>
        <p:cNvGrpSpPr/>
        <p:nvPr/>
      </p:nvGrpSpPr>
      <p:grpSpPr>
        <a:xfrm>
          <a:off x="0" y="0"/>
          <a:ext cx="0" cy="0"/>
          <a:chOff x="0" y="0"/>
          <a:chExt cx="0" cy="0"/>
        </a:xfrm>
      </p:grpSpPr>
      <p:sp>
        <p:nvSpPr>
          <p:cNvPr id="19" name="Google Shape;3459;p436">
            <a:extLst>
              <a:ext uri="{FF2B5EF4-FFF2-40B4-BE49-F238E27FC236}">
                <a16:creationId xmlns:a16="http://schemas.microsoft.com/office/drawing/2014/main" id="{35ED4F10-2E0B-4C28-B659-55D6669C6FD5}"/>
              </a:ext>
            </a:extLst>
          </p:cNvPr>
          <p:cNvSpPr/>
          <p:nvPr/>
        </p:nvSpPr>
        <p:spPr>
          <a:xfrm>
            <a:off x="0" y="214178"/>
            <a:ext cx="12192000" cy="4021226"/>
          </a:xfrm>
          <a:prstGeom prst="rect">
            <a:avLst/>
          </a:prstGeom>
          <a:solidFill>
            <a:srgbClr val="BFD0EB"/>
          </a:solidFill>
          <a:ln>
            <a:noFill/>
          </a:ln>
        </p:spPr>
        <p:txBody>
          <a:bodyPr spcFirstLastPara="1" wrap="square" lIns="85722" tIns="42845" rIns="85722" bIns="42845" anchor="ctr" anchorCtr="0">
            <a:noAutofit/>
          </a:bodyPr>
          <a:lstStyle/>
          <a:p>
            <a:pPr marL="0" marR="0" lvl="0" indent="0" algn="ctr" defTabSz="1143111" rtl="0" eaLnBrk="1" fontAlgn="auto" latinLnBrk="0" hangingPunct="1">
              <a:lnSpc>
                <a:spcPct val="100000"/>
              </a:lnSpc>
              <a:spcBef>
                <a:spcPts val="0"/>
              </a:spcBef>
              <a:spcAft>
                <a:spcPts val="0"/>
              </a:spcAft>
              <a:buClrTx/>
              <a:buSzTx/>
              <a:buFontTx/>
              <a:buNone/>
              <a:tabLst/>
              <a:defRPr/>
            </a:pPr>
            <a:endParaRPr kumimoji="0" lang="en-US" altLang="ja" sz="1125" b="0" i="0" u="none" strike="noStrike" kern="1200" cap="none" spc="0" normalizeH="0" baseline="0" noProof="0">
              <a:ln>
                <a:noFill/>
              </a:ln>
              <a:solidFill>
                <a:srgbClr val="FFFFFF"/>
              </a:solidFill>
              <a:effectLst/>
              <a:uLnTx/>
              <a:uFillTx/>
              <a:latin typeface="ASICS Font 3.0" panose="00000500000000000000" pitchFamily="50" charset="0"/>
              <a:ea typeface="+mn-ea"/>
              <a:cs typeface="+mn-cs"/>
            </a:endParaRPr>
          </a:p>
        </p:txBody>
      </p:sp>
      <p:sp>
        <p:nvSpPr>
          <p:cNvPr id="20" name="Title 2">
            <a:extLst>
              <a:ext uri="{FF2B5EF4-FFF2-40B4-BE49-F238E27FC236}">
                <a16:creationId xmlns:a16="http://schemas.microsoft.com/office/drawing/2014/main" id="{D986FB76-CFAA-4039-B71C-D9F118378972}"/>
              </a:ext>
            </a:extLst>
          </p:cNvPr>
          <p:cNvSpPr>
            <a:spLocks noGrp="1"/>
          </p:cNvSpPr>
          <p:nvPr>
            <p:ph type="title"/>
          </p:nvPr>
        </p:nvSpPr>
        <p:spPr>
          <a:xfrm>
            <a:off x="653055" y="2508497"/>
            <a:ext cx="6372185" cy="1563887"/>
          </a:xfrm>
        </p:spPr>
        <p:txBody>
          <a:bodyPr>
            <a:normAutofit/>
          </a:bodyPr>
          <a:lstStyle/>
          <a:p>
            <a:pPr>
              <a:lnSpc>
                <a:spcPct val="150000"/>
              </a:lnSpc>
            </a:pPr>
            <a:r>
              <a:rPr lang="en-GB" sz="3000" spc="375">
                <a:solidFill>
                  <a:schemeClr val="bg1"/>
                </a:solidFill>
                <a:latin typeface="ASICS Font 3.0" panose="00000500000000000000" pitchFamily="50" charset="0"/>
              </a:rPr>
              <a:t>CLASSIC HERITAGE</a:t>
            </a:r>
            <a:endParaRPr lang="en-NL" sz="3000" spc="375">
              <a:solidFill>
                <a:schemeClr val="bg1"/>
              </a:solidFill>
              <a:latin typeface="ASICS Font 3.0" panose="00000500000000000000" pitchFamily="50" charset="0"/>
            </a:endParaRPr>
          </a:p>
        </p:txBody>
      </p:sp>
      <p:pic>
        <p:nvPicPr>
          <p:cNvPr id="2" name="Graphic 1">
            <a:extLst>
              <a:ext uri="{FF2B5EF4-FFF2-40B4-BE49-F238E27FC236}">
                <a16:creationId xmlns:a16="http://schemas.microsoft.com/office/drawing/2014/main" id="{2FEFDCA4-D3E7-1822-5EA2-25FE11DD7B3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59157" y="424004"/>
            <a:ext cx="1478735" cy="698400"/>
          </a:xfrm>
          <a:prstGeom prst="rect">
            <a:avLst/>
          </a:prstGeom>
        </p:spPr>
      </p:pic>
    </p:spTree>
    <p:extLst>
      <p:ext uri="{BB962C8B-B14F-4D97-AF65-F5344CB8AC3E}">
        <p14:creationId xmlns:p14="http://schemas.microsoft.com/office/powerpoint/2010/main" val="15396952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7197978-3685-CACB-3F4E-AF64866CC05B}"/>
              </a:ext>
            </a:extLst>
          </p:cNvPr>
          <p:cNvGraphicFramePr>
            <a:graphicFrameLocks noChangeAspect="1"/>
          </p:cNvGraphicFramePr>
          <p:nvPr>
            <p:custDataLst>
              <p:tags r:id="rId1"/>
            </p:custDataLst>
            <p:extLst>
              <p:ext uri="{D42A27DB-BD31-4B8C-83A1-F6EECF244321}">
                <p14:modId xmlns:p14="http://schemas.microsoft.com/office/powerpoint/2010/main" val="361556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8" name="think-cell data - do not delete" hidden="1">
                        <a:extLst>
                          <a:ext uri="{FF2B5EF4-FFF2-40B4-BE49-F238E27FC236}">
                            <a16:creationId xmlns:a16="http://schemas.microsoft.com/office/drawing/2014/main" id="{E7197978-3685-CACB-3F4E-AF64866CC0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1F0A1616-6323-338B-947E-5ED92E956C16}"/>
              </a:ext>
            </a:extLst>
          </p:cNvPr>
          <p:cNvPicPr>
            <a:picLocks noChangeAspect="1"/>
          </p:cNvPicPr>
          <p:nvPr/>
        </p:nvPicPr>
        <p:blipFill>
          <a:blip r:embed="rId5"/>
          <a:stretch>
            <a:fillRect/>
          </a:stretch>
        </p:blipFill>
        <p:spPr>
          <a:xfrm>
            <a:off x="1481788" y="1383871"/>
            <a:ext cx="1560576" cy="731520"/>
          </a:xfrm>
          <a:prstGeom prst="rect">
            <a:avLst/>
          </a:prstGeom>
        </p:spPr>
      </p:pic>
      <p:pic>
        <p:nvPicPr>
          <p:cNvPr id="19" name="Picture 18">
            <a:extLst>
              <a:ext uri="{FF2B5EF4-FFF2-40B4-BE49-F238E27FC236}">
                <a16:creationId xmlns:a16="http://schemas.microsoft.com/office/drawing/2014/main" id="{F0E70F13-FCA9-8E76-CB47-C98F0ED2E7DB}"/>
              </a:ext>
            </a:extLst>
          </p:cNvPr>
          <p:cNvPicPr>
            <a:picLocks noChangeAspect="1"/>
          </p:cNvPicPr>
          <p:nvPr/>
        </p:nvPicPr>
        <p:blipFill>
          <a:blip r:embed="rId6"/>
          <a:stretch>
            <a:fillRect/>
          </a:stretch>
        </p:blipFill>
        <p:spPr>
          <a:xfrm>
            <a:off x="1477868" y="674043"/>
            <a:ext cx="1568416" cy="731520"/>
          </a:xfrm>
          <a:prstGeom prst="rect">
            <a:avLst/>
          </a:prstGeom>
        </p:spPr>
      </p:pic>
      <p:sp>
        <p:nvSpPr>
          <p:cNvPr id="70" name="Rectangle 2">
            <a:extLst>
              <a:ext uri="{FF2B5EF4-FFF2-40B4-BE49-F238E27FC236}">
                <a16:creationId xmlns:a16="http://schemas.microsoft.com/office/drawing/2014/main" id="{806B8040-186A-DF35-242B-F6AD41CEFC9B}"/>
              </a:ext>
            </a:extLst>
          </p:cNvPr>
          <p:cNvSpPr/>
          <p:nvPr/>
        </p:nvSpPr>
        <p:spPr>
          <a:xfrm>
            <a:off x="275673" y="540586"/>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LYTE CLASSIC</a:t>
            </a:r>
          </a:p>
          <a:p>
            <a:r>
              <a:rPr lang="en-US" sz="800" b="1" dirty="0">
                <a:solidFill>
                  <a:schemeClr val="tx1"/>
                </a:solidFill>
                <a:latin typeface="Aptos Narrow"/>
                <a:ea typeface="+mn-lt"/>
                <a:cs typeface="+mn-lt"/>
              </a:rPr>
              <a:t>1203A611</a:t>
            </a:r>
          </a:p>
          <a:p>
            <a:r>
              <a:rPr lang="en-US" sz="800" dirty="0">
                <a:solidFill>
                  <a:schemeClr val="tx1"/>
                </a:solidFill>
                <a:latin typeface="Aptos Narrow"/>
                <a:ea typeface="+mn-lt"/>
                <a:cs typeface="+mn-lt"/>
              </a:rPr>
              <a:t>CUD</a:t>
            </a:r>
          </a:p>
          <a:p>
            <a:r>
              <a:rPr lang="en-US" sz="800" dirty="0">
                <a:solidFill>
                  <a:schemeClr val="tx1"/>
                </a:solidFill>
                <a:latin typeface="Aptos Narrow"/>
                <a:ea typeface="+mn-lt"/>
                <a:cs typeface="+mn-lt"/>
              </a:rPr>
              <a:t>UNI</a:t>
            </a:r>
          </a:p>
          <a:p>
            <a:r>
              <a:rPr lang="en-US" sz="800" dirty="0">
                <a:solidFill>
                  <a:schemeClr val="tx1"/>
                </a:solidFill>
                <a:latin typeface="Aptos Narrow"/>
                <a:ea typeface="+mn-lt"/>
                <a:cs typeface="+mn-lt"/>
              </a:rPr>
              <a:t>MESH/SUEDE</a:t>
            </a:r>
          </a:p>
          <a:p>
            <a:r>
              <a:rPr lang="en-US" sz="800" dirty="0">
                <a:solidFill>
                  <a:schemeClr val="tx1"/>
                </a:solidFill>
                <a:latin typeface="Aptos Narrow"/>
                <a:ea typeface="+mn-lt"/>
                <a:cs typeface="+mn-lt"/>
              </a:rPr>
              <a:t>€89</a:t>
            </a:r>
          </a:p>
          <a:p>
            <a:endParaRPr lang="en-US" sz="800" dirty="0">
              <a:solidFill>
                <a:schemeClr val="tx1"/>
              </a:solidFill>
              <a:latin typeface="Aptos Narrow"/>
            </a:endParaRPr>
          </a:p>
        </p:txBody>
      </p:sp>
      <p:sp>
        <p:nvSpPr>
          <p:cNvPr id="3" name="正方形/長方形 2">
            <a:extLst>
              <a:ext uri="{FF2B5EF4-FFF2-40B4-BE49-F238E27FC236}">
                <a16:creationId xmlns:a16="http://schemas.microsoft.com/office/drawing/2014/main" id="{776DAC6D-D609-39D9-A2ED-06A1321C7DAA}"/>
              </a:ext>
            </a:extLst>
          </p:cNvPr>
          <p:cNvSpPr/>
          <p:nvPr/>
        </p:nvSpPr>
        <p:spPr>
          <a:xfrm>
            <a:off x="87912" y="540591"/>
            <a:ext cx="12033402" cy="3114579"/>
          </a:xfrm>
          <a:prstGeom prst="rect">
            <a:avLst/>
          </a:prstGeom>
          <a:no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latin typeface="Aptos" panose="020B0004020202020204" pitchFamily="34" charset="0"/>
            </a:endParaRPr>
          </a:p>
        </p:txBody>
      </p:sp>
      <p:sp>
        <p:nvSpPr>
          <p:cNvPr id="13" name="正方形/長方形 12">
            <a:extLst>
              <a:ext uri="{FF2B5EF4-FFF2-40B4-BE49-F238E27FC236}">
                <a16:creationId xmlns:a16="http://schemas.microsoft.com/office/drawing/2014/main" id="{9C83B014-365B-CE5F-61B1-D0323B12113D}"/>
              </a:ext>
            </a:extLst>
          </p:cNvPr>
          <p:cNvSpPr/>
          <p:nvPr/>
        </p:nvSpPr>
        <p:spPr>
          <a:xfrm rot="16200000">
            <a:off x="-2934572" y="3563069"/>
            <a:ext cx="6230750" cy="185783"/>
          </a:xfrm>
          <a:prstGeom prst="rect">
            <a:avLst/>
          </a:prstGeom>
          <a:solidFill>
            <a:srgbClr val="BFC1C4"/>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solidFill>
                  <a:schemeClr val="tx1"/>
                </a:solidFill>
                <a:latin typeface="Aptos" panose="020B0004020202020204" pitchFamily="34" charset="0"/>
              </a:rPr>
              <a:t>SILVER</a:t>
            </a:r>
            <a:endParaRPr kumimoji="1" lang="ja-JP" altLang="en-US" sz="800">
              <a:solidFill>
                <a:schemeClr val="tx1"/>
              </a:solidFill>
              <a:latin typeface="Aptos" panose="020B0004020202020204" pitchFamily="34" charset="0"/>
            </a:endParaRPr>
          </a:p>
        </p:txBody>
      </p:sp>
      <p:sp>
        <p:nvSpPr>
          <p:cNvPr id="6" name="タイトル 5">
            <a:extLst>
              <a:ext uri="{FF2B5EF4-FFF2-40B4-BE49-F238E27FC236}">
                <a16:creationId xmlns:a16="http://schemas.microsoft.com/office/drawing/2014/main" id="{5033CA79-B0E0-1D69-EE94-EA433EFEADF5}"/>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r>
              <a:rPr lang="en-US" altLang="ja-JP">
                <a:latin typeface="Aptos"/>
                <a:cs typeface="Calibri"/>
              </a:rPr>
              <a:t>LYTE CLASSIC</a:t>
            </a:r>
            <a:endParaRPr lang="en-US" altLang="ja-JP"/>
          </a:p>
        </p:txBody>
      </p:sp>
      <p:sp>
        <p:nvSpPr>
          <p:cNvPr id="10" name="テキスト ボックス 14">
            <a:extLst>
              <a:ext uri="{FF2B5EF4-FFF2-40B4-BE49-F238E27FC236}">
                <a16:creationId xmlns:a16="http://schemas.microsoft.com/office/drawing/2014/main" id="{F3E8258D-BBA1-4FF1-8821-7BC5EFF53184}"/>
              </a:ext>
            </a:extLst>
          </p:cNvPr>
          <p:cNvSpPr txBox="1"/>
          <p:nvPr/>
        </p:nvSpPr>
        <p:spPr>
          <a:xfrm>
            <a:off x="1454880" y="597256"/>
            <a:ext cx="357790" cy="230832"/>
          </a:xfrm>
          <a:prstGeom prst="rect">
            <a:avLst/>
          </a:prstGeom>
          <a:noFill/>
        </p:spPr>
        <p:txBody>
          <a:bodyPr wrap="none" rtlCol="0">
            <a:spAutoFit/>
          </a:bodyPr>
          <a:lstStyle/>
          <a:p>
            <a:r>
              <a:rPr kumimoji="1" lang="en-GB" altLang="ja-JP" sz="900">
                <a:latin typeface="Aptos Narrow" panose="020B0004020202020204" pitchFamily="34" charset="0"/>
                <a:ea typeface="Calibri" panose="020F0502020204030204" pitchFamily="34" charset="0"/>
                <a:cs typeface="Calibri" panose="020F0502020204030204" pitchFamily="34" charset="0"/>
              </a:rPr>
              <a:t>0</a:t>
            </a:r>
            <a:r>
              <a:rPr kumimoji="1" lang="en-US" altLang="ja-JP" sz="900">
                <a:latin typeface="Aptos Narrow" panose="020B0004020202020204" pitchFamily="34" charset="0"/>
                <a:ea typeface="Calibri" panose="020F0502020204030204" pitchFamily="34" charset="0"/>
                <a:cs typeface="Calibri" panose="020F0502020204030204" pitchFamily="34" charset="0"/>
              </a:rPr>
              <a:t>01</a:t>
            </a:r>
            <a:endParaRPr kumimoji="1" lang="ja-JP" altLang="en-US" sz="900">
              <a:latin typeface="Aptos Narrow" panose="020B0004020202020204" pitchFamily="34" charset="0"/>
              <a:cs typeface="Calibri" panose="020F0502020204030204" pitchFamily="34" charset="0"/>
            </a:endParaRPr>
          </a:p>
        </p:txBody>
      </p:sp>
      <p:sp>
        <p:nvSpPr>
          <p:cNvPr id="11" name="テキスト ボックス 15">
            <a:extLst>
              <a:ext uri="{FF2B5EF4-FFF2-40B4-BE49-F238E27FC236}">
                <a16:creationId xmlns:a16="http://schemas.microsoft.com/office/drawing/2014/main" id="{3F602D60-B41E-DFB4-1BEB-D0DAA6200E0E}"/>
              </a:ext>
            </a:extLst>
          </p:cNvPr>
          <p:cNvSpPr txBox="1"/>
          <p:nvPr/>
        </p:nvSpPr>
        <p:spPr>
          <a:xfrm>
            <a:off x="1454880" y="1330318"/>
            <a:ext cx="357790" cy="230832"/>
          </a:xfrm>
          <a:prstGeom prst="rect">
            <a:avLst/>
          </a:prstGeom>
          <a:noFill/>
        </p:spPr>
        <p:txBody>
          <a:bodyPr wrap="none" rtlCol="0">
            <a:spAutoFit/>
          </a:bodyPr>
          <a:lstStyle/>
          <a:p>
            <a:r>
              <a:rPr kumimoji="1" lang="en-GB" altLang="ja-JP" sz="900" dirty="0">
                <a:latin typeface="Aptos Narrow" panose="020B0004020202020204" pitchFamily="34" charset="0"/>
                <a:ea typeface="Calibri" panose="020F0502020204030204" pitchFamily="34" charset="0"/>
                <a:cs typeface="Calibri" panose="020F0502020204030204" pitchFamily="34" charset="0"/>
              </a:rPr>
              <a:t>2</a:t>
            </a:r>
            <a:r>
              <a:rPr kumimoji="1" lang="en-US" altLang="ja-JP" sz="900" dirty="0">
                <a:latin typeface="Aptos Narrow" panose="020B0004020202020204" pitchFamily="34" charset="0"/>
                <a:ea typeface="Calibri" panose="020F0502020204030204" pitchFamily="34" charset="0"/>
                <a:cs typeface="Calibri" panose="020F0502020204030204" pitchFamily="34" charset="0"/>
              </a:rPr>
              <a:t>01</a:t>
            </a:r>
            <a:endParaRPr kumimoji="1" lang="ja-JP" altLang="en-US" sz="900" dirty="0">
              <a:latin typeface="Aptos Narrow" panose="020B0004020202020204" pitchFamily="34" charset="0"/>
              <a:cs typeface="Calibri" panose="020F0502020204030204" pitchFamily="34" charset="0"/>
            </a:endParaRPr>
          </a:p>
        </p:txBody>
      </p:sp>
    </p:spTree>
    <p:extLst>
      <p:ext uri="{BB962C8B-B14F-4D97-AF65-F5344CB8AC3E}">
        <p14:creationId xmlns:p14="http://schemas.microsoft.com/office/powerpoint/2010/main" val="34329987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3327"/>
        <p:cNvGrpSpPr/>
        <p:nvPr/>
      </p:nvGrpSpPr>
      <p:grpSpPr>
        <a:xfrm>
          <a:off x="0" y="0"/>
          <a:ext cx="0" cy="0"/>
          <a:chOff x="0" y="0"/>
          <a:chExt cx="0" cy="0"/>
        </a:xfrm>
      </p:grpSpPr>
      <p:sp>
        <p:nvSpPr>
          <p:cNvPr id="19" name="Google Shape;3459;p436">
            <a:extLst>
              <a:ext uri="{FF2B5EF4-FFF2-40B4-BE49-F238E27FC236}">
                <a16:creationId xmlns:a16="http://schemas.microsoft.com/office/drawing/2014/main" id="{35ED4F10-2E0B-4C28-B659-55D6669C6FD5}"/>
              </a:ext>
            </a:extLst>
          </p:cNvPr>
          <p:cNvSpPr/>
          <p:nvPr/>
        </p:nvSpPr>
        <p:spPr>
          <a:xfrm>
            <a:off x="0" y="214178"/>
            <a:ext cx="12192000" cy="4021226"/>
          </a:xfrm>
          <a:prstGeom prst="rect">
            <a:avLst/>
          </a:prstGeom>
          <a:solidFill>
            <a:srgbClr val="D8CC9D"/>
          </a:solidFill>
          <a:ln>
            <a:noFill/>
          </a:ln>
        </p:spPr>
        <p:txBody>
          <a:bodyPr spcFirstLastPara="1" wrap="square" lIns="85722" tIns="42845" rIns="85722" bIns="42845" anchor="ctr" anchorCtr="0">
            <a:noAutofit/>
          </a:bodyPr>
          <a:lstStyle/>
          <a:p>
            <a:pPr marL="0" marR="0" lvl="0" indent="0" algn="ctr" defTabSz="1143111" rtl="0" eaLnBrk="1" fontAlgn="auto" latinLnBrk="0" hangingPunct="1">
              <a:lnSpc>
                <a:spcPct val="100000"/>
              </a:lnSpc>
              <a:spcBef>
                <a:spcPts val="0"/>
              </a:spcBef>
              <a:spcAft>
                <a:spcPts val="0"/>
              </a:spcAft>
              <a:buClrTx/>
              <a:buSzTx/>
              <a:buFontTx/>
              <a:buNone/>
              <a:tabLst/>
              <a:defRPr/>
            </a:pPr>
            <a:endParaRPr kumimoji="0" lang="en-US" altLang="ja" sz="1125" b="0" i="0" u="none" strike="noStrike" kern="1200" cap="none" spc="0" normalizeH="0" baseline="0" noProof="0">
              <a:ln>
                <a:noFill/>
              </a:ln>
              <a:solidFill>
                <a:srgbClr val="FFFFFF"/>
              </a:solidFill>
              <a:effectLst/>
              <a:uLnTx/>
              <a:uFillTx/>
              <a:latin typeface="ASICS Font 3.0" panose="00000500000000000000" pitchFamily="50" charset="0"/>
              <a:ea typeface="+mn-ea"/>
              <a:cs typeface="+mn-cs"/>
            </a:endParaRPr>
          </a:p>
        </p:txBody>
      </p:sp>
      <p:sp>
        <p:nvSpPr>
          <p:cNvPr id="20" name="Title 2">
            <a:extLst>
              <a:ext uri="{FF2B5EF4-FFF2-40B4-BE49-F238E27FC236}">
                <a16:creationId xmlns:a16="http://schemas.microsoft.com/office/drawing/2014/main" id="{D986FB76-CFAA-4039-B71C-D9F118378972}"/>
              </a:ext>
            </a:extLst>
          </p:cNvPr>
          <p:cNvSpPr>
            <a:spLocks noGrp="1"/>
          </p:cNvSpPr>
          <p:nvPr>
            <p:ph type="title"/>
          </p:nvPr>
        </p:nvSpPr>
        <p:spPr>
          <a:xfrm>
            <a:off x="653055" y="2508497"/>
            <a:ext cx="6372185" cy="1563887"/>
          </a:xfrm>
        </p:spPr>
        <p:txBody>
          <a:bodyPr>
            <a:normAutofit/>
          </a:bodyPr>
          <a:lstStyle/>
          <a:p>
            <a:pPr>
              <a:lnSpc>
                <a:spcPct val="150000"/>
              </a:lnSpc>
            </a:pPr>
            <a:r>
              <a:rPr lang="en-GB" sz="3000" spc="375">
                <a:solidFill>
                  <a:schemeClr val="bg1"/>
                </a:solidFill>
                <a:latin typeface="ASICS Font 3.0" panose="00000500000000000000" pitchFamily="50" charset="0"/>
              </a:rPr>
              <a:t>KIDS</a:t>
            </a:r>
            <a:endParaRPr lang="en-NL" sz="3000" spc="375">
              <a:solidFill>
                <a:schemeClr val="bg1"/>
              </a:solidFill>
              <a:latin typeface="ASICS Font 3.0" panose="00000500000000000000" pitchFamily="50" charset="0"/>
            </a:endParaRPr>
          </a:p>
        </p:txBody>
      </p:sp>
      <p:pic>
        <p:nvPicPr>
          <p:cNvPr id="2" name="Graphic 1">
            <a:extLst>
              <a:ext uri="{FF2B5EF4-FFF2-40B4-BE49-F238E27FC236}">
                <a16:creationId xmlns:a16="http://schemas.microsoft.com/office/drawing/2014/main" id="{59F90E0A-3D38-4D5A-775B-58C6B562DF87}"/>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59157" y="424004"/>
            <a:ext cx="1478735" cy="698400"/>
          </a:xfrm>
          <a:prstGeom prst="rect">
            <a:avLst/>
          </a:prstGeom>
        </p:spPr>
      </p:pic>
    </p:spTree>
    <p:extLst>
      <p:ext uri="{BB962C8B-B14F-4D97-AF65-F5344CB8AC3E}">
        <p14:creationId xmlns:p14="http://schemas.microsoft.com/office/powerpoint/2010/main" val="38663773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6981C28-3905-2FFB-57FA-5518C1D5ECD0}"/>
              </a:ext>
            </a:extLst>
          </p:cNvPr>
          <p:cNvGraphicFramePr>
            <a:graphicFrameLocks noChangeAspect="1"/>
          </p:cNvGraphicFramePr>
          <p:nvPr>
            <p:custDataLst>
              <p:tags r:id="rId1"/>
            </p:custDataLst>
            <p:extLst>
              <p:ext uri="{D42A27DB-BD31-4B8C-83A1-F6EECF244321}">
                <p14:modId xmlns:p14="http://schemas.microsoft.com/office/powerpoint/2010/main" val="1171730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23" name="think-cell data - do not delete" hidden="1">
                        <a:extLst>
                          <a:ext uri="{FF2B5EF4-FFF2-40B4-BE49-F238E27FC236}">
                            <a16:creationId xmlns:a16="http://schemas.microsoft.com/office/drawing/2014/main" id="{B6981C28-3905-2FFB-57FA-5518C1D5EC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id="{AC3E721C-F134-8D34-7053-3D7AAAA11FF4}"/>
              </a:ext>
            </a:extLst>
          </p:cNvPr>
          <p:cNvPicPr>
            <a:picLocks noChangeAspect="1"/>
          </p:cNvPicPr>
          <p:nvPr/>
        </p:nvPicPr>
        <p:blipFill>
          <a:blip r:embed="rId5"/>
          <a:stretch>
            <a:fillRect/>
          </a:stretch>
        </p:blipFill>
        <p:spPr>
          <a:xfrm>
            <a:off x="1499588" y="2644339"/>
            <a:ext cx="1497609" cy="720000"/>
          </a:xfrm>
          <a:prstGeom prst="rect">
            <a:avLst/>
          </a:prstGeom>
        </p:spPr>
      </p:pic>
      <p:pic>
        <p:nvPicPr>
          <p:cNvPr id="15" name="Picture 14">
            <a:extLst>
              <a:ext uri="{FF2B5EF4-FFF2-40B4-BE49-F238E27FC236}">
                <a16:creationId xmlns:a16="http://schemas.microsoft.com/office/drawing/2014/main" id="{6BC95D90-6BAE-8AA2-4B6A-F4C57BAAC07C}"/>
              </a:ext>
            </a:extLst>
          </p:cNvPr>
          <p:cNvPicPr>
            <a:picLocks noChangeAspect="1"/>
          </p:cNvPicPr>
          <p:nvPr/>
        </p:nvPicPr>
        <p:blipFill>
          <a:blip r:embed="rId6"/>
          <a:stretch>
            <a:fillRect/>
          </a:stretch>
        </p:blipFill>
        <p:spPr>
          <a:xfrm>
            <a:off x="1541414" y="639673"/>
            <a:ext cx="1497610" cy="720000"/>
          </a:xfrm>
          <a:prstGeom prst="rect">
            <a:avLst/>
          </a:prstGeom>
        </p:spPr>
      </p:pic>
      <p:pic>
        <p:nvPicPr>
          <p:cNvPr id="16" name="Picture 15">
            <a:extLst>
              <a:ext uri="{FF2B5EF4-FFF2-40B4-BE49-F238E27FC236}">
                <a16:creationId xmlns:a16="http://schemas.microsoft.com/office/drawing/2014/main" id="{70778E56-883B-350B-E0D5-2E5D5C98DB2F}"/>
              </a:ext>
            </a:extLst>
          </p:cNvPr>
          <p:cNvPicPr>
            <a:picLocks noChangeAspect="1"/>
          </p:cNvPicPr>
          <p:nvPr/>
        </p:nvPicPr>
        <p:blipFill>
          <a:blip r:embed="rId7"/>
          <a:stretch>
            <a:fillRect/>
          </a:stretch>
        </p:blipFill>
        <p:spPr>
          <a:xfrm>
            <a:off x="1541414" y="1631975"/>
            <a:ext cx="1497609" cy="720000"/>
          </a:xfrm>
          <a:prstGeom prst="rect">
            <a:avLst/>
          </a:prstGeom>
        </p:spPr>
      </p:pic>
      <p:sp>
        <p:nvSpPr>
          <p:cNvPr id="66" name="正方形/長方形 65">
            <a:extLst>
              <a:ext uri="{FF2B5EF4-FFF2-40B4-BE49-F238E27FC236}">
                <a16:creationId xmlns:a16="http://schemas.microsoft.com/office/drawing/2014/main" id="{E3D66219-C056-79DF-43B6-AD9C57CCEB15}"/>
              </a:ext>
            </a:extLst>
          </p:cNvPr>
          <p:cNvSpPr/>
          <p:nvPr/>
        </p:nvSpPr>
        <p:spPr>
          <a:xfrm>
            <a:off x="87912" y="540591"/>
            <a:ext cx="12033402" cy="3114579"/>
          </a:xfrm>
          <a:prstGeom prst="rect">
            <a:avLst/>
          </a:prstGeom>
          <a:no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latin typeface="Aptos" panose="020B0004020202020204" pitchFamily="34" charset="0"/>
            </a:endParaRPr>
          </a:p>
        </p:txBody>
      </p:sp>
      <p:sp>
        <p:nvSpPr>
          <p:cNvPr id="70" name="Rectangle 2">
            <a:extLst>
              <a:ext uri="{FF2B5EF4-FFF2-40B4-BE49-F238E27FC236}">
                <a16:creationId xmlns:a16="http://schemas.microsoft.com/office/drawing/2014/main" id="{806B8040-186A-DF35-242B-F6AD41CEFC9B}"/>
              </a:ext>
            </a:extLst>
          </p:cNvPr>
          <p:cNvSpPr/>
          <p:nvPr/>
        </p:nvSpPr>
        <p:spPr>
          <a:xfrm>
            <a:off x="275673" y="540586"/>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1130 GS</a:t>
            </a:r>
          </a:p>
          <a:p>
            <a:r>
              <a:rPr lang="en-US" sz="800" b="1" dirty="0">
                <a:solidFill>
                  <a:schemeClr val="tx1"/>
                </a:solidFill>
                <a:latin typeface="Aptos Narrow"/>
                <a:ea typeface="+mn-lt"/>
                <a:cs typeface="+mn-lt"/>
              </a:rPr>
              <a:t>1204A169</a:t>
            </a:r>
          </a:p>
          <a:p>
            <a:r>
              <a:rPr lang="en-US" sz="800" dirty="0">
                <a:solidFill>
                  <a:schemeClr val="tx1"/>
                </a:solidFill>
                <a:latin typeface="Aptos Narrow"/>
                <a:ea typeface="+mn-lt"/>
                <a:cs typeface="+mn-lt"/>
              </a:rPr>
              <a:t>CUD</a:t>
            </a:r>
          </a:p>
          <a:p>
            <a:r>
              <a:rPr lang="en-US" sz="800" dirty="0">
                <a:solidFill>
                  <a:schemeClr val="tx1"/>
                </a:solidFill>
                <a:latin typeface="Aptos Narrow"/>
                <a:ea typeface="+mn-lt"/>
                <a:cs typeface="+mn-lt"/>
              </a:rPr>
              <a:t>KIDS</a:t>
            </a:r>
          </a:p>
          <a:p>
            <a:r>
              <a:rPr lang="en-US" sz="800" dirty="0">
                <a:solidFill>
                  <a:schemeClr val="tx1"/>
                </a:solidFill>
                <a:latin typeface="Aptos Narrow"/>
                <a:ea typeface="+mn-lt"/>
                <a:cs typeface="+mn-lt"/>
              </a:rPr>
              <a:t>OG</a:t>
            </a:r>
          </a:p>
          <a:p>
            <a:r>
              <a:rPr lang="en-US" sz="800" dirty="0">
                <a:solidFill>
                  <a:schemeClr val="tx1"/>
                </a:solidFill>
                <a:latin typeface="Aptos Narrow"/>
                <a:ea typeface="+mn-lt"/>
                <a:cs typeface="+mn-lt"/>
              </a:rPr>
              <a:t>€89</a:t>
            </a:r>
          </a:p>
          <a:p>
            <a:endParaRPr lang="en-US" sz="800" dirty="0">
              <a:solidFill>
                <a:schemeClr val="tx1"/>
              </a:solidFill>
              <a:latin typeface="Aptos Narrow"/>
            </a:endParaRPr>
          </a:p>
        </p:txBody>
      </p:sp>
      <p:sp>
        <p:nvSpPr>
          <p:cNvPr id="3" name="正方形/長方形 2">
            <a:extLst>
              <a:ext uri="{FF2B5EF4-FFF2-40B4-BE49-F238E27FC236}">
                <a16:creationId xmlns:a16="http://schemas.microsoft.com/office/drawing/2014/main" id="{81AA1EC2-5AF0-03BF-3250-6437CC5A4825}"/>
              </a:ext>
            </a:extLst>
          </p:cNvPr>
          <p:cNvSpPr/>
          <p:nvPr/>
        </p:nvSpPr>
        <p:spPr>
          <a:xfrm rot="16200000">
            <a:off x="-2934572" y="3563069"/>
            <a:ext cx="6230750" cy="185783"/>
          </a:xfrm>
          <a:prstGeom prst="rect">
            <a:avLst/>
          </a:prstGeom>
          <a:solidFill>
            <a:srgbClr val="D8CC9D"/>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solidFill>
                  <a:schemeClr val="tx1"/>
                </a:solidFill>
                <a:latin typeface="Aptos" panose="020B0004020202020204" pitchFamily="34" charset="0"/>
              </a:rPr>
              <a:t>GOLD</a:t>
            </a:r>
            <a:endParaRPr kumimoji="1" lang="ja-JP" altLang="en-US" sz="800">
              <a:solidFill>
                <a:schemeClr val="tx1"/>
              </a:solidFill>
              <a:latin typeface="Aptos" panose="020B0004020202020204" pitchFamily="34" charset="0"/>
            </a:endParaRPr>
          </a:p>
        </p:txBody>
      </p:sp>
      <p:sp>
        <p:nvSpPr>
          <p:cNvPr id="13" name="タイトル 5">
            <a:extLst>
              <a:ext uri="{FF2B5EF4-FFF2-40B4-BE49-F238E27FC236}">
                <a16:creationId xmlns:a16="http://schemas.microsoft.com/office/drawing/2014/main" id="{8D55EACC-EB88-90E6-6812-7A35B4BD985F}"/>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r>
              <a:rPr lang="en-US" altLang="ja-JP">
                <a:latin typeface="Aptos"/>
                <a:cs typeface="Calibri"/>
              </a:rPr>
              <a:t>GEL-1130 KIDS </a:t>
            </a:r>
            <a:r>
              <a:rPr kumimoji="1" lang="en-US" altLang="ja-JP" sz="1400" b="0" i="0" u="none" strike="noStrike" kern="1200" cap="all" spc="0" normalizeH="0" baseline="0" noProof="0">
                <a:ln>
                  <a:noFill/>
                </a:ln>
                <a:solidFill>
                  <a:srgbClr val="202322"/>
                </a:solidFill>
                <a:effectLst/>
                <a:uLnTx/>
                <a:uFillTx/>
                <a:latin typeface="Aptos"/>
                <a:ea typeface="+mj-ea"/>
                <a:cs typeface="Calibri"/>
              </a:rPr>
              <a:t>(PAGE 1 OF 2)</a:t>
            </a:r>
            <a:endParaRPr lang="en-US"/>
          </a:p>
        </p:txBody>
      </p:sp>
      <p:sp>
        <p:nvSpPr>
          <p:cNvPr id="5" name="Google Shape;84;p13">
            <a:extLst>
              <a:ext uri="{FF2B5EF4-FFF2-40B4-BE49-F238E27FC236}">
                <a16:creationId xmlns:a16="http://schemas.microsoft.com/office/drawing/2014/main" id="{8D88A48C-FCBC-D007-736A-D6413DD0A860}"/>
              </a:ext>
            </a:extLst>
          </p:cNvPr>
          <p:cNvSpPr txBox="1"/>
          <p:nvPr/>
        </p:nvSpPr>
        <p:spPr>
          <a:xfrm>
            <a:off x="1541416" y="603672"/>
            <a:ext cx="365443" cy="323135"/>
          </a:xfrm>
          <a:prstGeom prst="rect">
            <a:avLst/>
          </a:prstGeom>
          <a:noFill/>
          <a:ln>
            <a:noFill/>
          </a:ln>
        </p:spPr>
        <p:txBody>
          <a:bodyPr spcFirstLastPara="1" wrap="square" lIns="91425" tIns="91425" rIns="91425" bIns="91425" anchor="ctr"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altLang="ja" sz="900" dirty="0">
                <a:latin typeface="Aptos Narrow" panose="020B0004020202020204" pitchFamily="34" charset="0"/>
                <a:cs typeface="Calibri"/>
              </a:rPr>
              <a:t>105</a:t>
            </a:r>
          </a:p>
        </p:txBody>
      </p:sp>
      <p:sp>
        <p:nvSpPr>
          <p:cNvPr id="7" name="Google Shape;84;p13">
            <a:extLst>
              <a:ext uri="{FF2B5EF4-FFF2-40B4-BE49-F238E27FC236}">
                <a16:creationId xmlns:a16="http://schemas.microsoft.com/office/drawing/2014/main" id="{DA3C713B-CD0F-0A7F-CBFE-194B5147FB08}"/>
              </a:ext>
            </a:extLst>
          </p:cNvPr>
          <p:cNvSpPr txBox="1"/>
          <p:nvPr/>
        </p:nvSpPr>
        <p:spPr>
          <a:xfrm>
            <a:off x="1533635" y="1511124"/>
            <a:ext cx="365443" cy="323135"/>
          </a:xfrm>
          <a:prstGeom prst="rect">
            <a:avLst/>
          </a:prstGeom>
          <a:noFill/>
          <a:ln>
            <a:noFill/>
          </a:ln>
        </p:spPr>
        <p:txBody>
          <a:bodyPr spcFirstLastPara="1" wrap="square" lIns="91425" tIns="91425" rIns="91425" bIns="91425" anchor="ctr"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altLang="ja" sz="900" dirty="0">
                <a:latin typeface="Aptos Narrow" panose="020B0004020202020204" pitchFamily="34" charset="0"/>
                <a:cs typeface="Calibri"/>
              </a:rPr>
              <a:t>020</a:t>
            </a:r>
          </a:p>
        </p:txBody>
      </p:sp>
      <p:sp>
        <p:nvSpPr>
          <p:cNvPr id="8" name="Google Shape;84;p13">
            <a:extLst>
              <a:ext uri="{FF2B5EF4-FFF2-40B4-BE49-F238E27FC236}">
                <a16:creationId xmlns:a16="http://schemas.microsoft.com/office/drawing/2014/main" id="{F0E9382C-1ABD-66C8-5C2E-EBA014611264}"/>
              </a:ext>
            </a:extLst>
          </p:cNvPr>
          <p:cNvSpPr txBox="1"/>
          <p:nvPr/>
        </p:nvSpPr>
        <p:spPr>
          <a:xfrm>
            <a:off x="1541414" y="2492394"/>
            <a:ext cx="365443" cy="323135"/>
          </a:xfrm>
          <a:prstGeom prst="rect">
            <a:avLst/>
          </a:prstGeom>
          <a:noFill/>
          <a:ln>
            <a:noFill/>
          </a:ln>
        </p:spPr>
        <p:txBody>
          <a:bodyPr spcFirstLastPara="1" wrap="square" lIns="91425" tIns="91425" rIns="91425" bIns="91425" anchor="ctr"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altLang="ja" sz="900" dirty="0">
                <a:latin typeface="Aptos Narrow" panose="020B0004020202020204" pitchFamily="34" charset="0"/>
                <a:cs typeface="Calibri"/>
              </a:rPr>
              <a:t>700</a:t>
            </a:r>
          </a:p>
        </p:txBody>
      </p:sp>
      <p:sp>
        <p:nvSpPr>
          <p:cNvPr id="22" name="Rectangle 2">
            <a:extLst>
              <a:ext uri="{FF2B5EF4-FFF2-40B4-BE49-F238E27FC236}">
                <a16:creationId xmlns:a16="http://schemas.microsoft.com/office/drawing/2014/main" id="{2A24C3A1-5B8F-3FB3-B005-5B672CAD91BE}"/>
              </a:ext>
            </a:extLst>
          </p:cNvPr>
          <p:cNvSpPr/>
          <p:nvPr/>
        </p:nvSpPr>
        <p:spPr>
          <a:xfrm>
            <a:off x="273695" y="3743351"/>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02322"/>
                </a:solidFill>
                <a:effectLst/>
                <a:uLnTx/>
                <a:uFillTx/>
                <a:latin typeface="Aptos Narrow"/>
                <a:ea typeface="+mn-lt"/>
                <a:cs typeface="+mn-lt"/>
              </a:rPr>
              <a:t>GEL-1130 GS</a:t>
            </a:r>
            <a:endParaRPr kumimoji="0" lang="en-US" sz="1800" b="0" i="0" u="none" strike="noStrike" kern="1200" cap="none" spc="0" normalizeH="0" baseline="0" noProof="0" dirty="0">
              <a:ln>
                <a:noFill/>
              </a:ln>
              <a:solidFill>
                <a:srgbClr val="202322"/>
              </a:solidFill>
              <a:effectLst/>
              <a:uLnTx/>
              <a:uFillTx/>
              <a:latin typeface="Aptos Narrow"/>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02322"/>
                </a:solidFill>
                <a:effectLst/>
                <a:uLnTx/>
                <a:uFillTx/>
                <a:latin typeface="Aptos Narrow"/>
                <a:ea typeface="+mn-lt"/>
                <a:cs typeface="+mn-lt"/>
              </a:rPr>
              <a:t>1204A169</a:t>
            </a:r>
            <a:endParaRPr kumimoji="0" lang="en-US" sz="1800" b="1" i="0" u="none" strike="noStrike" kern="1200" cap="none" spc="0" normalizeH="0" baseline="0" noProof="0" dirty="0">
              <a:ln>
                <a:noFill/>
              </a:ln>
              <a:solidFill>
                <a:srgbClr val="202322"/>
              </a:solidFill>
              <a:effectLst/>
              <a:uLnTx/>
              <a:uFillTx/>
              <a:latin typeface="Aptos Narrow"/>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02322"/>
                </a:solidFill>
                <a:effectLst/>
                <a:uLnTx/>
                <a:uFillTx/>
                <a:latin typeface="Aptos Narrow"/>
                <a:ea typeface="+mn-lt"/>
                <a:cs typeface="+mn-lt"/>
              </a:rPr>
              <a:t>CARRY OVER</a:t>
            </a:r>
            <a:endParaRPr kumimoji="0" lang="en-US" sz="1800" b="0" i="0" u="none" strike="noStrike" kern="1200" cap="none" spc="0" normalizeH="0" baseline="0" noProof="0" dirty="0">
              <a:ln>
                <a:noFill/>
              </a:ln>
              <a:solidFill>
                <a:srgbClr val="202322"/>
              </a:solidFill>
              <a:effectLst/>
              <a:uLnTx/>
              <a:uFillTx/>
              <a:latin typeface="Aptos Narrow"/>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02322"/>
                </a:solidFill>
                <a:effectLst/>
                <a:uLnTx/>
                <a:uFillTx/>
                <a:latin typeface="Aptos Narrow"/>
                <a:ea typeface="+mn-lt"/>
                <a:cs typeface="+mn-lt"/>
              </a:rPr>
              <a:t>KID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202322"/>
                </a:solidFill>
                <a:latin typeface="Aptos Narrow"/>
                <a:ea typeface="+mn-lt"/>
                <a:cs typeface="+mn-lt"/>
              </a:rPr>
              <a:t>BASE</a:t>
            </a:r>
            <a:endParaRPr kumimoji="0" lang="en-US" sz="800" b="0" i="0" u="none" strike="noStrike" kern="1200" cap="none" spc="0" normalizeH="0" baseline="0" noProof="0" dirty="0">
              <a:ln>
                <a:noFill/>
              </a:ln>
              <a:solidFill>
                <a:srgbClr val="202322"/>
              </a:solidFill>
              <a:effectLst/>
              <a:uLnTx/>
              <a:uFillTx/>
              <a:latin typeface="Aptos Narrow"/>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02322"/>
                </a:solidFill>
                <a:effectLst/>
                <a:uLnTx/>
                <a:uFillTx/>
                <a:latin typeface="Aptos Narrow"/>
                <a:ea typeface="+mn-lt"/>
                <a:cs typeface="+mn-lt"/>
              </a:rPr>
              <a:t>€8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202322"/>
              </a:solidFill>
              <a:effectLst/>
              <a:uLnTx/>
              <a:uFillTx/>
              <a:latin typeface="Aptos Narrow"/>
              <a:ea typeface="+mn-lt"/>
              <a:cs typeface="+mn-lt"/>
            </a:endParaRPr>
          </a:p>
        </p:txBody>
      </p:sp>
      <p:sp>
        <p:nvSpPr>
          <p:cNvPr id="26" name="TextBox 25">
            <a:extLst>
              <a:ext uri="{FF2B5EF4-FFF2-40B4-BE49-F238E27FC236}">
                <a16:creationId xmlns:a16="http://schemas.microsoft.com/office/drawing/2014/main" id="{369903A7-493D-FA4C-E2EF-CC78D60FE307}"/>
              </a:ext>
            </a:extLst>
          </p:cNvPr>
          <p:cNvSpPr txBox="1"/>
          <p:nvPr/>
        </p:nvSpPr>
        <p:spPr>
          <a:xfrm>
            <a:off x="1535414" y="3774240"/>
            <a:ext cx="646544"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02322"/>
                </a:solidFill>
                <a:effectLst/>
                <a:uLnTx/>
                <a:uFillTx/>
                <a:latin typeface="Aptos Narrow" panose="020B0004020202020204" pitchFamily="34" charset="0"/>
              </a:rPr>
              <a:t>0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02322"/>
                </a:solidFill>
                <a:effectLst/>
                <a:uLnTx/>
                <a:uFillTx/>
                <a:latin typeface="Aptos Narrow" panose="020B0004020202020204" pitchFamily="34" charset="0"/>
              </a:rPr>
              <a:t>C/O</a:t>
            </a:r>
          </a:p>
        </p:txBody>
      </p:sp>
      <p:pic>
        <p:nvPicPr>
          <p:cNvPr id="27" name="Picture 6">
            <a:extLst>
              <a:ext uri="{FF2B5EF4-FFF2-40B4-BE49-F238E27FC236}">
                <a16:creationId xmlns:a16="http://schemas.microsoft.com/office/drawing/2014/main" id="{F08E3969-43F3-ABF0-75EF-3D1DBEAEA376}"/>
              </a:ext>
            </a:extLst>
          </p:cNvPr>
          <p:cNvPicPr>
            <a:picLocks noChangeAspect="1"/>
          </p:cNvPicPr>
          <p:nvPr/>
        </p:nvPicPr>
        <p:blipFill>
          <a:blip r:embed="rId8"/>
          <a:stretch>
            <a:fillRect/>
          </a:stretch>
        </p:blipFill>
        <p:spPr>
          <a:xfrm>
            <a:off x="1498827" y="3909169"/>
            <a:ext cx="1575002" cy="798001"/>
          </a:xfrm>
          <a:prstGeom prst="rect">
            <a:avLst/>
          </a:prstGeom>
        </p:spPr>
      </p:pic>
    </p:spTree>
    <p:extLst>
      <p:ext uri="{BB962C8B-B14F-4D97-AF65-F5344CB8AC3E}">
        <p14:creationId xmlns:p14="http://schemas.microsoft.com/office/powerpoint/2010/main" val="15876362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7">
            <a:extLst>
              <a:ext uri="{FF2B5EF4-FFF2-40B4-BE49-F238E27FC236}">
                <a16:creationId xmlns:a16="http://schemas.microsoft.com/office/drawing/2014/main" id="{027D1CC0-730A-4A1F-BA81-543C462CBEA8}"/>
              </a:ext>
            </a:extLst>
          </p:cNvPr>
          <p:cNvSpPr/>
          <p:nvPr/>
        </p:nvSpPr>
        <p:spPr>
          <a:xfrm flipV="1">
            <a:off x="157655" y="3638467"/>
            <a:ext cx="11960947" cy="3126562"/>
          </a:xfrm>
          <a:prstGeom prst="rect">
            <a:avLst/>
          </a:prstGeom>
          <a:no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srgbClr val="202322"/>
              </a:solidFill>
              <a:effectLst/>
              <a:uLnTx/>
              <a:uFillTx/>
              <a:latin typeface="Aptos" panose="020B0004020202020204" pitchFamily="34" charset="0"/>
              <a:ea typeface="+mn-ea"/>
              <a:cs typeface="+mn-cs"/>
            </a:endParaRPr>
          </a:p>
        </p:txBody>
      </p:sp>
      <p:sp>
        <p:nvSpPr>
          <p:cNvPr id="16" name="正方形/長方形 7">
            <a:extLst>
              <a:ext uri="{FF2B5EF4-FFF2-40B4-BE49-F238E27FC236}">
                <a16:creationId xmlns:a16="http://schemas.microsoft.com/office/drawing/2014/main" id="{AE3EE079-D984-582B-CA12-9A0B292EBDC6}"/>
              </a:ext>
            </a:extLst>
          </p:cNvPr>
          <p:cNvSpPr/>
          <p:nvPr/>
        </p:nvSpPr>
        <p:spPr>
          <a:xfrm flipV="1">
            <a:off x="85933" y="4487852"/>
            <a:ext cx="12031787" cy="2278055"/>
          </a:xfrm>
          <a:prstGeom prst="rect">
            <a:avLst/>
          </a:prstGeom>
          <a:no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srgbClr val="202322"/>
              </a:solidFill>
              <a:effectLst/>
              <a:uLnTx/>
              <a:uFillTx/>
              <a:latin typeface="Aptos" panose="020B0004020202020204" pitchFamily="34" charset="0"/>
              <a:ea typeface="+mn-ea"/>
              <a:cs typeface="+mn-cs"/>
            </a:endParaRPr>
          </a:p>
        </p:txBody>
      </p:sp>
      <p:sp>
        <p:nvSpPr>
          <p:cNvPr id="8" name="正方形/長方形 7">
            <a:extLst>
              <a:ext uri="{FF2B5EF4-FFF2-40B4-BE49-F238E27FC236}">
                <a16:creationId xmlns:a16="http://schemas.microsoft.com/office/drawing/2014/main" id="{005584B2-698B-C445-B5E9-A3FD6722109C}"/>
              </a:ext>
            </a:extLst>
          </p:cNvPr>
          <p:cNvSpPr/>
          <p:nvPr/>
        </p:nvSpPr>
        <p:spPr>
          <a:xfrm flipV="1">
            <a:off x="93121" y="547770"/>
            <a:ext cx="12031787" cy="917625"/>
          </a:xfrm>
          <a:prstGeom prst="rect">
            <a:avLst/>
          </a:prstGeom>
          <a:no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srgbClr val="202322"/>
              </a:solidFill>
              <a:effectLst/>
              <a:uLnTx/>
              <a:uFillTx/>
              <a:latin typeface="Aptos" panose="020B0004020202020204" pitchFamily="34" charset="0"/>
              <a:ea typeface="+mn-ea"/>
              <a:cs typeface="+mn-cs"/>
            </a:endParaRPr>
          </a:p>
        </p:txBody>
      </p:sp>
      <p:sp>
        <p:nvSpPr>
          <p:cNvPr id="9" name="タイトル 5">
            <a:extLst>
              <a:ext uri="{FF2B5EF4-FFF2-40B4-BE49-F238E27FC236}">
                <a16:creationId xmlns:a16="http://schemas.microsoft.com/office/drawing/2014/main" id="{C3C9F0A4-1266-9BD1-1F62-BD50A82966A6}"/>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1" lang="en-US" altLang="ja-JP" sz="1400" b="0" i="0" u="none" strike="noStrike" kern="1200" cap="all" spc="0" normalizeH="0" baseline="0" noProof="0" dirty="0">
                <a:ln>
                  <a:noFill/>
                </a:ln>
                <a:solidFill>
                  <a:srgbClr val="202322"/>
                </a:solidFill>
                <a:effectLst/>
                <a:uLnTx/>
                <a:uFillTx/>
                <a:latin typeface="Aptos"/>
                <a:ea typeface="+mj-ea"/>
                <a:cs typeface="Calibri"/>
              </a:rPr>
              <a:t>KIDS</a:t>
            </a:r>
            <a:endParaRPr kumimoji="1" lang="en-US" sz="1400" b="0" i="0" u="none" strike="noStrike" kern="1200" cap="all" spc="0" normalizeH="0" baseline="0" noProof="0" dirty="0">
              <a:ln>
                <a:noFill/>
              </a:ln>
              <a:solidFill>
                <a:srgbClr val="202322"/>
              </a:solidFill>
              <a:effectLst/>
              <a:uLnTx/>
              <a:uFillTx/>
              <a:latin typeface="Aptos" panose="020B0004020202020204" pitchFamily="34" charset="0"/>
              <a:ea typeface="+mj-ea"/>
              <a:cs typeface="Calibri" panose="020F0502020204030204" pitchFamily="34" charset="0"/>
            </a:endParaRPr>
          </a:p>
        </p:txBody>
      </p:sp>
      <p:sp>
        <p:nvSpPr>
          <p:cNvPr id="5" name="正方形/長方形 4">
            <a:extLst>
              <a:ext uri="{FF2B5EF4-FFF2-40B4-BE49-F238E27FC236}">
                <a16:creationId xmlns:a16="http://schemas.microsoft.com/office/drawing/2014/main" id="{09C9BBC7-2223-23FE-7CD4-59A77239621D}"/>
              </a:ext>
            </a:extLst>
          </p:cNvPr>
          <p:cNvSpPr/>
          <p:nvPr/>
        </p:nvSpPr>
        <p:spPr>
          <a:xfrm rot="16200000">
            <a:off x="-2934572" y="3563069"/>
            <a:ext cx="6230750" cy="185783"/>
          </a:xfrm>
          <a:prstGeom prst="rect">
            <a:avLst/>
          </a:prstGeom>
          <a:solidFill>
            <a:srgbClr val="BFC1C4"/>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srgbClr val="202322"/>
                </a:solidFill>
                <a:effectLst/>
                <a:uLnTx/>
                <a:uFillTx/>
                <a:latin typeface="Aptos" panose="020B0004020202020204" pitchFamily="34" charset="0"/>
                <a:ea typeface="+mn-ea"/>
                <a:cs typeface="+mn-cs"/>
              </a:rPr>
              <a:t>SILVER</a:t>
            </a:r>
            <a:endParaRPr kumimoji="1" lang="ja-JP" altLang="en-US" sz="800" b="0" i="0" u="none" strike="noStrike" kern="1200" cap="none" spc="0" normalizeH="0" baseline="0" noProof="0">
              <a:ln>
                <a:noFill/>
              </a:ln>
              <a:solidFill>
                <a:srgbClr val="202322"/>
              </a:solidFill>
              <a:effectLst/>
              <a:uLnTx/>
              <a:uFillTx/>
              <a:latin typeface="Aptos" panose="020B0004020202020204" pitchFamily="34" charset="0"/>
              <a:ea typeface="+mn-ea"/>
              <a:cs typeface="+mn-cs"/>
            </a:endParaRPr>
          </a:p>
        </p:txBody>
      </p:sp>
      <p:sp>
        <p:nvSpPr>
          <p:cNvPr id="3" name="Rectangle 2">
            <a:extLst>
              <a:ext uri="{FF2B5EF4-FFF2-40B4-BE49-F238E27FC236}">
                <a16:creationId xmlns:a16="http://schemas.microsoft.com/office/drawing/2014/main" id="{73EC35BD-3F2E-F0DF-D1BF-09AF3620BDFE}"/>
              </a:ext>
            </a:extLst>
          </p:cNvPr>
          <p:cNvSpPr/>
          <p:nvPr/>
        </p:nvSpPr>
        <p:spPr>
          <a:xfrm>
            <a:off x="273695" y="571139"/>
            <a:ext cx="1170068"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02322"/>
                </a:solidFill>
                <a:effectLst/>
                <a:uLnTx/>
                <a:uFillTx/>
                <a:latin typeface="Aptos Narrow"/>
                <a:ea typeface="+mn-lt"/>
                <a:cs typeface="+mn-lt"/>
              </a:rPr>
              <a:t>GEL-QUANTUM LYTE II G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02322"/>
                </a:solidFill>
                <a:effectLst/>
                <a:uLnTx/>
                <a:uFillTx/>
                <a:latin typeface="Aptos Narrow"/>
                <a:ea typeface="+mn-lt"/>
                <a:cs typeface="+mn-lt"/>
              </a:rPr>
              <a:t>1204A18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02322"/>
                </a:solidFill>
                <a:effectLst/>
                <a:uLnTx/>
                <a:uFillTx/>
                <a:latin typeface="Aptos Narrow"/>
                <a:ea typeface="+mn-lt"/>
                <a:cs typeface="+mn-lt"/>
              </a:rPr>
              <a:t>CARRY OV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02322"/>
                </a:solidFill>
                <a:effectLst/>
                <a:uLnTx/>
                <a:uFillTx/>
                <a:latin typeface="Aptos Narrow"/>
                <a:ea typeface="+mn-lt"/>
                <a:cs typeface="+mn-lt"/>
              </a:rPr>
              <a:t>KID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202322"/>
                </a:solidFill>
                <a:latin typeface="Aptos Narrow"/>
                <a:ea typeface="+mn-lt"/>
                <a:cs typeface="+mn-lt"/>
              </a:rPr>
              <a:t>BASE</a:t>
            </a:r>
            <a:endParaRPr kumimoji="0" lang="en-US" sz="800" b="0" i="0" u="none" strike="noStrike" kern="1200" cap="none" spc="0" normalizeH="0" baseline="0" noProof="0" dirty="0">
              <a:ln>
                <a:noFill/>
              </a:ln>
              <a:solidFill>
                <a:srgbClr val="202322"/>
              </a:solidFill>
              <a:effectLst/>
              <a:uLnTx/>
              <a:uFillTx/>
              <a:latin typeface="Aptos Narrow"/>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02322"/>
                </a:solidFill>
                <a:effectLst/>
                <a:uLnTx/>
                <a:uFillTx/>
                <a:latin typeface="Aptos Narrow"/>
                <a:ea typeface="+mn-lt"/>
                <a:cs typeface="+mn-lt"/>
              </a:rPr>
              <a:t>€65</a:t>
            </a:r>
          </a:p>
        </p:txBody>
      </p:sp>
      <p:pic>
        <p:nvPicPr>
          <p:cNvPr id="13" name="Picture 12" descr="A red shoe with black lines&#10;&#10;Description automatically generated">
            <a:extLst>
              <a:ext uri="{FF2B5EF4-FFF2-40B4-BE49-F238E27FC236}">
                <a16:creationId xmlns:a16="http://schemas.microsoft.com/office/drawing/2014/main" id="{4E807E80-AA58-465E-9D75-9764611EC62F}"/>
              </a:ext>
            </a:extLst>
          </p:cNvPr>
          <p:cNvPicPr>
            <a:picLocks noChangeAspect="1"/>
          </p:cNvPicPr>
          <p:nvPr/>
        </p:nvPicPr>
        <p:blipFill>
          <a:blip r:embed="rId2"/>
          <a:stretch>
            <a:fillRect/>
          </a:stretch>
        </p:blipFill>
        <p:spPr>
          <a:xfrm>
            <a:off x="1499889" y="702416"/>
            <a:ext cx="1401037" cy="650947"/>
          </a:xfrm>
          <a:prstGeom prst="rect">
            <a:avLst/>
          </a:prstGeom>
        </p:spPr>
      </p:pic>
      <p:sp>
        <p:nvSpPr>
          <p:cNvPr id="15" name="TextBox 14">
            <a:extLst>
              <a:ext uri="{FF2B5EF4-FFF2-40B4-BE49-F238E27FC236}">
                <a16:creationId xmlns:a16="http://schemas.microsoft.com/office/drawing/2014/main" id="{BAD62E54-9DC6-0BC7-7043-C2A6FCD91641}"/>
              </a:ext>
            </a:extLst>
          </p:cNvPr>
          <p:cNvSpPr txBox="1"/>
          <p:nvPr/>
        </p:nvSpPr>
        <p:spPr>
          <a:xfrm>
            <a:off x="1499889" y="610800"/>
            <a:ext cx="646544"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02322"/>
                </a:solidFill>
                <a:effectLst/>
                <a:uLnTx/>
                <a:uFillTx/>
                <a:latin typeface="Aptos Narrow" panose="020B0004020202020204" pitchFamily="34" charset="0"/>
              </a:rPr>
              <a:t>6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02322"/>
                </a:solidFill>
                <a:effectLst/>
                <a:uLnTx/>
                <a:uFillTx/>
                <a:latin typeface="Aptos Narrow" panose="020B0004020202020204" pitchFamily="34" charset="0"/>
              </a:rPr>
              <a:t>C/O</a:t>
            </a:r>
          </a:p>
        </p:txBody>
      </p:sp>
      <p:sp>
        <p:nvSpPr>
          <p:cNvPr id="70" name="Rectangle 2">
            <a:extLst>
              <a:ext uri="{FF2B5EF4-FFF2-40B4-BE49-F238E27FC236}">
                <a16:creationId xmlns:a16="http://schemas.microsoft.com/office/drawing/2014/main" id="{806B8040-186A-DF35-242B-F6AD41CEFC9B}"/>
              </a:ext>
            </a:extLst>
          </p:cNvPr>
          <p:cNvSpPr/>
          <p:nvPr/>
        </p:nvSpPr>
        <p:spPr>
          <a:xfrm>
            <a:off x="289579" y="1922766"/>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JAPAN S GS</a:t>
            </a:r>
          </a:p>
          <a:p>
            <a:r>
              <a:rPr lang="en-US" sz="800" b="1" dirty="0">
                <a:solidFill>
                  <a:schemeClr val="tx1"/>
                </a:solidFill>
                <a:latin typeface="Aptos Narrow"/>
                <a:ea typeface="+mn-lt"/>
                <a:cs typeface="+mn-lt"/>
              </a:rPr>
              <a:t>1204A007</a:t>
            </a:r>
          </a:p>
          <a:p>
            <a:r>
              <a:rPr lang="en-US" sz="800" dirty="0">
                <a:solidFill>
                  <a:schemeClr val="tx1"/>
                </a:solidFill>
                <a:latin typeface="Aptos Narrow"/>
                <a:ea typeface="+mn-lt"/>
                <a:cs typeface="+mn-lt"/>
              </a:rPr>
              <a:t>CUD</a:t>
            </a:r>
          </a:p>
          <a:p>
            <a:r>
              <a:rPr lang="en-US" sz="800" dirty="0">
                <a:solidFill>
                  <a:schemeClr val="tx1"/>
                </a:solidFill>
                <a:latin typeface="Aptos Narrow"/>
                <a:ea typeface="+mn-lt"/>
                <a:cs typeface="+mn-lt"/>
              </a:rPr>
              <a:t>KIDS</a:t>
            </a:r>
          </a:p>
          <a:p>
            <a:r>
              <a:rPr lang="en-US" sz="800" dirty="0">
                <a:solidFill>
                  <a:schemeClr val="tx1"/>
                </a:solidFill>
                <a:latin typeface="Aptos Narrow"/>
                <a:ea typeface="+mn-lt"/>
                <a:cs typeface="+mn-lt"/>
              </a:rPr>
              <a:t>BASE</a:t>
            </a:r>
          </a:p>
          <a:p>
            <a:r>
              <a:rPr lang="en-US" sz="800" dirty="0">
                <a:solidFill>
                  <a:schemeClr val="tx1"/>
                </a:solidFill>
                <a:latin typeface="Aptos Narrow"/>
                <a:ea typeface="+mn-lt"/>
                <a:cs typeface="+mn-lt"/>
              </a:rPr>
              <a:t>€59</a:t>
            </a:r>
          </a:p>
          <a:p>
            <a:endParaRPr lang="en-US" sz="800" dirty="0">
              <a:solidFill>
                <a:schemeClr val="tx1"/>
              </a:solidFill>
              <a:latin typeface="Aptos Narrow"/>
            </a:endParaRPr>
          </a:p>
        </p:txBody>
      </p:sp>
      <p:pic>
        <p:nvPicPr>
          <p:cNvPr id="14" name="Picture 5">
            <a:extLst>
              <a:ext uri="{FF2B5EF4-FFF2-40B4-BE49-F238E27FC236}">
                <a16:creationId xmlns:a16="http://schemas.microsoft.com/office/drawing/2014/main" id="{3732DF76-5F86-D57B-0E6A-95168F47DEF2}"/>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1578222" y="1992752"/>
            <a:ext cx="1410114" cy="645568"/>
          </a:xfrm>
          <a:prstGeom prst="rect">
            <a:avLst/>
          </a:prstGeom>
        </p:spPr>
      </p:pic>
      <p:pic>
        <p:nvPicPr>
          <p:cNvPr id="19" name="Picture 5">
            <a:extLst>
              <a:ext uri="{FF2B5EF4-FFF2-40B4-BE49-F238E27FC236}">
                <a16:creationId xmlns:a16="http://schemas.microsoft.com/office/drawing/2014/main" id="{5D3EB6BB-C2C1-917F-DF17-CC008052CECD}"/>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558738" y="2706241"/>
            <a:ext cx="1449083" cy="645295"/>
          </a:xfrm>
          <a:prstGeom prst="rect">
            <a:avLst/>
          </a:prstGeom>
        </p:spPr>
      </p:pic>
      <p:sp>
        <p:nvSpPr>
          <p:cNvPr id="2" name="テキスト ボックス 2">
            <a:extLst>
              <a:ext uri="{FF2B5EF4-FFF2-40B4-BE49-F238E27FC236}">
                <a16:creationId xmlns:a16="http://schemas.microsoft.com/office/drawing/2014/main" id="{8BD7CA86-92B6-32A6-6DA7-2FA4C8E77A20}"/>
              </a:ext>
            </a:extLst>
          </p:cNvPr>
          <p:cNvSpPr txBox="1"/>
          <p:nvPr/>
        </p:nvSpPr>
        <p:spPr>
          <a:xfrm>
            <a:off x="1551759" y="2022682"/>
            <a:ext cx="357790" cy="230832"/>
          </a:xfrm>
          <a:prstGeom prst="rect">
            <a:avLst/>
          </a:prstGeom>
          <a:noFill/>
        </p:spPr>
        <p:txBody>
          <a:bodyPr wrap="none" rtlCol="0">
            <a:spAutoFit/>
          </a:bodyPr>
          <a:lstStyle/>
          <a:p>
            <a:r>
              <a:rPr kumimoji="1" lang="en-GB" altLang="ja-JP" sz="900">
                <a:latin typeface="Aptos Narrow" panose="020B0004020202020204" pitchFamily="34" charset="0"/>
                <a:ea typeface="Calibri" panose="020F0502020204030204" pitchFamily="34" charset="0"/>
                <a:cs typeface="Calibri" panose="020F0502020204030204" pitchFamily="34" charset="0"/>
              </a:rPr>
              <a:t>1</a:t>
            </a:r>
            <a:r>
              <a:rPr kumimoji="1" lang="en-US" altLang="ja-JP" sz="900">
                <a:latin typeface="Aptos Narrow" panose="020B0004020202020204" pitchFamily="34" charset="0"/>
                <a:ea typeface="Calibri" panose="020F0502020204030204" pitchFamily="34" charset="0"/>
                <a:cs typeface="Calibri" panose="020F0502020204030204" pitchFamily="34" charset="0"/>
              </a:rPr>
              <a:t>35</a:t>
            </a:r>
            <a:endParaRPr kumimoji="1" lang="ja-JP" altLang="en-US" sz="900">
              <a:latin typeface="Aptos Narrow" panose="020B0004020202020204" pitchFamily="34" charset="0"/>
              <a:cs typeface="Calibri" panose="020F0502020204030204" pitchFamily="34" charset="0"/>
            </a:endParaRPr>
          </a:p>
        </p:txBody>
      </p:sp>
      <p:sp>
        <p:nvSpPr>
          <p:cNvPr id="6" name="テキスト ボックス 3">
            <a:extLst>
              <a:ext uri="{FF2B5EF4-FFF2-40B4-BE49-F238E27FC236}">
                <a16:creationId xmlns:a16="http://schemas.microsoft.com/office/drawing/2014/main" id="{8AABDF00-DDF5-8292-8AC1-58D119D0B8F6}"/>
              </a:ext>
            </a:extLst>
          </p:cNvPr>
          <p:cNvSpPr txBox="1"/>
          <p:nvPr/>
        </p:nvSpPr>
        <p:spPr>
          <a:xfrm>
            <a:off x="1551759" y="2738316"/>
            <a:ext cx="357790" cy="230832"/>
          </a:xfrm>
          <a:prstGeom prst="rect">
            <a:avLst/>
          </a:prstGeom>
          <a:noFill/>
        </p:spPr>
        <p:txBody>
          <a:bodyPr wrap="none" rtlCol="0">
            <a:spAutoFit/>
          </a:bodyPr>
          <a:lstStyle/>
          <a:p>
            <a:r>
              <a:rPr kumimoji="1" lang="en-GB" altLang="ja-JP" sz="900">
                <a:latin typeface="Aptos Narrow" panose="020B0004020202020204" pitchFamily="34" charset="0"/>
                <a:ea typeface="Calibri" panose="020F0502020204030204" pitchFamily="34" charset="0"/>
                <a:cs typeface="Calibri" panose="020F0502020204030204" pitchFamily="34" charset="0"/>
              </a:rPr>
              <a:t>1</a:t>
            </a:r>
            <a:r>
              <a:rPr kumimoji="1" lang="en-US" altLang="ja-JP" sz="900">
                <a:latin typeface="Aptos Narrow" panose="020B0004020202020204" pitchFamily="34" charset="0"/>
                <a:ea typeface="Calibri" panose="020F0502020204030204" pitchFamily="34" charset="0"/>
                <a:cs typeface="Calibri" panose="020F0502020204030204" pitchFamily="34" charset="0"/>
              </a:rPr>
              <a:t>36</a:t>
            </a:r>
            <a:endParaRPr kumimoji="1" lang="ja-JP" altLang="en-US" sz="900">
              <a:latin typeface="Aptos Narrow" panose="020B0004020202020204" pitchFamily="34" charset="0"/>
              <a:cs typeface="Calibri" panose="020F0502020204030204" pitchFamily="34" charset="0"/>
            </a:endParaRPr>
          </a:p>
        </p:txBody>
      </p:sp>
    </p:spTree>
    <p:extLst>
      <p:ext uri="{BB962C8B-B14F-4D97-AF65-F5344CB8AC3E}">
        <p14:creationId xmlns:p14="http://schemas.microsoft.com/office/powerpoint/2010/main" val="7330981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2E9625CB-AC44-337C-AA97-EE066C866F94}"/>
              </a:ext>
            </a:extLst>
          </p:cNvPr>
          <p:cNvGraphicFramePr>
            <a:graphicFrameLocks noChangeAspect="1"/>
          </p:cNvGraphicFramePr>
          <p:nvPr>
            <p:custDataLst>
              <p:tags r:id="rId1"/>
            </p:custDataLst>
            <p:extLst>
              <p:ext uri="{D42A27DB-BD31-4B8C-83A1-F6EECF244321}">
                <p14:modId xmlns:p14="http://schemas.microsoft.com/office/powerpoint/2010/main" val="83218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12" name="think-cell data - do not delete" hidden="1">
                        <a:extLst>
                          <a:ext uri="{FF2B5EF4-FFF2-40B4-BE49-F238E27FC236}">
                            <a16:creationId xmlns:a16="http://schemas.microsoft.com/office/drawing/2014/main" id="{2E9625CB-AC44-337C-AA97-EE066C866F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95083575-0CD9-A7AC-5A05-536AA69AE4DA}"/>
              </a:ext>
            </a:extLst>
          </p:cNvPr>
          <p:cNvPicPr>
            <a:picLocks noChangeAspect="1"/>
          </p:cNvPicPr>
          <p:nvPr/>
        </p:nvPicPr>
        <p:blipFill>
          <a:blip r:embed="rId5"/>
          <a:stretch>
            <a:fillRect/>
          </a:stretch>
        </p:blipFill>
        <p:spPr>
          <a:xfrm>
            <a:off x="1518161" y="1512262"/>
            <a:ext cx="1571718" cy="792000"/>
          </a:xfrm>
          <a:prstGeom prst="rect">
            <a:avLst/>
          </a:prstGeom>
        </p:spPr>
      </p:pic>
      <p:pic>
        <p:nvPicPr>
          <p:cNvPr id="16" name="Picture 15">
            <a:extLst>
              <a:ext uri="{FF2B5EF4-FFF2-40B4-BE49-F238E27FC236}">
                <a16:creationId xmlns:a16="http://schemas.microsoft.com/office/drawing/2014/main" id="{CDD4280C-3353-3AAF-1AA0-B81C56E51EC6}"/>
              </a:ext>
            </a:extLst>
          </p:cNvPr>
          <p:cNvPicPr>
            <a:picLocks noChangeAspect="1"/>
          </p:cNvPicPr>
          <p:nvPr/>
        </p:nvPicPr>
        <p:blipFill>
          <a:blip r:embed="rId6"/>
          <a:stretch>
            <a:fillRect/>
          </a:stretch>
        </p:blipFill>
        <p:spPr>
          <a:xfrm>
            <a:off x="5000431" y="3286664"/>
            <a:ext cx="1627220" cy="792000"/>
          </a:xfrm>
          <a:prstGeom prst="rect">
            <a:avLst/>
          </a:prstGeom>
        </p:spPr>
      </p:pic>
      <p:pic>
        <p:nvPicPr>
          <p:cNvPr id="19" name="Picture 18">
            <a:extLst>
              <a:ext uri="{FF2B5EF4-FFF2-40B4-BE49-F238E27FC236}">
                <a16:creationId xmlns:a16="http://schemas.microsoft.com/office/drawing/2014/main" id="{61B7E381-5533-B937-7455-DD170439BCB0}"/>
              </a:ext>
            </a:extLst>
          </p:cNvPr>
          <p:cNvPicPr>
            <a:picLocks noChangeAspect="1"/>
          </p:cNvPicPr>
          <p:nvPr/>
        </p:nvPicPr>
        <p:blipFill>
          <a:blip r:embed="rId7"/>
          <a:stretch>
            <a:fillRect/>
          </a:stretch>
        </p:blipFill>
        <p:spPr>
          <a:xfrm>
            <a:off x="5000431" y="2422139"/>
            <a:ext cx="1627220" cy="792000"/>
          </a:xfrm>
          <a:prstGeom prst="rect">
            <a:avLst/>
          </a:prstGeom>
        </p:spPr>
      </p:pic>
      <p:pic>
        <p:nvPicPr>
          <p:cNvPr id="6" name="Picture 5">
            <a:extLst>
              <a:ext uri="{FF2B5EF4-FFF2-40B4-BE49-F238E27FC236}">
                <a16:creationId xmlns:a16="http://schemas.microsoft.com/office/drawing/2014/main" id="{3334B1A4-D404-3C00-B4D4-76211C0259C1}"/>
              </a:ext>
            </a:extLst>
          </p:cNvPr>
          <p:cNvPicPr>
            <a:picLocks noChangeAspect="1"/>
          </p:cNvPicPr>
          <p:nvPr/>
        </p:nvPicPr>
        <p:blipFill>
          <a:blip r:embed="rId8"/>
          <a:stretch>
            <a:fillRect/>
          </a:stretch>
        </p:blipFill>
        <p:spPr>
          <a:xfrm>
            <a:off x="1518161" y="643058"/>
            <a:ext cx="1571718" cy="792000"/>
          </a:xfrm>
          <a:prstGeom prst="rect">
            <a:avLst/>
          </a:prstGeom>
        </p:spPr>
      </p:pic>
      <p:sp>
        <p:nvSpPr>
          <p:cNvPr id="3" name="正方形/長方形 2">
            <a:extLst>
              <a:ext uri="{FF2B5EF4-FFF2-40B4-BE49-F238E27FC236}">
                <a16:creationId xmlns:a16="http://schemas.microsoft.com/office/drawing/2014/main" id="{F2A53B5D-84D0-7C03-4003-32B46816EB75}"/>
              </a:ext>
            </a:extLst>
          </p:cNvPr>
          <p:cNvSpPr/>
          <p:nvPr/>
        </p:nvSpPr>
        <p:spPr>
          <a:xfrm flipV="1">
            <a:off x="87912" y="2317750"/>
            <a:ext cx="12033402" cy="1784350"/>
          </a:xfrm>
          <a:prstGeom prst="rect">
            <a:avLst/>
          </a:prstGeom>
          <a:no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latin typeface="Aptos" panose="020B0004020202020204" pitchFamily="34" charset="0"/>
            </a:endParaRPr>
          </a:p>
        </p:txBody>
      </p:sp>
      <p:sp>
        <p:nvSpPr>
          <p:cNvPr id="10" name="正方形/長方形 9">
            <a:extLst>
              <a:ext uri="{FF2B5EF4-FFF2-40B4-BE49-F238E27FC236}">
                <a16:creationId xmlns:a16="http://schemas.microsoft.com/office/drawing/2014/main" id="{4AC399DE-D4E4-C4AF-59E7-215433152576}"/>
              </a:ext>
            </a:extLst>
          </p:cNvPr>
          <p:cNvSpPr/>
          <p:nvPr/>
        </p:nvSpPr>
        <p:spPr>
          <a:xfrm rot="16200000">
            <a:off x="-2926887" y="3560119"/>
            <a:ext cx="6216375" cy="184797"/>
          </a:xfrm>
          <a:prstGeom prst="rect">
            <a:avLst/>
          </a:prstGeom>
          <a:solidFill>
            <a:srgbClr val="F2EEDE"/>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solidFill>
                  <a:schemeClr val="tx1"/>
                </a:solidFill>
                <a:latin typeface="Aptos" panose="020B0004020202020204" pitchFamily="34" charset="0"/>
              </a:rPr>
              <a:t>PLATINUM</a:t>
            </a:r>
            <a:endParaRPr kumimoji="1" lang="ja-JP" altLang="en-US" sz="800">
              <a:solidFill>
                <a:schemeClr val="tx1"/>
              </a:solidFill>
              <a:latin typeface="Aptos" panose="020B0004020202020204" pitchFamily="34" charset="0"/>
            </a:endParaRPr>
          </a:p>
        </p:txBody>
      </p:sp>
      <p:sp>
        <p:nvSpPr>
          <p:cNvPr id="70" name="Rectangle 2">
            <a:extLst>
              <a:ext uri="{FF2B5EF4-FFF2-40B4-BE49-F238E27FC236}">
                <a16:creationId xmlns:a16="http://schemas.microsoft.com/office/drawing/2014/main" id="{806B8040-186A-DF35-242B-F6AD41CEFC9B}"/>
              </a:ext>
            </a:extLst>
          </p:cNvPr>
          <p:cNvSpPr/>
          <p:nvPr/>
        </p:nvSpPr>
        <p:spPr>
          <a:xfrm>
            <a:off x="275673" y="540586"/>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KINETIC FLUENT</a:t>
            </a:r>
          </a:p>
          <a:p>
            <a:r>
              <a:rPr lang="en-US" sz="800" b="1" dirty="0">
                <a:solidFill>
                  <a:schemeClr val="tx1"/>
                </a:solidFill>
                <a:latin typeface="Aptos Narrow"/>
                <a:ea typeface="+mn-lt"/>
                <a:cs typeface="+mn-lt"/>
              </a:rPr>
              <a:t>1203A591</a:t>
            </a:r>
          </a:p>
          <a:p>
            <a:r>
              <a:rPr lang="en-US" sz="800" dirty="0">
                <a:solidFill>
                  <a:schemeClr val="tx1"/>
                </a:solidFill>
                <a:latin typeface="Aptos Narrow"/>
                <a:ea typeface="+mn-lt"/>
                <a:cs typeface="+mn-lt"/>
              </a:rPr>
              <a:t>CUD</a:t>
            </a:r>
          </a:p>
          <a:p>
            <a:r>
              <a:rPr lang="en-US" sz="800" dirty="0">
                <a:solidFill>
                  <a:schemeClr val="tx1"/>
                </a:solidFill>
                <a:latin typeface="Aptos Narrow"/>
                <a:ea typeface="+mn-lt"/>
                <a:cs typeface="+mn-lt"/>
              </a:rPr>
              <a:t>UNI</a:t>
            </a:r>
          </a:p>
          <a:p>
            <a:r>
              <a:rPr lang="en-US" sz="800" dirty="0">
                <a:solidFill>
                  <a:schemeClr val="tx1"/>
                </a:solidFill>
                <a:latin typeface="Aptos Narrow"/>
                <a:ea typeface="+mn-lt"/>
                <a:cs typeface="+mn-lt"/>
              </a:rPr>
              <a:t>BASE</a:t>
            </a:r>
          </a:p>
          <a:p>
            <a:r>
              <a:rPr lang="en-US" sz="800" dirty="0">
                <a:solidFill>
                  <a:schemeClr val="tx1"/>
                </a:solidFill>
                <a:latin typeface="Aptos Narrow"/>
                <a:ea typeface="+mn-lt"/>
                <a:cs typeface="+mn-lt"/>
              </a:rPr>
              <a:t>€17</a:t>
            </a:r>
            <a:r>
              <a:rPr lang="el-GR" sz="800" dirty="0">
                <a:solidFill>
                  <a:schemeClr val="tx1"/>
                </a:solidFill>
                <a:latin typeface="Aptos Narrow"/>
                <a:ea typeface="+mn-lt"/>
                <a:cs typeface="+mn-lt"/>
              </a:rPr>
              <a:t>5</a:t>
            </a:r>
            <a:endParaRPr lang="en-US" sz="800" dirty="0">
              <a:solidFill>
                <a:schemeClr val="tx1"/>
              </a:solidFill>
              <a:latin typeface="Aptos Narrow"/>
              <a:ea typeface="+mn-lt"/>
              <a:cs typeface="+mn-lt"/>
            </a:endParaRPr>
          </a:p>
          <a:p>
            <a:endParaRPr lang="en-US" sz="800" dirty="0">
              <a:solidFill>
                <a:schemeClr val="tx1"/>
              </a:solidFill>
              <a:latin typeface="Aptos Narrow"/>
            </a:endParaRPr>
          </a:p>
        </p:txBody>
      </p:sp>
      <p:sp>
        <p:nvSpPr>
          <p:cNvPr id="5" name="Rectangle 2">
            <a:extLst>
              <a:ext uri="{FF2B5EF4-FFF2-40B4-BE49-F238E27FC236}">
                <a16:creationId xmlns:a16="http://schemas.microsoft.com/office/drawing/2014/main" id="{348DC8FD-AA96-A5D1-C9E2-8164D78A9707}"/>
              </a:ext>
            </a:extLst>
          </p:cNvPr>
          <p:cNvSpPr/>
          <p:nvPr/>
        </p:nvSpPr>
        <p:spPr>
          <a:xfrm>
            <a:off x="273700" y="2317750"/>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KINETIC FLUENT</a:t>
            </a:r>
          </a:p>
          <a:p>
            <a:r>
              <a:rPr lang="en-US" sz="800" b="1" dirty="0">
                <a:solidFill>
                  <a:schemeClr val="tx1"/>
                </a:solidFill>
                <a:latin typeface="Aptos Narrow"/>
                <a:ea typeface="+mn-lt"/>
                <a:cs typeface="+mn-lt"/>
              </a:rPr>
              <a:t>1203A892</a:t>
            </a:r>
            <a:endParaRPr lang="en-US" sz="800" b="1" dirty="0">
              <a:solidFill>
                <a:srgbClr val="F9F9F9"/>
              </a:solidFill>
              <a:latin typeface="Aptos Narrow"/>
              <a:ea typeface="+mn-lt"/>
              <a:cs typeface="+mn-lt"/>
            </a:endParaRPr>
          </a:p>
          <a:p>
            <a:r>
              <a:rPr lang="en-US" sz="800" dirty="0">
                <a:solidFill>
                  <a:schemeClr val="tx1"/>
                </a:solidFill>
                <a:latin typeface="Aptos Narrow"/>
                <a:ea typeface="+mn-lt"/>
                <a:cs typeface="+mn-lt"/>
              </a:rPr>
              <a:t>MUD</a:t>
            </a:r>
          </a:p>
          <a:p>
            <a:r>
              <a:rPr lang="en-US" sz="800" dirty="0">
                <a:solidFill>
                  <a:schemeClr val="tx1"/>
                </a:solidFill>
                <a:latin typeface="Aptos Narrow"/>
                <a:ea typeface="+mn-lt"/>
                <a:cs typeface="+mn-lt"/>
              </a:rPr>
              <a:t>UNI</a:t>
            </a:r>
          </a:p>
          <a:p>
            <a:r>
              <a:rPr lang="en-US" sz="800" dirty="0">
                <a:solidFill>
                  <a:schemeClr val="tx1"/>
                </a:solidFill>
                <a:latin typeface="Aptos Narrow"/>
                <a:ea typeface="+mn-lt"/>
                <a:cs typeface="+mn-lt"/>
              </a:rPr>
              <a:t>AURORA</a:t>
            </a:r>
          </a:p>
          <a:p>
            <a:r>
              <a:rPr lang="en-US" sz="800" dirty="0">
                <a:solidFill>
                  <a:schemeClr val="tx1"/>
                </a:solidFill>
                <a:latin typeface="Aptos Narrow"/>
                <a:ea typeface="+mn-lt"/>
                <a:cs typeface="+mn-lt"/>
              </a:rPr>
              <a:t>€17</a:t>
            </a:r>
            <a:r>
              <a:rPr lang="el-GR" sz="800" dirty="0">
                <a:solidFill>
                  <a:schemeClr val="tx1"/>
                </a:solidFill>
                <a:latin typeface="Aptos Narrow"/>
                <a:ea typeface="+mn-lt"/>
                <a:cs typeface="+mn-lt"/>
              </a:rPr>
              <a:t>5</a:t>
            </a:r>
            <a:endParaRPr lang="en-US" sz="800" dirty="0">
              <a:solidFill>
                <a:schemeClr val="tx1"/>
              </a:solidFill>
              <a:latin typeface="Aptos Narrow"/>
              <a:ea typeface="+mn-lt"/>
              <a:cs typeface="+mn-lt"/>
            </a:endParaRPr>
          </a:p>
          <a:p>
            <a:endParaRPr lang="en-US" sz="800" dirty="0">
              <a:solidFill>
                <a:schemeClr val="tx1"/>
              </a:solidFill>
              <a:latin typeface="Aptos Narrow"/>
            </a:endParaRPr>
          </a:p>
        </p:txBody>
      </p:sp>
      <p:sp>
        <p:nvSpPr>
          <p:cNvPr id="14" name="タイトル 5">
            <a:extLst>
              <a:ext uri="{FF2B5EF4-FFF2-40B4-BE49-F238E27FC236}">
                <a16:creationId xmlns:a16="http://schemas.microsoft.com/office/drawing/2014/main" id="{FBE9E113-F3D3-DF1A-0550-016340C7F86F}"/>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r>
              <a:rPr lang="en-US" altLang="ja-JP">
                <a:latin typeface="Aptos"/>
                <a:cs typeface="Calibri"/>
              </a:rPr>
              <a:t>GEL-KINETIC fluent</a:t>
            </a:r>
            <a:endParaRPr lang="ja-JP" altLang="en-US"/>
          </a:p>
        </p:txBody>
      </p:sp>
      <p:pic>
        <p:nvPicPr>
          <p:cNvPr id="9" name="Picture 5">
            <a:extLst>
              <a:ext uri="{FF2B5EF4-FFF2-40B4-BE49-F238E27FC236}">
                <a16:creationId xmlns:a16="http://schemas.microsoft.com/office/drawing/2014/main" id="{0B1296B6-F4CF-DB86-5DEE-14BE4BFCD378}"/>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8632750" y="643058"/>
            <a:ext cx="1611699" cy="792000"/>
          </a:xfrm>
          <a:prstGeom prst="rect">
            <a:avLst/>
          </a:prstGeom>
        </p:spPr>
      </p:pic>
      <p:sp>
        <p:nvSpPr>
          <p:cNvPr id="30" name="Google Shape;84;p13">
            <a:extLst>
              <a:ext uri="{FF2B5EF4-FFF2-40B4-BE49-F238E27FC236}">
                <a16:creationId xmlns:a16="http://schemas.microsoft.com/office/drawing/2014/main" id="{BB60C2C2-344E-192B-20D2-159F6943468C}"/>
              </a:ext>
            </a:extLst>
          </p:cNvPr>
          <p:cNvSpPr txBox="1"/>
          <p:nvPr/>
        </p:nvSpPr>
        <p:spPr>
          <a:xfrm>
            <a:off x="1538296" y="1466161"/>
            <a:ext cx="365443" cy="230832"/>
          </a:xfrm>
          <a:prstGeom prst="rect">
            <a:avLst/>
          </a:prstGeom>
          <a:noFill/>
        </p:spPr>
        <p:txBody>
          <a:bodyPr wrap="squar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ltLang="ja">
                <a:latin typeface="Aptos Narrow" panose="020B0004020202020204" pitchFamily="34" charset="0"/>
              </a:rPr>
              <a:t>103</a:t>
            </a:r>
          </a:p>
        </p:txBody>
      </p:sp>
      <p:sp>
        <p:nvSpPr>
          <p:cNvPr id="31" name="Google Shape;84;p13">
            <a:extLst>
              <a:ext uri="{FF2B5EF4-FFF2-40B4-BE49-F238E27FC236}">
                <a16:creationId xmlns:a16="http://schemas.microsoft.com/office/drawing/2014/main" id="{1C2B7B96-AFD8-87CC-2286-B167B487525B}"/>
              </a:ext>
            </a:extLst>
          </p:cNvPr>
          <p:cNvSpPr txBox="1"/>
          <p:nvPr/>
        </p:nvSpPr>
        <p:spPr>
          <a:xfrm>
            <a:off x="1538295" y="644638"/>
            <a:ext cx="365443" cy="230832"/>
          </a:xfrm>
          <a:prstGeom prst="rect">
            <a:avLst/>
          </a:prstGeom>
          <a:noFill/>
        </p:spPr>
        <p:txBody>
          <a:bodyPr wrap="squar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ltLang="ja">
                <a:latin typeface="Aptos Narrow" panose="020B0004020202020204" pitchFamily="34" charset="0"/>
              </a:rPr>
              <a:t>003</a:t>
            </a:r>
          </a:p>
        </p:txBody>
      </p:sp>
      <p:sp>
        <p:nvSpPr>
          <p:cNvPr id="33" name="Google Shape;84;p13">
            <a:extLst>
              <a:ext uri="{FF2B5EF4-FFF2-40B4-BE49-F238E27FC236}">
                <a16:creationId xmlns:a16="http://schemas.microsoft.com/office/drawing/2014/main" id="{B1441AE2-53BF-1638-F9C1-C28A604F3ABE}"/>
              </a:ext>
            </a:extLst>
          </p:cNvPr>
          <p:cNvSpPr txBox="1"/>
          <p:nvPr/>
        </p:nvSpPr>
        <p:spPr>
          <a:xfrm>
            <a:off x="8700243" y="643058"/>
            <a:ext cx="365443" cy="230832"/>
          </a:xfrm>
          <a:prstGeom prst="rect">
            <a:avLst/>
          </a:prstGeom>
          <a:noFill/>
        </p:spPr>
        <p:txBody>
          <a:bodyPr wrap="squar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ltLang="ja">
                <a:latin typeface="Aptos Narrow" panose="020B0004020202020204" pitchFamily="34" charset="0"/>
              </a:rPr>
              <a:t>105</a:t>
            </a:r>
          </a:p>
        </p:txBody>
      </p:sp>
      <p:sp>
        <p:nvSpPr>
          <p:cNvPr id="35" name="Google Shape;84;p13">
            <a:extLst>
              <a:ext uri="{FF2B5EF4-FFF2-40B4-BE49-F238E27FC236}">
                <a16:creationId xmlns:a16="http://schemas.microsoft.com/office/drawing/2014/main" id="{0704FA1A-5BEF-9486-3823-022773B51449}"/>
              </a:ext>
            </a:extLst>
          </p:cNvPr>
          <p:cNvSpPr txBox="1"/>
          <p:nvPr/>
        </p:nvSpPr>
        <p:spPr>
          <a:xfrm>
            <a:off x="5133492" y="2450458"/>
            <a:ext cx="431799" cy="230832"/>
          </a:xfrm>
          <a:prstGeom prst="rect">
            <a:avLst/>
          </a:prstGeom>
          <a:noFill/>
        </p:spPr>
        <p:txBody>
          <a:bodyPr wrap="squar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ltLang="ja">
                <a:latin typeface="Aptos Narrow" panose="020B0004020202020204" pitchFamily="34" charset="0"/>
              </a:rPr>
              <a:t>400</a:t>
            </a:r>
          </a:p>
        </p:txBody>
      </p:sp>
      <p:sp>
        <p:nvSpPr>
          <p:cNvPr id="36" name="Google Shape;84;p13">
            <a:extLst>
              <a:ext uri="{FF2B5EF4-FFF2-40B4-BE49-F238E27FC236}">
                <a16:creationId xmlns:a16="http://schemas.microsoft.com/office/drawing/2014/main" id="{B364CF69-E157-F154-73C2-4B6503FAD169}"/>
              </a:ext>
            </a:extLst>
          </p:cNvPr>
          <p:cNvSpPr txBox="1"/>
          <p:nvPr/>
        </p:nvSpPr>
        <p:spPr>
          <a:xfrm>
            <a:off x="5133492" y="3309632"/>
            <a:ext cx="431799" cy="230832"/>
          </a:xfrm>
          <a:prstGeom prst="rect">
            <a:avLst/>
          </a:prstGeom>
          <a:noFill/>
        </p:spPr>
        <p:txBody>
          <a:bodyPr wrap="squar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ltLang="ja">
                <a:latin typeface="Aptos Narrow" panose="020B0004020202020204" pitchFamily="34" charset="0"/>
              </a:rPr>
              <a:t>100</a:t>
            </a:r>
          </a:p>
        </p:txBody>
      </p:sp>
    </p:spTree>
    <p:extLst>
      <p:ext uri="{BB962C8B-B14F-4D97-AF65-F5344CB8AC3E}">
        <p14:creationId xmlns:p14="http://schemas.microsoft.com/office/powerpoint/2010/main" val="35468544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200AB2C-B23F-2A36-F085-0ABEA95D5E1A}"/>
              </a:ext>
            </a:extLst>
          </p:cNvPr>
          <p:cNvGraphicFramePr>
            <a:graphicFrameLocks noChangeAspect="1"/>
          </p:cNvGraphicFramePr>
          <p:nvPr>
            <p:custDataLst>
              <p:tags r:id="rId1"/>
            </p:custDataLst>
            <p:extLst>
              <p:ext uri="{D42A27DB-BD31-4B8C-83A1-F6EECF244321}">
                <p14:modId xmlns:p14="http://schemas.microsoft.com/office/powerpoint/2010/main" val="2836002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11" name="think-cell data - do not delete" hidden="1">
                        <a:extLst>
                          <a:ext uri="{FF2B5EF4-FFF2-40B4-BE49-F238E27FC236}">
                            <a16:creationId xmlns:a16="http://schemas.microsoft.com/office/drawing/2014/main" id="{B200AB2C-B23F-2A36-F085-0ABEA95D5E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1A5C47E8-AD78-DAE8-8A6D-A51D2021B638}"/>
              </a:ext>
            </a:extLst>
          </p:cNvPr>
          <p:cNvPicPr>
            <a:picLocks noChangeAspect="1"/>
          </p:cNvPicPr>
          <p:nvPr/>
        </p:nvPicPr>
        <p:blipFill>
          <a:blip r:embed="rId5"/>
          <a:stretch>
            <a:fillRect/>
          </a:stretch>
        </p:blipFill>
        <p:spPr>
          <a:xfrm>
            <a:off x="6810981" y="1419793"/>
            <a:ext cx="1645713" cy="792000"/>
          </a:xfrm>
          <a:prstGeom prst="rect">
            <a:avLst/>
          </a:prstGeom>
        </p:spPr>
      </p:pic>
      <p:pic>
        <p:nvPicPr>
          <p:cNvPr id="10" name="Picture 9">
            <a:extLst>
              <a:ext uri="{FF2B5EF4-FFF2-40B4-BE49-F238E27FC236}">
                <a16:creationId xmlns:a16="http://schemas.microsoft.com/office/drawing/2014/main" id="{2ABBFD6B-5F7B-686E-1407-1E3BEE4BC6DE}"/>
              </a:ext>
            </a:extLst>
          </p:cNvPr>
          <p:cNvPicPr>
            <a:picLocks noChangeAspect="1"/>
          </p:cNvPicPr>
          <p:nvPr/>
        </p:nvPicPr>
        <p:blipFill>
          <a:blip r:embed="rId6"/>
          <a:stretch>
            <a:fillRect/>
          </a:stretch>
        </p:blipFill>
        <p:spPr>
          <a:xfrm>
            <a:off x="1487709" y="636098"/>
            <a:ext cx="1598993" cy="792000"/>
          </a:xfrm>
          <a:prstGeom prst="rect">
            <a:avLst/>
          </a:prstGeom>
        </p:spPr>
      </p:pic>
      <p:pic>
        <p:nvPicPr>
          <p:cNvPr id="34" name="Picture 5">
            <a:extLst>
              <a:ext uri="{FF2B5EF4-FFF2-40B4-BE49-F238E27FC236}">
                <a16:creationId xmlns:a16="http://schemas.microsoft.com/office/drawing/2014/main" id="{29DABECC-57FA-76AB-396B-E47B9A3DDB3C}"/>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6799020" y="592728"/>
            <a:ext cx="1606589" cy="792000"/>
          </a:xfrm>
          <a:prstGeom prst="rect">
            <a:avLst/>
          </a:prstGeom>
        </p:spPr>
      </p:pic>
      <p:sp>
        <p:nvSpPr>
          <p:cNvPr id="70" name="Rectangle 2">
            <a:extLst>
              <a:ext uri="{FF2B5EF4-FFF2-40B4-BE49-F238E27FC236}">
                <a16:creationId xmlns:a16="http://schemas.microsoft.com/office/drawing/2014/main" id="{806B8040-186A-DF35-242B-F6AD41CEFC9B}"/>
              </a:ext>
            </a:extLst>
          </p:cNvPr>
          <p:cNvSpPr/>
          <p:nvPr/>
        </p:nvSpPr>
        <p:spPr>
          <a:xfrm>
            <a:off x="282862" y="545320"/>
            <a:ext cx="1187350" cy="9603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91440" bIns="45720" rtlCol="0" anchor="t"/>
          <a:lstStyle/>
          <a:p>
            <a:r>
              <a:rPr lang="en-US" sz="800" dirty="0">
                <a:solidFill>
                  <a:schemeClr val="tx1"/>
                </a:solidFill>
                <a:latin typeface="Aptos Narrow"/>
                <a:ea typeface="+mn-lt"/>
                <a:cs typeface="+mn-lt"/>
              </a:rPr>
              <a:t>GEL-QUANTUM 360 I AMP</a:t>
            </a:r>
          </a:p>
          <a:p>
            <a:r>
              <a:rPr lang="en-US" sz="800" b="1" dirty="0">
                <a:solidFill>
                  <a:schemeClr val="tx1"/>
                </a:solidFill>
                <a:latin typeface="Aptos Narrow"/>
                <a:ea typeface="+mn-lt"/>
                <a:cs typeface="+mn-lt"/>
              </a:rPr>
              <a:t>1203A731</a:t>
            </a:r>
          </a:p>
          <a:p>
            <a:r>
              <a:rPr lang="en-US" sz="800" dirty="0">
                <a:solidFill>
                  <a:schemeClr val="tx1"/>
                </a:solidFill>
                <a:latin typeface="Aptos Narrow"/>
                <a:ea typeface="+mn-lt"/>
                <a:cs typeface="+mn-lt"/>
              </a:rPr>
              <a:t>CUD</a:t>
            </a:r>
          </a:p>
          <a:p>
            <a:r>
              <a:rPr lang="en-US" sz="800" dirty="0">
                <a:solidFill>
                  <a:schemeClr val="tx1"/>
                </a:solidFill>
                <a:latin typeface="Aptos Narrow"/>
                <a:ea typeface="+mn-lt"/>
                <a:cs typeface="+mn-lt"/>
              </a:rPr>
              <a:t>UNI</a:t>
            </a:r>
            <a:endParaRPr lang="en-US" sz="800" dirty="0">
              <a:solidFill>
                <a:srgbClr val="F9F9F9"/>
              </a:solidFill>
              <a:latin typeface="Aptos Narrow"/>
              <a:ea typeface="+mn-lt"/>
              <a:cs typeface="+mn-lt"/>
            </a:endParaRPr>
          </a:p>
          <a:p>
            <a:r>
              <a:rPr lang="en-US" sz="800" dirty="0">
                <a:solidFill>
                  <a:schemeClr val="tx1"/>
                </a:solidFill>
                <a:latin typeface="Aptos Narrow"/>
                <a:ea typeface="+mn-lt"/>
                <a:cs typeface="+mn-lt"/>
              </a:rPr>
              <a:t>BASE</a:t>
            </a:r>
          </a:p>
          <a:p>
            <a:r>
              <a:rPr lang="en-US" sz="800" dirty="0">
                <a:solidFill>
                  <a:schemeClr val="tx1"/>
                </a:solidFill>
                <a:latin typeface="Aptos Narrow"/>
                <a:ea typeface="+mn-lt"/>
                <a:cs typeface="+mn-lt"/>
              </a:rPr>
              <a:t>€190</a:t>
            </a:r>
          </a:p>
          <a:p>
            <a:endParaRPr lang="en-US" sz="800" dirty="0">
              <a:latin typeface="Aptos Narrow"/>
            </a:endParaRPr>
          </a:p>
        </p:txBody>
      </p:sp>
      <p:sp>
        <p:nvSpPr>
          <p:cNvPr id="9" name="正方形/長方形 8">
            <a:extLst>
              <a:ext uri="{FF2B5EF4-FFF2-40B4-BE49-F238E27FC236}">
                <a16:creationId xmlns:a16="http://schemas.microsoft.com/office/drawing/2014/main" id="{9994BE79-D2E0-7843-0C00-0CA2F19A5A70}"/>
              </a:ext>
            </a:extLst>
          </p:cNvPr>
          <p:cNvSpPr/>
          <p:nvPr/>
        </p:nvSpPr>
        <p:spPr>
          <a:xfrm rot="16200000">
            <a:off x="-2925371" y="3562199"/>
            <a:ext cx="6220596" cy="184795"/>
          </a:xfrm>
          <a:prstGeom prst="rect">
            <a:avLst/>
          </a:prstGeom>
          <a:solidFill>
            <a:srgbClr val="EDEEEE"/>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solidFill>
                  <a:schemeClr val="tx1"/>
                </a:solidFill>
                <a:latin typeface="Aptos" panose="020B0004020202020204" pitchFamily="34" charset="0"/>
              </a:rPr>
              <a:t>PLATINUM PLUS</a:t>
            </a:r>
            <a:endParaRPr kumimoji="1" lang="ja-JP" altLang="en-US" sz="800">
              <a:solidFill>
                <a:schemeClr val="tx1"/>
              </a:solidFill>
              <a:latin typeface="Aptos" panose="020B0004020202020204" pitchFamily="34" charset="0"/>
            </a:endParaRPr>
          </a:p>
        </p:txBody>
      </p:sp>
      <p:sp>
        <p:nvSpPr>
          <p:cNvPr id="6" name="タイトル 5">
            <a:extLst>
              <a:ext uri="{FF2B5EF4-FFF2-40B4-BE49-F238E27FC236}">
                <a16:creationId xmlns:a16="http://schemas.microsoft.com/office/drawing/2014/main" id="{98D36994-1E0C-772B-613A-810FD53B6AA2}"/>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r>
              <a:rPr lang="en-US" altLang="ja-JP">
                <a:latin typeface="Aptos"/>
                <a:cs typeface="Calibri"/>
              </a:rPr>
              <a:t>GEL-quantum 360 I amp</a:t>
            </a:r>
            <a:endParaRPr lang="ja-JP" altLang="en-US"/>
          </a:p>
        </p:txBody>
      </p:sp>
      <p:sp>
        <p:nvSpPr>
          <p:cNvPr id="3" name="テキスト ボックス 2">
            <a:extLst>
              <a:ext uri="{FF2B5EF4-FFF2-40B4-BE49-F238E27FC236}">
                <a16:creationId xmlns:a16="http://schemas.microsoft.com/office/drawing/2014/main" id="{C5297124-C92F-B27C-164D-56B5399789EE}"/>
              </a:ext>
            </a:extLst>
          </p:cNvPr>
          <p:cNvSpPr txBox="1"/>
          <p:nvPr/>
        </p:nvSpPr>
        <p:spPr>
          <a:xfrm>
            <a:off x="1537297" y="615837"/>
            <a:ext cx="357790" cy="230832"/>
          </a:xfrm>
          <a:prstGeom prst="rect">
            <a:avLst/>
          </a:prstGeom>
          <a:noFill/>
        </p:spPr>
        <p:txBody>
          <a:bodyPr wrap="none" rtlCol="0">
            <a:spAutoFit/>
          </a:bodyPr>
          <a:lstStyle/>
          <a:p>
            <a:r>
              <a:rPr kumimoji="1" lang="en-US" altLang="ja-JP" sz="900">
                <a:latin typeface="Aptos Narrow" panose="020B0004020202020204" pitchFamily="34" charset="0"/>
                <a:ea typeface="Calibri" panose="020F0502020204030204" pitchFamily="34" charset="0"/>
                <a:cs typeface="Calibri" panose="020F0502020204030204" pitchFamily="34" charset="0"/>
              </a:rPr>
              <a:t>002</a:t>
            </a:r>
            <a:endParaRPr kumimoji="1" lang="ja-JP" altLang="en-US" sz="900">
              <a:latin typeface="Aptos Narrow" panose="020B0004020202020204" pitchFamily="34" charset="0"/>
              <a:cs typeface="Calibri" panose="020F0502020204030204" pitchFamily="34" charset="0"/>
            </a:endParaRPr>
          </a:p>
        </p:txBody>
      </p:sp>
      <p:sp>
        <p:nvSpPr>
          <p:cNvPr id="7" name="テキスト ボックス 6">
            <a:extLst>
              <a:ext uri="{FF2B5EF4-FFF2-40B4-BE49-F238E27FC236}">
                <a16:creationId xmlns:a16="http://schemas.microsoft.com/office/drawing/2014/main" id="{2BE969F1-D6C4-54AF-427E-18EAC2AE4EDD}"/>
              </a:ext>
            </a:extLst>
          </p:cNvPr>
          <p:cNvSpPr txBox="1"/>
          <p:nvPr/>
        </p:nvSpPr>
        <p:spPr>
          <a:xfrm>
            <a:off x="6916805" y="615837"/>
            <a:ext cx="333746" cy="230832"/>
          </a:xfrm>
          <a:prstGeom prst="rect">
            <a:avLst/>
          </a:prstGeom>
          <a:noFill/>
        </p:spPr>
        <p:txBody>
          <a:bodyPr wrap="none" rtlCol="0">
            <a:spAutoFit/>
          </a:bodyPr>
          <a:lstStyle/>
          <a:p>
            <a:r>
              <a:rPr kumimoji="1" lang="en-US" altLang="ja-JP" sz="900">
                <a:ea typeface="Calibri" panose="020F0502020204030204" pitchFamily="34" charset="0"/>
                <a:cs typeface="Calibri" panose="020F0502020204030204" pitchFamily="34" charset="0"/>
              </a:rPr>
              <a:t>021</a:t>
            </a:r>
            <a:endParaRPr kumimoji="1" lang="ja-JP" altLang="en-US" sz="900">
              <a:cs typeface="Calibri" panose="020F0502020204030204" pitchFamily="34" charset="0"/>
            </a:endParaRPr>
          </a:p>
        </p:txBody>
      </p:sp>
      <p:sp>
        <p:nvSpPr>
          <p:cNvPr id="8" name="テキスト ボックス 7">
            <a:extLst>
              <a:ext uri="{FF2B5EF4-FFF2-40B4-BE49-F238E27FC236}">
                <a16:creationId xmlns:a16="http://schemas.microsoft.com/office/drawing/2014/main" id="{10DDAD96-450B-DC5E-0CF8-DBA4BADE581C}"/>
              </a:ext>
            </a:extLst>
          </p:cNvPr>
          <p:cNvSpPr txBox="1"/>
          <p:nvPr/>
        </p:nvSpPr>
        <p:spPr>
          <a:xfrm>
            <a:off x="6916805" y="1343642"/>
            <a:ext cx="357790" cy="230832"/>
          </a:xfrm>
          <a:prstGeom prst="rect">
            <a:avLst/>
          </a:prstGeom>
          <a:noFill/>
        </p:spPr>
        <p:txBody>
          <a:bodyPr wrap="none" rtlCol="0">
            <a:spAutoFit/>
          </a:bodyPr>
          <a:lstStyle/>
          <a:p>
            <a:r>
              <a:rPr kumimoji="1" lang="en-US" altLang="ja-JP" sz="900">
                <a:latin typeface="Aptos Narrow" panose="020B0004020202020204" pitchFamily="34" charset="0"/>
                <a:ea typeface="Calibri" panose="020F0502020204030204" pitchFamily="34" charset="0"/>
                <a:cs typeface="Calibri" panose="020F0502020204030204" pitchFamily="34" charset="0"/>
              </a:rPr>
              <a:t>100</a:t>
            </a:r>
            <a:endParaRPr kumimoji="1" lang="ja-JP" altLang="en-US" sz="900">
              <a:latin typeface="Aptos Narrow" panose="020B0004020202020204" pitchFamily="34" charset="0"/>
              <a:cs typeface="Calibri" panose="020F0502020204030204" pitchFamily="34" charset="0"/>
            </a:endParaRPr>
          </a:p>
        </p:txBody>
      </p:sp>
    </p:spTree>
    <p:extLst>
      <p:ext uri="{BB962C8B-B14F-4D97-AF65-F5344CB8AC3E}">
        <p14:creationId xmlns:p14="http://schemas.microsoft.com/office/powerpoint/2010/main" val="10299320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1FD62AFB-A12A-BB0F-EF24-44D3F3F36A43}"/>
              </a:ext>
            </a:extLst>
          </p:cNvPr>
          <p:cNvGraphicFramePr>
            <a:graphicFrameLocks noChangeAspect="1"/>
          </p:cNvGraphicFramePr>
          <p:nvPr>
            <p:custDataLst>
              <p:tags r:id="rId1"/>
            </p:custDataLst>
            <p:extLst>
              <p:ext uri="{D42A27DB-BD31-4B8C-83A1-F6EECF244321}">
                <p14:modId xmlns:p14="http://schemas.microsoft.com/office/powerpoint/2010/main" val="1407404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25" name="think-cell data - do not delete" hidden="1">
                        <a:extLst>
                          <a:ext uri="{FF2B5EF4-FFF2-40B4-BE49-F238E27FC236}">
                            <a16:creationId xmlns:a16="http://schemas.microsoft.com/office/drawing/2014/main" id="{1FD62AFB-A12A-BB0F-EF24-44D3F3F36A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Picture 5">
            <a:extLst>
              <a:ext uri="{FF2B5EF4-FFF2-40B4-BE49-F238E27FC236}">
                <a16:creationId xmlns:a16="http://schemas.microsoft.com/office/drawing/2014/main" id="{5BB5D6F5-E1E6-A3F1-8B6B-96D0194953C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8715690" y="3000866"/>
            <a:ext cx="1536000" cy="720000"/>
          </a:xfrm>
          <a:prstGeom prst="rect">
            <a:avLst/>
          </a:prstGeom>
        </p:spPr>
      </p:pic>
      <p:pic>
        <p:nvPicPr>
          <p:cNvPr id="22" name="Picture 21">
            <a:extLst>
              <a:ext uri="{FF2B5EF4-FFF2-40B4-BE49-F238E27FC236}">
                <a16:creationId xmlns:a16="http://schemas.microsoft.com/office/drawing/2014/main" id="{FEED99A5-905B-8603-B150-36310A420B5B}"/>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8729335" y="3784444"/>
            <a:ext cx="1548910" cy="720000"/>
          </a:xfrm>
          <a:prstGeom prst="rect">
            <a:avLst/>
          </a:prstGeom>
        </p:spPr>
      </p:pic>
      <p:sp>
        <p:nvSpPr>
          <p:cNvPr id="12" name="正方形/長方形 65">
            <a:extLst>
              <a:ext uri="{FF2B5EF4-FFF2-40B4-BE49-F238E27FC236}">
                <a16:creationId xmlns:a16="http://schemas.microsoft.com/office/drawing/2014/main" id="{D3BFC715-99C2-B6F8-7530-1282381F0EA3}"/>
              </a:ext>
            </a:extLst>
          </p:cNvPr>
          <p:cNvSpPr/>
          <p:nvPr/>
        </p:nvSpPr>
        <p:spPr>
          <a:xfrm flipV="1">
            <a:off x="97640" y="543727"/>
            <a:ext cx="12013610" cy="2338234"/>
          </a:xfrm>
          <a:prstGeom prst="rect">
            <a:avLst/>
          </a:prstGeom>
          <a:no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latin typeface="Aptos" panose="020B0004020202020204" pitchFamily="34" charset="0"/>
            </a:endParaRPr>
          </a:p>
        </p:txBody>
      </p:sp>
      <p:pic>
        <p:nvPicPr>
          <p:cNvPr id="29" name="Picture 5">
            <a:extLst>
              <a:ext uri="{FF2B5EF4-FFF2-40B4-BE49-F238E27FC236}">
                <a16:creationId xmlns:a16="http://schemas.microsoft.com/office/drawing/2014/main" id="{B2DE51B2-3015-FFF6-BC08-DC4DA2005230}"/>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1518076" y="1392742"/>
            <a:ext cx="1481669" cy="720000"/>
          </a:xfrm>
          <a:prstGeom prst="rect">
            <a:avLst/>
          </a:prstGeom>
        </p:spPr>
      </p:pic>
      <p:sp>
        <p:nvSpPr>
          <p:cNvPr id="66" name="正方形/長方形 65">
            <a:extLst>
              <a:ext uri="{FF2B5EF4-FFF2-40B4-BE49-F238E27FC236}">
                <a16:creationId xmlns:a16="http://schemas.microsoft.com/office/drawing/2014/main" id="{E3D66219-C056-79DF-43B6-AD9C57CCEB15}"/>
              </a:ext>
            </a:extLst>
          </p:cNvPr>
          <p:cNvSpPr/>
          <p:nvPr/>
        </p:nvSpPr>
        <p:spPr>
          <a:xfrm flipV="1">
            <a:off x="89054" y="2890820"/>
            <a:ext cx="12033402" cy="2338233"/>
          </a:xfrm>
          <a:prstGeom prst="rect">
            <a:avLst/>
          </a:prstGeom>
          <a:no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latin typeface="Aptos" panose="020B0004020202020204" pitchFamily="34" charset="0"/>
            </a:endParaRPr>
          </a:p>
        </p:txBody>
      </p:sp>
      <p:sp>
        <p:nvSpPr>
          <p:cNvPr id="71" name="Rectangle 2">
            <a:extLst>
              <a:ext uri="{FF2B5EF4-FFF2-40B4-BE49-F238E27FC236}">
                <a16:creationId xmlns:a16="http://schemas.microsoft.com/office/drawing/2014/main" id="{2AD15FC7-13C1-7EAF-160A-6AFB645E257B}"/>
              </a:ext>
            </a:extLst>
          </p:cNvPr>
          <p:cNvSpPr/>
          <p:nvPr/>
        </p:nvSpPr>
        <p:spPr>
          <a:xfrm>
            <a:off x="280347" y="549696"/>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QUANTUM 360 I</a:t>
            </a:r>
          </a:p>
          <a:p>
            <a:r>
              <a:rPr lang="en-US" sz="800" b="1" dirty="0">
                <a:solidFill>
                  <a:schemeClr val="tx1"/>
                </a:solidFill>
                <a:latin typeface="Aptos Narrow"/>
                <a:ea typeface="+mn-lt"/>
                <a:cs typeface="+mn-lt"/>
              </a:rPr>
              <a:t>1203A730</a:t>
            </a:r>
          </a:p>
          <a:p>
            <a:r>
              <a:rPr lang="en-US" sz="800" dirty="0">
                <a:solidFill>
                  <a:schemeClr val="tx1"/>
                </a:solidFill>
                <a:latin typeface="Aptos Narrow"/>
                <a:ea typeface="+mn-lt"/>
                <a:cs typeface="+mn-lt"/>
              </a:rPr>
              <a:t>CUD</a:t>
            </a:r>
          </a:p>
          <a:p>
            <a:r>
              <a:rPr lang="en-US" sz="800" dirty="0">
                <a:solidFill>
                  <a:schemeClr val="tx1"/>
                </a:solidFill>
                <a:latin typeface="Aptos Narrow"/>
                <a:ea typeface="+mn-lt"/>
                <a:cs typeface="+mn-lt"/>
              </a:rPr>
              <a:t>UNI</a:t>
            </a:r>
          </a:p>
          <a:p>
            <a:r>
              <a:rPr lang="en-US" sz="800" dirty="0">
                <a:solidFill>
                  <a:schemeClr val="tx1"/>
                </a:solidFill>
                <a:latin typeface="Aptos Narrow"/>
                <a:ea typeface="+mn-lt"/>
                <a:cs typeface="+mn-lt"/>
              </a:rPr>
              <a:t>BASE</a:t>
            </a:r>
          </a:p>
          <a:p>
            <a:r>
              <a:rPr lang="en-US" sz="800" dirty="0">
                <a:solidFill>
                  <a:schemeClr val="tx1"/>
                </a:solidFill>
                <a:latin typeface="Aptos Narrow"/>
                <a:ea typeface="+mn-lt"/>
                <a:cs typeface="+mn-lt"/>
              </a:rPr>
              <a:t>€190</a:t>
            </a:r>
          </a:p>
          <a:p>
            <a:endParaRPr lang="en-US" sz="800" dirty="0">
              <a:latin typeface="Aptos Narrow"/>
            </a:endParaRPr>
          </a:p>
        </p:txBody>
      </p:sp>
      <p:sp>
        <p:nvSpPr>
          <p:cNvPr id="73" name="Rectangle 2">
            <a:extLst>
              <a:ext uri="{FF2B5EF4-FFF2-40B4-BE49-F238E27FC236}">
                <a16:creationId xmlns:a16="http://schemas.microsoft.com/office/drawing/2014/main" id="{4FFBFA79-A448-EF20-411A-AAD17C0172F9}"/>
              </a:ext>
            </a:extLst>
          </p:cNvPr>
          <p:cNvSpPr/>
          <p:nvPr/>
        </p:nvSpPr>
        <p:spPr>
          <a:xfrm>
            <a:off x="281489" y="2890820"/>
            <a:ext cx="1094132" cy="70943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QUANTUM 360 I CM</a:t>
            </a:r>
          </a:p>
          <a:p>
            <a:r>
              <a:rPr lang="en-US" sz="800" b="1" dirty="0">
                <a:solidFill>
                  <a:schemeClr val="tx1"/>
                </a:solidFill>
                <a:latin typeface="Aptos Narrow"/>
                <a:ea typeface="+mn-lt"/>
                <a:cs typeface="+mn-lt"/>
              </a:rPr>
              <a:t>1203A893</a:t>
            </a:r>
          </a:p>
          <a:p>
            <a:r>
              <a:rPr lang="en-US" sz="800" dirty="0">
                <a:solidFill>
                  <a:schemeClr val="tx1"/>
                </a:solidFill>
                <a:latin typeface="Aptos Narrow"/>
                <a:ea typeface="+mn-lt"/>
                <a:cs typeface="+mn-lt"/>
              </a:rPr>
              <a:t>MUD</a:t>
            </a:r>
          </a:p>
          <a:p>
            <a:r>
              <a:rPr lang="en-US" sz="800" dirty="0">
                <a:solidFill>
                  <a:schemeClr val="tx1"/>
                </a:solidFill>
                <a:latin typeface="Aptos Narrow"/>
                <a:ea typeface="+mn-lt"/>
                <a:cs typeface="+mn-lt"/>
              </a:rPr>
              <a:t>UNI</a:t>
            </a:r>
          </a:p>
          <a:p>
            <a:r>
              <a:rPr lang="en-US" sz="800" dirty="0">
                <a:solidFill>
                  <a:schemeClr val="tx1"/>
                </a:solidFill>
                <a:latin typeface="Aptos Narrow"/>
                <a:ea typeface="+mn-lt"/>
                <a:cs typeface="+mn-lt"/>
              </a:rPr>
              <a:t>CM </a:t>
            </a:r>
          </a:p>
          <a:p>
            <a:r>
              <a:rPr lang="en-US" sz="800" dirty="0">
                <a:solidFill>
                  <a:schemeClr val="tx1"/>
                </a:solidFill>
                <a:latin typeface="Aptos Narrow"/>
                <a:ea typeface="+mn-lt"/>
                <a:cs typeface="+mn-lt"/>
              </a:rPr>
              <a:t>€190</a:t>
            </a:r>
          </a:p>
          <a:p>
            <a:endParaRPr lang="en-US" sz="800" dirty="0">
              <a:solidFill>
                <a:schemeClr val="tx1"/>
              </a:solidFill>
              <a:latin typeface="Aptos Narrow"/>
            </a:endParaRPr>
          </a:p>
        </p:txBody>
      </p:sp>
      <p:sp>
        <p:nvSpPr>
          <p:cNvPr id="10" name="正方形/長方形 9">
            <a:extLst>
              <a:ext uri="{FF2B5EF4-FFF2-40B4-BE49-F238E27FC236}">
                <a16:creationId xmlns:a16="http://schemas.microsoft.com/office/drawing/2014/main" id="{4AC399DE-D4E4-C4AF-59E7-215433152576}"/>
              </a:ext>
            </a:extLst>
          </p:cNvPr>
          <p:cNvSpPr/>
          <p:nvPr/>
        </p:nvSpPr>
        <p:spPr>
          <a:xfrm rot="16200000">
            <a:off x="-2929190" y="3567212"/>
            <a:ext cx="6221304" cy="184815"/>
          </a:xfrm>
          <a:prstGeom prst="rect">
            <a:avLst/>
          </a:prstGeom>
          <a:solidFill>
            <a:srgbClr val="F2EEDE"/>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solidFill>
                  <a:schemeClr val="tx1"/>
                </a:solidFill>
                <a:latin typeface="Aptos" panose="020B0004020202020204" pitchFamily="34" charset="0"/>
              </a:rPr>
              <a:t>PLATINUM</a:t>
            </a:r>
            <a:endParaRPr kumimoji="1" lang="ja-JP" altLang="en-US" sz="800">
              <a:solidFill>
                <a:schemeClr val="tx1"/>
              </a:solidFill>
              <a:latin typeface="Aptos" panose="020B0004020202020204" pitchFamily="34" charset="0"/>
            </a:endParaRPr>
          </a:p>
        </p:txBody>
      </p:sp>
      <p:pic>
        <p:nvPicPr>
          <p:cNvPr id="5" name="Picture 5">
            <a:extLst>
              <a:ext uri="{FF2B5EF4-FFF2-40B4-BE49-F238E27FC236}">
                <a16:creationId xmlns:a16="http://schemas.microsoft.com/office/drawing/2014/main" id="{E5A86D5F-B9BE-2F85-C651-24B843EA833A}"/>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1526065" y="623523"/>
            <a:ext cx="1473680" cy="720000"/>
          </a:xfrm>
          <a:prstGeom prst="rect">
            <a:avLst/>
          </a:prstGeom>
        </p:spPr>
      </p:pic>
      <p:sp>
        <p:nvSpPr>
          <p:cNvPr id="6" name="タイトル 5">
            <a:extLst>
              <a:ext uri="{FF2B5EF4-FFF2-40B4-BE49-F238E27FC236}">
                <a16:creationId xmlns:a16="http://schemas.microsoft.com/office/drawing/2014/main" id="{98D36994-1E0C-772B-613A-810FD53B6AA2}"/>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r>
              <a:rPr lang="en-US" altLang="ja-JP">
                <a:latin typeface="Aptos"/>
                <a:cs typeface="Calibri"/>
              </a:rPr>
              <a:t>GEL-quantum 360 I / cm</a:t>
            </a:r>
            <a:endParaRPr lang="ja-JP" altLang="en-US"/>
          </a:p>
        </p:txBody>
      </p:sp>
      <p:sp>
        <p:nvSpPr>
          <p:cNvPr id="3" name="テキスト ボックス 18">
            <a:extLst>
              <a:ext uri="{FF2B5EF4-FFF2-40B4-BE49-F238E27FC236}">
                <a16:creationId xmlns:a16="http://schemas.microsoft.com/office/drawing/2014/main" id="{9FF2C42B-1ACF-5612-B48C-F21F1FF671BD}"/>
              </a:ext>
            </a:extLst>
          </p:cNvPr>
          <p:cNvSpPr txBox="1"/>
          <p:nvPr/>
        </p:nvSpPr>
        <p:spPr>
          <a:xfrm>
            <a:off x="8715690" y="3024326"/>
            <a:ext cx="357790" cy="233014"/>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stStyle>
          <a:p>
            <a:r>
              <a:rPr lang="en-US" altLang="ja-JP">
                <a:latin typeface="Aptos Narrow" panose="020B0004020202020204" pitchFamily="34" charset="0"/>
              </a:rPr>
              <a:t>400</a:t>
            </a:r>
            <a:endParaRPr lang="ja-JP" altLang="en-US">
              <a:latin typeface="Aptos Narrow" panose="020B0004020202020204" pitchFamily="34" charset="0"/>
            </a:endParaRPr>
          </a:p>
        </p:txBody>
      </p:sp>
      <p:sp>
        <p:nvSpPr>
          <p:cNvPr id="4" name="テキスト ボックス 19">
            <a:extLst>
              <a:ext uri="{FF2B5EF4-FFF2-40B4-BE49-F238E27FC236}">
                <a16:creationId xmlns:a16="http://schemas.microsoft.com/office/drawing/2014/main" id="{DFC98069-7EC7-529B-0A6C-33009A814FF4}"/>
              </a:ext>
            </a:extLst>
          </p:cNvPr>
          <p:cNvSpPr txBox="1"/>
          <p:nvPr/>
        </p:nvSpPr>
        <p:spPr>
          <a:xfrm>
            <a:off x="8715690" y="3784444"/>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stStyle>
          <a:p>
            <a:r>
              <a:rPr lang="en-US" altLang="ja-JP">
                <a:latin typeface="Aptos Narrow" panose="020B0004020202020204" pitchFamily="34" charset="0"/>
              </a:rPr>
              <a:t>100</a:t>
            </a:r>
            <a:endParaRPr lang="ja-JP" altLang="en-US">
              <a:latin typeface="Aptos Narrow" panose="020B0004020202020204" pitchFamily="34" charset="0"/>
            </a:endParaRPr>
          </a:p>
        </p:txBody>
      </p:sp>
      <p:sp>
        <p:nvSpPr>
          <p:cNvPr id="7" name="テキスト ボックス 2">
            <a:extLst>
              <a:ext uri="{FF2B5EF4-FFF2-40B4-BE49-F238E27FC236}">
                <a16:creationId xmlns:a16="http://schemas.microsoft.com/office/drawing/2014/main" id="{7E1D18A1-335B-624F-598A-76FAE47DE080}"/>
              </a:ext>
            </a:extLst>
          </p:cNvPr>
          <p:cNvSpPr txBox="1"/>
          <p:nvPr/>
        </p:nvSpPr>
        <p:spPr>
          <a:xfrm>
            <a:off x="1539106" y="612096"/>
            <a:ext cx="357790" cy="230832"/>
          </a:xfrm>
          <a:prstGeom prst="rect">
            <a:avLst/>
          </a:prstGeom>
          <a:noFill/>
        </p:spPr>
        <p:txBody>
          <a:bodyPr wrap="none" rtlCol="0">
            <a:spAutoFit/>
          </a:bodyPr>
          <a:lstStyle/>
          <a:p>
            <a:r>
              <a:rPr kumimoji="1" lang="en-US" altLang="ja-JP" sz="900">
                <a:latin typeface="Aptos Narrow" panose="020B0004020202020204" pitchFamily="34" charset="0"/>
                <a:ea typeface="Calibri" panose="020F0502020204030204" pitchFamily="34" charset="0"/>
                <a:cs typeface="Calibri" panose="020F0502020204030204" pitchFamily="34" charset="0"/>
              </a:rPr>
              <a:t>101</a:t>
            </a:r>
            <a:endParaRPr kumimoji="1" lang="ja-JP" altLang="en-US" sz="900">
              <a:latin typeface="Aptos Narrow" panose="020B0004020202020204" pitchFamily="34" charset="0"/>
              <a:cs typeface="Calibri" panose="020F0502020204030204" pitchFamily="34" charset="0"/>
            </a:endParaRPr>
          </a:p>
        </p:txBody>
      </p:sp>
      <p:sp>
        <p:nvSpPr>
          <p:cNvPr id="8" name="テキスト ボックス 3">
            <a:extLst>
              <a:ext uri="{FF2B5EF4-FFF2-40B4-BE49-F238E27FC236}">
                <a16:creationId xmlns:a16="http://schemas.microsoft.com/office/drawing/2014/main" id="{1D4B70AD-A506-80E9-ED88-1C46CE7D330C}"/>
              </a:ext>
            </a:extLst>
          </p:cNvPr>
          <p:cNvSpPr txBox="1"/>
          <p:nvPr/>
        </p:nvSpPr>
        <p:spPr>
          <a:xfrm>
            <a:off x="1539106" y="1339862"/>
            <a:ext cx="357790" cy="230832"/>
          </a:xfrm>
          <a:prstGeom prst="rect">
            <a:avLst/>
          </a:prstGeom>
          <a:noFill/>
        </p:spPr>
        <p:txBody>
          <a:bodyPr wrap="none" rtlCol="0">
            <a:spAutoFit/>
          </a:bodyPr>
          <a:lstStyle/>
          <a:p>
            <a:r>
              <a:rPr kumimoji="1" lang="en-US" altLang="ja-JP" sz="900">
                <a:latin typeface="Aptos Narrow" panose="020B0004020202020204" pitchFamily="34" charset="0"/>
                <a:ea typeface="Calibri" panose="020F0502020204030204" pitchFamily="34" charset="0"/>
                <a:cs typeface="Calibri" panose="020F0502020204030204" pitchFamily="34" charset="0"/>
              </a:rPr>
              <a:t>001</a:t>
            </a:r>
            <a:endParaRPr kumimoji="1" lang="ja-JP" altLang="en-US" sz="900">
              <a:latin typeface="Aptos Narrow" panose="020B0004020202020204" pitchFamily="34" charset="0"/>
              <a:cs typeface="Calibri" panose="020F0502020204030204" pitchFamily="34" charset="0"/>
            </a:endParaRPr>
          </a:p>
        </p:txBody>
      </p:sp>
    </p:spTree>
    <p:extLst>
      <p:ext uri="{BB962C8B-B14F-4D97-AF65-F5344CB8AC3E}">
        <p14:creationId xmlns:p14="http://schemas.microsoft.com/office/powerpoint/2010/main" val="21297687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65">
            <a:extLst>
              <a:ext uri="{FF2B5EF4-FFF2-40B4-BE49-F238E27FC236}">
                <a16:creationId xmlns:a16="http://schemas.microsoft.com/office/drawing/2014/main" id="{E1E723AC-E1EA-C9A3-F113-20E4C6FA0038}"/>
              </a:ext>
            </a:extLst>
          </p:cNvPr>
          <p:cNvSpPr/>
          <p:nvPr/>
        </p:nvSpPr>
        <p:spPr>
          <a:xfrm flipV="1">
            <a:off x="87912" y="543727"/>
            <a:ext cx="12013610" cy="3819426"/>
          </a:xfrm>
          <a:prstGeom prst="rect">
            <a:avLst/>
          </a:prstGeom>
          <a:no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latin typeface="Aptos" panose="020B0004020202020204" pitchFamily="34" charset="0"/>
            </a:endParaRPr>
          </a:p>
        </p:txBody>
      </p:sp>
      <p:pic>
        <p:nvPicPr>
          <p:cNvPr id="25" name="Picture 5">
            <a:extLst>
              <a:ext uri="{FF2B5EF4-FFF2-40B4-BE49-F238E27FC236}">
                <a16:creationId xmlns:a16="http://schemas.microsoft.com/office/drawing/2014/main" id="{5CBD2090-8162-5D58-B7E3-22DC2AF4F669}"/>
              </a:ext>
            </a:extLst>
          </p:cNvPr>
          <p:cNvPicPr>
            <a:picLocks/>
          </p:cNvPicPr>
          <p:nvPr/>
        </p:nvPicPr>
        <p:blipFill>
          <a:blip r:embed="rId2" cstate="print">
            <a:extLst>
              <a:ext uri="{28A0092B-C50C-407E-A947-70E740481C1C}">
                <a14:useLocalDpi xmlns:a14="http://schemas.microsoft.com/office/drawing/2010/main" val="0"/>
              </a:ext>
            </a:extLst>
          </a:blip>
          <a:srcRect/>
          <a:stretch/>
        </p:blipFill>
        <p:spPr>
          <a:xfrm>
            <a:off x="1568020" y="672994"/>
            <a:ext cx="1491262" cy="720000"/>
          </a:xfrm>
          <a:prstGeom prst="rect">
            <a:avLst/>
          </a:prstGeom>
        </p:spPr>
      </p:pic>
      <p:pic>
        <p:nvPicPr>
          <p:cNvPr id="5" name="Picture 5">
            <a:extLst>
              <a:ext uri="{FF2B5EF4-FFF2-40B4-BE49-F238E27FC236}">
                <a16:creationId xmlns:a16="http://schemas.microsoft.com/office/drawing/2014/main" id="{1D3284BA-168D-DFCA-426E-DE6EC4A59A0D}"/>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1578943" y="2087309"/>
            <a:ext cx="1491262" cy="720000"/>
          </a:xfrm>
          <a:prstGeom prst="rect">
            <a:avLst/>
          </a:prstGeom>
        </p:spPr>
      </p:pic>
      <p:sp>
        <p:nvSpPr>
          <p:cNvPr id="70" name="Rectangle 2">
            <a:extLst>
              <a:ext uri="{FF2B5EF4-FFF2-40B4-BE49-F238E27FC236}">
                <a16:creationId xmlns:a16="http://schemas.microsoft.com/office/drawing/2014/main" id="{806B8040-186A-DF35-242B-F6AD41CEFC9B}"/>
              </a:ext>
            </a:extLst>
          </p:cNvPr>
          <p:cNvSpPr/>
          <p:nvPr/>
        </p:nvSpPr>
        <p:spPr>
          <a:xfrm>
            <a:off x="275673" y="544803"/>
            <a:ext cx="1098899" cy="745310"/>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QUANTUM 180 VIII</a:t>
            </a:r>
          </a:p>
          <a:p>
            <a:r>
              <a:rPr lang="en-US" sz="800" b="1" dirty="0">
                <a:solidFill>
                  <a:schemeClr val="tx1"/>
                </a:solidFill>
                <a:latin typeface="Aptos Narrow"/>
                <a:ea typeface="+mn-lt"/>
                <a:cs typeface="+mn-lt"/>
              </a:rPr>
              <a:t>1203A594</a:t>
            </a:r>
          </a:p>
          <a:p>
            <a:r>
              <a:rPr lang="en-US" sz="800" dirty="0">
                <a:solidFill>
                  <a:schemeClr val="tx1"/>
                </a:solidFill>
                <a:latin typeface="Aptos Narrow"/>
                <a:ea typeface="+mn-lt"/>
                <a:cs typeface="+mn-lt"/>
              </a:rPr>
              <a:t>CUD</a:t>
            </a:r>
          </a:p>
          <a:p>
            <a:r>
              <a:rPr lang="en-US" sz="800" dirty="0">
                <a:solidFill>
                  <a:schemeClr val="tx1"/>
                </a:solidFill>
                <a:latin typeface="Aptos Narrow"/>
                <a:ea typeface="+mn-lt"/>
                <a:cs typeface="+mn-lt"/>
              </a:rPr>
              <a:t>UNI</a:t>
            </a:r>
          </a:p>
          <a:p>
            <a:r>
              <a:rPr lang="en-US" sz="800" dirty="0">
                <a:solidFill>
                  <a:schemeClr val="tx1"/>
                </a:solidFill>
                <a:latin typeface="Aptos Narrow"/>
                <a:ea typeface="+mn-lt"/>
                <a:cs typeface="+mn-lt"/>
              </a:rPr>
              <a:t>BASE</a:t>
            </a:r>
          </a:p>
          <a:p>
            <a:r>
              <a:rPr lang="en-US" sz="800" dirty="0">
                <a:solidFill>
                  <a:schemeClr val="tx1"/>
                </a:solidFill>
                <a:latin typeface="Aptos Narrow"/>
                <a:ea typeface="+mn-lt"/>
                <a:cs typeface="+mn-lt"/>
              </a:rPr>
              <a:t>€150</a:t>
            </a:r>
          </a:p>
          <a:p>
            <a:endParaRPr lang="en-US" sz="800" dirty="0">
              <a:solidFill>
                <a:schemeClr val="tx1"/>
              </a:solidFill>
              <a:latin typeface="Aptos Narrow"/>
            </a:endParaRPr>
          </a:p>
        </p:txBody>
      </p:sp>
      <p:sp>
        <p:nvSpPr>
          <p:cNvPr id="13" name="正方形/長方形 12">
            <a:extLst>
              <a:ext uri="{FF2B5EF4-FFF2-40B4-BE49-F238E27FC236}">
                <a16:creationId xmlns:a16="http://schemas.microsoft.com/office/drawing/2014/main" id="{9C83B014-365B-CE5F-61B1-D0323B12113D}"/>
              </a:ext>
            </a:extLst>
          </p:cNvPr>
          <p:cNvSpPr/>
          <p:nvPr/>
        </p:nvSpPr>
        <p:spPr>
          <a:xfrm rot="16200000">
            <a:off x="-2934572" y="3563069"/>
            <a:ext cx="6230750" cy="185783"/>
          </a:xfrm>
          <a:prstGeom prst="rect">
            <a:avLst/>
          </a:prstGeom>
          <a:solidFill>
            <a:srgbClr val="D8CC9D"/>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solidFill>
                  <a:schemeClr val="tx1"/>
                </a:solidFill>
                <a:latin typeface="Aptos" panose="020B0004020202020204" pitchFamily="34" charset="0"/>
              </a:rPr>
              <a:t>GOLD</a:t>
            </a:r>
            <a:endParaRPr kumimoji="1" lang="ja-JP" altLang="en-US" sz="800">
              <a:solidFill>
                <a:schemeClr val="tx1"/>
              </a:solidFill>
              <a:latin typeface="Aptos" panose="020B0004020202020204" pitchFamily="34" charset="0"/>
            </a:endParaRPr>
          </a:p>
        </p:txBody>
      </p:sp>
      <p:sp>
        <p:nvSpPr>
          <p:cNvPr id="6" name="タイトル 5">
            <a:extLst>
              <a:ext uri="{FF2B5EF4-FFF2-40B4-BE49-F238E27FC236}">
                <a16:creationId xmlns:a16="http://schemas.microsoft.com/office/drawing/2014/main" id="{9F895BC8-18E2-ED14-7D77-542A0A8F5F16}"/>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r>
              <a:rPr lang="en-US" altLang="ja-JP">
                <a:latin typeface="Aptos"/>
                <a:cs typeface="Calibri"/>
              </a:rPr>
              <a:t>GEL-quantum 180 viii</a:t>
            </a:r>
            <a:endParaRPr lang="ja-JP" altLang="en-US"/>
          </a:p>
        </p:txBody>
      </p:sp>
      <p:sp>
        <p:nvSpPr>
          <p:cNvPr id="9" name="テキスト ボックス 8">
            <a:extLst>
              <a:ext uri="{FF2B5EF4-FFF2-40B4-BE49-F238E27FC236}">
                <a16:creationId xmlns:a16="http://schemas.microsoft.com/office/drawing/2014/main" id="{1F10601F-5B1C-2A3A-4F1A-07F752E7FF08}"/>
              </a:ext>
            </a:extLst>
          </p:cNvPr>
          <p:cNvSpPr txBox="1"/>
          <p:nvPr/>
        </p:nvSpPr>
        <p:spPr>
          <a:xfrm>
            <a:off x="1536506" y="592423"/>
            <a:ext cx="357790" cy="230832"/>
          </a:xfrm>
          <a:prstGeom prst="rect">
            <a:avLst/>
          </a:prstGeom>
          <a:noFill/>
        </p:spPr>
        <p:txBody>
          <a:bodyPr wrap="none" rtlCol="0">
            <a:spAutoFit/>
          </a:bodyPr>
          <a:lstStyle>
            <a:defPPr>
              <a:defRPr lang="en-US"/>
            </a:defPPr>
            <a:lvl1pPr>
              <a:defRPr kumimoji="1" sz="900">
                <a:latin typeface="Calibri" panose="020F0502020204030204" pitchFamily="34" charset="0"/>
                <a:ea typeface="Calibri" panose="020F0502020204030204" pitchFamily="34" charset="0"/>
                <a:cs typeface="Calibri" panose="020F0502020204030204" pitchFamily="34" charset="0"/>
              </a:defRPr>
            </a:lvl1pPr>
          </a:lstStyle>
          <a:p>
            <a:r>
              <a:rPr lang="en-GB" altLang="ja-JP">
                <a:latin typeface="Aptos Narrow" panose="020B0004020202020204" pitchFamily="34" charset="0"/>
              </a:rPr>
              <a:t>0</a:t>
            </a:r>
            <a:r>
              <a:rPr lang="en-US" altLang="ja-JP">
                <a:latin typeface="Aptos Narrow" panose="020B0004020202020204" pitchFamily="34" charset="0"/>
              </a:rPr>
              <a:t>07</a:t>
            </a:r>
            <a:endParaRPr lang="ja-JP" altLang="en-US">
              <a:latin typeface="Aptos Narrow" panose="020B0004020202020204" pitchFamily="34" charset="0"/>
            </a:endParaRPr>
          </a:p>
        </p:txBody>
      </p:sp>
      <p:sp>
        <p:nvSpPr>
          <p:cNvPr id="11" name="テキスト ボックス 10">
            <a:extLst>
              <a:ext uri="{FF2B5EF4-FFF2-40B4-BE49-F238E27FC236}">
                <a16:creationId xmlns:a16="http://schemas.microsoft.com/office/drawing/2014/main" id="{1A70E9E7-EEB1-11D7-1668-1CB766E9F791}"/>
              </a:ext>
            </a:extLst>
          </p:cNvPr>
          <p:cNvSpPr txBox="1"/>
          <p:nvPr/>
        </p:nvSpPr>
        <p:spPr>
          <a:xfrm>
            <a:off x="1536506" y="2080015"/>
            <a:ext cx="357790" cy="230832"/>
          </a:xfrm>
          <a:prstGeom prst="rect">
            <a:avLst/>
          </a:prstGeom>
          <a:noFill/>
        </p:spPr>
        <p:txBody>
          <a:bodyPr wrap="none" rtlCol="0">
            <a:spAutoFit/>
          </a:bodyPr>
          <a:lstStyle/>
          <a:p>
            <a:r>
              <a:rPr kumimoji="1" lang="en-GB" altLang="ja-JP" sz="900">
                <a:latin typeface="Aptos Narrow" panose="020B0004020202020204" pitchFamily="34" charset="0"/>
                <a:ea typeface="Calibri" panose="020F0502020204030204" pitchFamily="34" charset="0"/>
                <a:cs typeface="Calibri" panose="020F0502020204030204" pitchFamily="34" charset="0"/>
              </a:rPr>
              <a:t>0</a:t>
            </a:r>
            <a:r>
              <a:rPr kumimoji="1" lang="en-US" altLang="ja-JP" sz="900">
                <a:latin typeface="Aptos Narrow" panose="020B0004020202020204" pitchFamily="34" charset="0"/>
                <a:ea typeface="Calibri" panose="020F0502020204030204" pitchFamily="34" charset="0"/>
                <a:cs typeface="Calibri" panose="020F0502020204030204" pitchFamily="34" charset="0"/>
              </a:rPr>
              <a:t>22</a:t>
            </a:r>
            <a:endParaRPr kumimoji="1" lang="ja-JP" altLang="en-US" sz="900">
              <a:latin typeface="Aptos Narrow" panose="020B0004020202020204" pitchFamily="34" charset="0"/>
              <a:cs typeface="Calibri" panose="020F0502020204030204" pitchFamily="34" charset="0"/>
            </a:endParaRPr>
          </a:p>
        </p:txBody>
      </p:sp>
    </p:spTree>
    <p:extLst>
      <p:ext uri="{BB962C8B-B14F-4D97-AF65-F5344CB8AC3E}">
        <p14:creationId xmlns:p14="http://schemas.microsoft.com/office/powerpoint/2010/main" val="42487409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E539CE3-DF95-231D-0715-570D38FA2C7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1519534" y="3790915"/>
            <a:ext cx="1498537" cy="720000"/>
          </a:xfrm>
          <a:prstGeom prst="rect">
            <a:avLst/>
          </a:prstGeom>
        </p:spPr>
      </p:pic>
      <p:sp>
        <p:nvSpPr>
          <p:cNvPr id="13" name="正方形/長方形 12">
            <a:extLst>
              <a:ext uri="{FF2B5EF4-FFF2-40B4-BE49-F238E27FC236}">
                <a16:creationId xmlns:a16="http://schemas.microsoft.com/office/drawing/2014/main" id="{9C83B014-365B-CE5F-61B1-D0323B12113D}"/>
              </a:ext>
            </a:extLst>
          </p:cNvPr>
          <p:cNvSpPr/>
          <p:nvPr/>
        </p:nvSpPr>
        <p:spPr>
          <a:xfrm rot="16200000">
            <a:off x="-2934572" y="3563069"/>
            <a:ext cx="6230750" cy="185783"/>
          </a:xfrm>
          <a:prstGeom prst="rect">
            <a:avLst/>
          </a:prstGeom>
          <a:solidFill>
            <a:srgbClr val="BFC1C4"/>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srgbClr val="202322"/>
                </a:solidFill>
                <a:effectLst/>
                <a:uLnTx/>
                <a:uFillTx/>
                <a:latin typeface="Aptos" panose="020B0004020202020204" pitchFamily="34" charset="0"/>
                <a:ea typeface="+mn-ea"/>
                <a:cs typeface="+mn-cs"/>
              </a:rPr>
              <a:t>SILVER</a:t>
            </a:r>
            <a:endParaRPr kumimoji="1" lang="ja-JP" altLang="en-US" sz="800" b="0" i="0" u="none" strike="noStrike" kern="1200" cap="none" spc="0" normalizeH="0" baseline="0" noProof="0">
              <a:ln>
                <a:noFill/>
              </a:ln>
              <a:solidFill>
                <a:srgbClr val="202322"/>
              </a:solidFill>
              <a:effectLst/>
              <a:uLnTx/>
              <a:uFillTx/>
              <a:latin typeface="Aptos" panose="020B0004020202020204" pitchFamily="34" charset="0"/>
              <a:ea typeface="+mn-ea"/>
              <a:cs typeface="+mn-cs"/>
            </a:endParaRPr>
          </a:p>
        </p:txBody>
      </p:sp>
      <p:sp>
        <p:nvSpPr>
          <p:cNvPr id="70" name="Rectangle 2">
            <a:extLst>
              <a:ext uri="{FF2B5EF4-FFF2-40B4-BE49-F238E27FC236}">
                <a16:creationId xmlns:a16="http://schemas.microsoft.com/office/drawing/2014/main" id="{806B8040-186A-DF35-242B-F6AD41CEFC9B}"/>
              </a:ext>
            </a:extLst>
          </p:cNvPr>
          <p:cNvSpPr/>
          <p:nvPr/>
        </p:nvSpPr>
        <p:spPr>
          <a:xfrm>
            <a:off x="421977" y="3740986"/>
            <a:ext cx="1097557" cy="10862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02322"/>
                </a:solidFill>
                <a:effectLst/>
                <a:uLnTx/>
                <a:uFillTx/>
                <a:latin typeface="Aptos Narrow"/>
                <a:ea typeface="+mn-lt"/>
                <a:cs typeface="+mn-lt"/>
              </a:rPr>
              <a:t>GEL-QUANTUM KEI</a:t>
            </a:r>
            <a:endParaRPr kumimoji="0" lang="en-US" sz="1800" b="0" i="0" u="none" strike="noStrike" kern="1200" cap="none" spc="0" normalizeH="0" baseline="0" noProof="0">
              <a:ln>
                <a:noFill/>
              </a:ln>
              <a:solidFill>
                <a:srgbClr val="202322"/>
              </a:solidFill>
              <a:effectLst/>
              <a:uLnTx/>
              <a:uFillTx/>
              <a:latin typeface="Aptos Narrow"/>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202322"/>
                </a:solidFill>
                <a:effectLst/>
                <a:uLnTx/>
                <a:uFillTx/>
                <a:latin typeface="Aptos Narrow"/>
                <a:ea typeface="+mn-lt"/>
                <a:cs typeface="+mn-lt"/>
              </a:rPr>
              <a:t>1203A601</a:t>
            </a:r>
            <a:endParaRPr kumimoji="0" lang="en-US" sz="1800" b="1" i="0" u="none" strike="noStrike" kern="1200" cap="none" spc="0" normalizeH="0" baseline="0" noProof="0">
              <a:ln>
                <a:noFill/>
              </a:ln>
              <a:solidFill>
                <a:srgbClr val="202322"/>
              </a:solidFill>
              <a:effectLst/>
              <a:uLnTx/>
              <a:uFillTx/>
              <a:latin typeface="Aptos Narrow"/>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02322"/>
                </a:solidFill>
                <a:effectLst/>
                <a:uLnTx/>
                <a:uFillTx/>
                <a:latin typeface="Aptos Narrow"/>
                <a:ea typeface="+mn-lt"/>
                <a:cs typeface="+mn-lt"/>
              </a:rPr>
              <a:t>CARRY OVER</a:t>
            </a:r>
            <a:endParaRPr kumimoji="0" lang="en-US" sz="1800" b="0" i="0" u="none" strike="noStrike" kern="1200" cap="none" spc="0" normalizeH="0" baseline="0" noProof="0">
              <a:ln>
                <a:noFill/>
              </a:ln>
              <a:solidFill>
                <a:srgbClr val="202322"/>
              </a:solidFill>
              <a:effectLst/>
              <a:uLnTx/>
              <a:uFillTx/>
              <a:latin typeface="Aptos Narrow"/>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02322"/>
                </a:solidFill>
                <a:effectLst/>
                <a:uLnTx/>
                <a:uFillTx/>
                <a:latin typeface="Aptos Narrow"/>
                <a:ea typeface="+mn-lt"/>
                <a:cs typeface="+mn-lt"/>
              </a:rPr>
              <a:t>UN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02322"/>
                </a:solidFill>
                <a:effectLst/>
                <a:uLnTx/>
                <a:uFillTx/>
                <a:latin typeface="Aptos Narrow"/>
                <a:ea typeface="+mn-lt"/>
                <a:cs typeface="+mn-lt"/>
              </a:rPr>
              <a:t>€100</a:t>
            </a:r>
          </a:p>
        </p:txBody>
      </p:sp>
      <p:sp>
        <p:nvSpPr>
          <p:cNvPr id="9" name="タイトル 5">
            <a:extLst>
              <a:ext uri="{FF2B5EF4-FFF2-40B4-BE49-F238E27FC236}">
                <a16:creationId xmlns:a16="http://schemas.microsoft.com/office/drawing/2014/main" id="{6A2ABF00-05D9-5618-2445-7325B9BCC026}"/>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1" lang="en-US" altLang="ja-JP" sz="1400" b="0" i="0" u="none" strike="noStrike" kern="1200" cap="all" spc="0" normalizeH="0" baseline="0" noProof="0">
                <a:ln>
                  <a:noFill/>
                </a:ln>
                <a:solidFill>
                  <a:srgbClr val="202322"/>
                </a:solidFill>
                <a:effectLst/>
                <a:uLnTx/>
                <a:uFillTx/>
                <a:latin typeface="Aptos"/>
                <a:ea typeface="+mj-ea"/>
                <a:cs typeface="Calibri"/>
              </a:rPr>
              <a:t>GEL-quantum </a:t>
            </a:r>
            <a:r>
              <a:rPr kumimoji="1" lang="en-US" altLang="ja-JP" sz="1400" b="0" i="0" u="none" strike="noStrike" kern="1200" cap="all" spc="0" normalizeH="0" baseline="0" noProof="0" err="1">
                <a:ln>
                  <a:noFill/>
                </a:ln>
                <a:solidFill>
                  <a:srgbClr val="202322"/>
                </a:solidFill>
                <a:effectLst/>
                <a:uLnTx/>
                <a:uFillTx/>
                <a:latin typeface="Aptos"/>
                <a:ea typeface="+mj-ea"/>
                <a:cs typeface="Calibri"/>
              </a:rPr>
              <a:t>kei</a:t>
            </a:r>
            <a:r>
              <a:rPr kumimoji="1" lang="en-US" altLang="ja-JP" sz="1400" b="0" i="0" u="none" strike="noStrike" kern="1200" cap="all" spc="0" normalizeH="0" baseline="0" noProof="0">
                <a:ln>
                  <a:noFill/>
                </a:ln>
                <a:solidFill>
                  <a:srgbClr val="202322"/>
                </a:solidFill>
                <a:effectLst/>
                <a:uLnTx/>
                <a:uFillTx/>
                <a:latin typeface="Aptos"/>
                <a:ea typeface="+mj-ea"/>
                <a:cs typeface="Calibri"/>
              </a:rPr>
              <a:t> (page 2 of 2)</a:t>
            </a:r>
            <a:endParaRPr kumimoji="1" lang="ja-JP" altLang="en-US" sz="1400" b="0" i="0" u="none" strike="noStrike" kern="1200" cap="all" spc="0" normalizeH="0" baseline="0" noProof="0">
              <a:ln>
                <a:noFill/>
              </a:ln>
              <a:solidFill>
                <a:srgbClr val="202322"/>
              </a:solidFill>
              <a:effectLst/>
              <a:uLnTx/>
              <a:uFillTx/>
              <a:latin typeface="Aptos" panose="020B0004020202020204" pitchFamily="34" charset="0"/>
              <a:ea typeface="+mj-ea"/>
              <a:cs typeface="Calibri" panose="020F0502020204030204" pitchFamily="34" charset="0"/>
            </a:endParaRPr>
          </a:p>
        </p:txBody>
      </p:sp>
      <p:sp>
        <p:nvSpPr>
          <p:cNvPr id="11" name="TextBox 10">
            <a:extLst>
              <a:ext uri="{FF2B5EF4-FFF2-40B4-BE49-F238E27FC236}">
                <a16:creationId xmlns:a16="http://schemas.microsoft.com/office/drawing/2014/main" id="{09A96D01-8670-B028-8329-7AF20A48FCF9}"/>
              </a:ext>
            </a:extLst>
          </p:cNvPr>
          <p:cNvSpPr txBox="1"/>
          <p:nvPr/>
        </p:nvSpPr>
        <p:spPr>
          <a:xfrm>
            <a:off x="1651368" y="3685984"/>
            <a:ext cx="646544"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02322"/>
                </a:solidFill>
                <a:effectLst/>
                <a:uLnTx/>
                <a:uFillTx/>
                <a:latin typeface="Aptos Narrow" panose="020B0004020202020204" pitchFamily="34" charset="0"/>
              </a:rPr>
              <a:t>0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02322"/>
                </a:solidFill>
                <a:effectLst/>
                <a:uLnTx/>
                <a:uFillTx/>
                <a:latin typeface="Aptos Narrow" panose="020B0004020202020204" pitchFamily="34" charset="0"/>
              </a:rPr>
              <a:t>C/O</a:t>
            </a:r>
          </a:p>
        </p:txBody>
      </p:sp>
      <p:pic>
        <p:nvPicPr>
          <p:cNvPr id="18" name="Picture 17">
            <a:extLst>
              <a:ext uri="{FF2B5EF4-FFF2-40B4-BE49-F238E27FC236}">
                <a16:creationId xmlns:a16="http://schemas.microsoft.com/office/drawing/2014/main" id="{8260AD7A-9647-DDE0-4CBA-BA4A8CEB1934}"/>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1546199" y="4666511"/>
            <a:ext cx="1503425" cy="720000"/>
          </a:xfrm>
          <a:prstGeom prst="rect">
            <a:avLst/>
          </a:prstGeom>
        </p:spPr>
      </p:pic>
      <p:sp>
        <p:nvSpPr>
          <p:cNvPr id="19" name="TextBox 18">
            <a:extLst>
              <a:ext uri="{FF2B5EF4-FFF2-40B4-BE49-F238E27FC236}">
                <a16:creationId xmlns:a16="http://schemas.microsoft.com/office/drawing/2014/main" id="{E6657F9F-2C0E-8F55-15E0-1E0485CE19AE}"/>
              </a:ext>
            </a:extLst>
          </p:cNvPr>
          <p:cNvSpPr txBox="1"/>
          <p:nvPr/>
        </p:nvSpPr>
        <p:spPr>
          <a:xfrm>
            <a:off x="1643958" y="4541777"/>
            <a:ext cx="646544"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02322"/>
                </a:solidFill>
                <a:effectLst/>
                <a:uLnTx/>
                <a:uFillTx/>
                <a:latin typeface="Aptos Narrow" panose="020B0004020202020204" pitchFamily="34" charset="0"/>
              </a:rPr>
              <a:t>00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02322"/>
                </a:solidFill>
                <a:effectLst/>
                <a:uLnTx/>
                <a:uFillTx/>
                <a:latin typeface="Aptos Narrow" panose="020B0004020202020204" pitchFamily="34" charset="0"/>
              </a:rPr>
              <a:t>C/O</a:t>
            </a:r>
          </a:p>
        </p:txBody>
      </p:sp>
      <p:pic>
        <p:nvPicPr>
          <p:cNvPr id="21" name="Picture 20">
            <a:extLst>
              <a:ext uri="{FF2B5EF4-FFF2-40B4-BE49-F238E27FC236}">
                <a16:creationId xmlns:a16="http://schemas.microsoft.com/office/drawing/2014/main" id="{864297FB-911C-19E7-1BD3-4073BA9DF76E}"/>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560501" y="5511245"/>
            <a:ext cx="1515789" cy="720000"/>
          </a:xfrm>
          <a:prstGeom prst="rect">
            <a:avLst/>
          </a:prstGeom>
        </p:spPr>
      </p:pic>
      <p:sp>
        <p:nvSpPr>
          <p:cNvPr id="22" name="TextBox 21">
            <a:extLst>
              <a:ext uri="{FF2B5EF4-FFF2-40B4-BE49-F238E27FC236}">
                <a16:creationId xmlns:a16="http://schemas.microsoft.com/office/drawing/2014/main" id="{A00529B8-7A83-CA35-2A81-918DA4C6A647}"/>
              </a:ext>
            </a:extLst>
          </p:cNvPr>
          <p:cNvSpPr txBox="1"/>
          <p:nvPr/>
        </p:nvSpPr>
        <p:spPr>
          <a:xfrm>
            <a:off x="1636746" y="5386511"/>
            <a:ext cx="646544"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02322"/>
                </a:solidFill>
                <a:effectLst/>
                <a:uLnTx/>
                <a:uFillTx/>
                <a:latin typeface="Aptos Narrow" panose="020B0004020202020204" pitchFamily="34" charset="0"/>
              </a:rPr>
              <a:t>1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02322"/>
                </a:solidFill>
                <a:effectLst/>
                <a:uLnTx/>
                <a:uFillTx/>
                <a:latin typeface="Aptos Narrow" panose="020B0004020202020204" pitchFamily="34" charset="0"/>
              </a:rPr>
              <a:t>C/O</a:t>
            </a:r>
          </a:p>
        </p:txBody>
      </p:sp>
      <p:sp>
        <p:nvSpPr>
          <p:cNvPr id="3" name="Rectangle 2">
            <a:extLst>
              <a:ext uri="{FF2B5EF4-FFF2-40B4-BE49-F238E27FC236}">
                <a16:creationId xmlns:a16="http://schemas.microsoft.com/office/drawing/2014/main" id="{806B8040-186A-DF35-242B-F6AD41CEFC9B}"/>
              </a:ext>
            </a:extLst>
          </p:cNvPr>
          <p:cNvSpPr/>
          <p:nvPr/>
        </p:nvSpPr>
        <p:spPr>
          <a:xfrm>
            <a:off x="356589" y="741601"/>
            <a:ext cx="1097557" cy="7757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r>
              <a:rPr lang="en-US" sz="800" dirty="0">
                <a:solidFill>
                  <a:schemeClr val="tx1"/>
                </a:solidFill>
                <a:latin typeface="Aptos Narrow"/>
                <a:ea typeface="+mn-lt"/>
                <a:cs typeface="+mn-lt"/>
              </a:rPr>
              <a:t>GEL-QUANTUM KEI</a:t>
            </a:r>
          </a:p>
          <a:p>
            <a:r>
              <a:rPr lang="en-US" sz="800" b="1" dirty="0">
                <a:solidFill>
                  <a:schemeClr val="tx1"/>
                </a:solidFill>
                <a:latin typeface="Aptos Narrow"/>
                <a:ea typeface="+mn-lt"/>
                <a:cs typeface="+mn-lt"/>
              </a:rPr>
              <a:t>1203A601</a:t>
            </a:r>
          </a:p>
          <a:p>
            <a:r>
              <a:rPr lang="en-US" sz="800" dirty="0">
                <a:solidFill>
                  <a:schemeClr val="tx1"/>
                </a:solidFill>
                <a:latin typeface="Aptos Narrow"/>
                <a:ea typeface="+mn-lt"/>
                <a:cs typeface="+mn-lt"/>
              </a:rPr>
              <a:t>CUD</a:t>
            </a:r>
          </a:p>
          <a:p>
            <a:r>
              <a:rPr lang="en-US" sz="800" dirty="0">
                <a:solidFill>
                  <a:schemeClr val="tx1"/>
                </a:solidFill>
                <a:latin typeface="Aptos Narrow"/>
                <a:ea typeface="+mn-lt"/>
                <a:cs typeface="+mn-lt"/>
              </a:rPr>
              <a:t>UNI</a:t>
            </a:r>
          </a:p>
          <a:p>
            <a:r>
              <a:rPr lang="en-US" sz="800" dirty="0">
                <a:solidFill>
                  <a:schemeClr val="tx1"/>
                </a:solidFill>
                <a:latin typeface="Aptos Narrow"/>
                <a:ea typeface="+mn-lt"/>
                <a:cs typeface="+mn-lt"/>
              </a:rPr>
              <a:t>BASE</a:t>
            </a:r>
          </a:p>
          <a:p>
            <a:r>
              <a:rPr lang="en-US" sz="800" dirty="0">
                <a:solidFill>
                  <a:schemeClr val="tx1"/>
                </a:solidFill>
                <a:latin typeface="Aptos Narrow"/>
                <a:ea typeface="+mn-lt"/>
                <a:cs typeface="+mn-lt"/>
              </a:rPr>
              <a:t>€100</a:t>
            </a:r>
          </a:p>
          <a:p>
            <a:endParaRPr lang="en-US" sz="800" dirty="0">
              <a:solidFill>
                <a:schemeClr val="tx1"/>
              </a:solidFill>
              <a:latin typeface="Aptos Narrow"/>
            </a:endParaRPr>
          </a:p>
        </p:txBody>
      </p:sp>
      <p:pic>
        <p:nvPicPr>
          <p:cNvPr id="4" name="Picture 5">
            <a:extLst>
              <a:ext uri="{FF2B5EF4-FFF2-40B4-BE49-F238E27FC236}">
                <a16:creationId xmlns:a16="http://schemas.microsoft.com/office/drawing/2014/main" id="{BE71E308-DBA4-6BA9-4020-61344C261567}"/>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1519534" y="857079"/>
            <a:ext cx="1556756" cy="720000"/>
          </a:xfrm>
          <a:prstGeom prst="rect">
            <a:avLst/>
          </a:prstGeom>
        </p:spPr>
      </p:pic>
      <p:sp>
        <p:nvSpPr>
          <p:cNvPr id="17" name="テキスト ボックス 16">
            <a:extLst>
              <a:ext uri="{FF2B5EF4-FFF2-40B4-BE49-F238E27FC236}">
                <a16:creationId xmlns:a16="http://schemas.microsoft.com/office/drawing/2014/main" id="{DB10C92F-EF5F-7B44-15C6-9439F3675995}"/>
              </a:ext>
            </a:extLst>
          </p:cNvPr>
          <p:cNvSpPr txBox="1"/>
          <p:nvPr/>
        </p:nvSpPr>
        <p:spPr>
          <a:xfrm>
            <a:off x="1685125" y="692854"/>
            <a:ext cx="406144" cy="230832"/>
          </a:xfrm>
          <a:prstGeom prst="rect">
            <a:avLst/>
          </a:prstGeom>
          <a:noFill/>
        </p:spPr>
        <p:txBody>
          <a:bodyPr wrap="square" rtlCol="0">
            <a:spAutoFit/>
          </a:bodyPr>
          <a:lstStyle/>
          <a:p>
            <a:r>
              <a:rPr kumimoji="1" lang="en-GB" altLang="ja-JP" sz="900" dirty="0">
                <a:latin typeface="Aptos Narrow" panose="020B0004020202020204" pitchFamily="34" charset="0"/>
                <a:ea typeface="Calibri" panose="020F0502020204030204" pitchFamily="34" charset="0"/>
                <a:cs typeface="Calibri" panose="020F0502020204030204" pitchFamily="34" charset="0"/>
              </a:rPr>
              <a:t>105</a:t>
            </a:r>
            <a:endParaRPr kumimoji="1" lang="ja-JP" altLang="en-US" sz="900" dirty="0">
              <a:latin typeface="Aptos Narrow" panose="020B0004020202020204" pitchFamily="34" charset="0"/>
              <a:cs typeface="Calibri" panose="020F0502020204030204" pitchFamily="34" charset="0"/>
            </a:endParaRPr>
          </a:p>
        </p:txBody>
      </p:sp>
    </p:spTree>
    <p:extLst>
      <p:ext uri="{BB962C8B-B14F-4D97-AF65-F5344CB8AC3E}">
        <p14:creationId xmlns:p14="http://schemas.microsoft.com/office/powerpoint/2010/main" val="42897458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5">
            <a:extLst>
              <a:ext uri="{FF2B5EF4-FFF2-40B4-BE49-F238E27FC236}">
                <a16:creationId xmlns:a16="http://schemas.microsoft.com/office/drawing/2014/main" id="{837D7DAD-9CC6-4C15-56F4-C2B97BA65876}"/>
              </a:ext>
            </a:extLst>
          </p:cNvPr>
          <p:cNvSpPr/>
          <p:nvPr/>
        </p:nvSpPr>
        <p:spPr>
          <a:xfrm>
            <a:off x="176588" y="541730"/>
            <a:ext cx="11944726" cy="1710835"/>
          </a:xfrm>
          <a:prstGeom prst="rect">
            <a:avLst/>
          </a:prstGeom>
          <a:no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srgbClr val="202322"/>
              </a:solidFill>
              <a:effectLst/>
              <a:uLnTx/>
              <a:uFillTx/>
              <a:latin typeface="Aptos" panose="020B0004020202020204" pitchFamily="34" charset="0"/>
              <a:ea typeface="+mn-ea"/>
              <a:cs typeface="+mn-cs"/>
            </a:endParaRPr>
          </a:p>
        </p:txBody>
      </p:sp>
      <p:pic>
        <p:nvPicPr>
          <p:cNvPr id="2" name="Picture 1" descr="A white shoe with a black background&#10;&#10;Description automatically generated">
            <a:extLst>
              <a:ext uri="{FF2B5EF4-FFF2-40B4-BE49-F238E27FC236}">
                <a16:creationId xmlns:a16="http://schemas.microsoft.com/office/drawing/2014/main" id="{D352C221-A148-4062-B82C-A6A9EAE10D2C}"/>
              </a:ext>
            </a:extLst>
          </p:cNvPr>
          <p:cNvPicPr>
            <a:picLocks noChangeAspect="1"/>
          </p:cNvPicPr>
          <p:nvPr/>
        </p:nvPicPr>
        <p:blipFill>
          <a:blip r:embed="rId2"/>
          <a:stretch>
            <a:fillRect/>
          </a:stretch>
        </p:blipFill>
        <p:spPr>
          <a:xfrm>
            <a:off x="1538824" y="635279"/>
            <a:ext cx="1525349" cy="720790"/>
          </a:xfrm>
          <a:prstGeom prst="rect">
            <a:avLst/>
          </a:prstGeom>
        </p:spPr>
      </p:pic>
      <p:sp>
        <p:nvSpPr>
          <p:cNvPr id="13" name="正方形/長方形 12">
            <a:extLst>
              <a:ext uri="{FF2B5EF4-FFF2-40B4-BE49-F238E27FC236}">
                <a16:creationId xmlns:a16="http://schemas.microsoft.com/office/drawing/2014/main" id="{9C83B014-365B-CE5F-61B1-D0323B12113D}"/>
              </a:ext>
            </a:extLst>
          </p:cNvPr>
          <p:cNvSpPr/>
          <p:nvPr/>
        </p:nvSpPr>
        <p:spPr>
          <a:xfrm rot="16200000">
            <a:off x="-2934572" y="3563069"/>
            <a:ext cx="6230750" cy="185783"/>
          </a:xfrm>
          <a:prstGeom prst="rect">
            <a:avLst/>
          </a:prstGeom>
          <a:solidFill>
            <a:srgbClr val="BFC1C4"/>
          </a:solidFill>
          <a:ln w="3175">
            <a:solidFill>
              <a:schemeClr val="bg1">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srgbClr val="202322"/>
                </a:solidFill>
                <a:effectLst/>
                <a:uLnTx/>
                <a:uFillTx/>
                <a:latin typeface="Aptos" panose="020B0004020202020204" pitchFamily="34" charset="0"/>
                <a:ea typeface="+mn-ea"/>
                <a:cs typeface="+mn-cs"/>
              </a:rPr>
              <a:t>SILVER</a:t>
            </a:r>
            <a:endParaRPr kumimoji="1" lang="ja-JP" altLang="en-US" sz="800" b="0" i="0" u="none" strike="noStrike" kern="1200" cap="none" spc="0" normalizeH="0" baseline="0" noProof="0">
              <a:ln>
                <a:noFill/>
              </a:ln>
              <a:solidFill>
                <a:srgbClr val="202322"/>
              </a:solidFill>
              <a:effectLst/>
              <a:uLnTx/>
              <a:uFillTx/>
              <a:latin typeface="Aptos" panose="020B0004020202020204" pitchFamily="34" charset="0"/>
              <a:ea typeface="+mn-ea"/>
              <a:cs typeface="+mn-cs"/>
            </a:endParaRPr>
          </a:p>
        </p:txBody>
      </p:sp>
      <p:sp>
        <p:nvSpPr>
          <p:cNvPr id="70" name="Rectangle 2">
            <a:extLst>
              <a:ext uri="{FF2B5EF4-FFF2-40B4-BE49-F238E27FC236}">
                <a16:creationId xmlns:a16="http://schemas.microsoft.com/office/drawing/2014/main" id="{806B8040-186A-DF35-242B-F6AD41CEFC9B}"/>
              </a:ext>
            </a:extLst>
          </p:cNvPr>
          <p:cNvSpPr/>
          <p:nvPr/>
        </p:nvSpPr>
        <p:spPr>
          <a:xfrm>
            <a:off x="275673" y="540586"/>
            <a:ext cx="1097557" cy="10862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02322"/>
                </a:solidFill>
                <a:effectLst/>
                <a:uLnTx/>
                <a:uFillTx/>
                <a:latin typeface="Aptos Narrow"/>
                <a:ea typeface="+mn-lt"/>
                <a:cs typeface="+mn-lt"/>
              </a:rPr>
              <a:t>GEL-QUANTUM LYTE II</a:t>
            </a:r>
            <a:endParaRPr kumimoji="0" lang="en-US" sz="1800" b="0" i="0" u="none" strike="noStrike" kern="1200" cap="none" spc="0" normalizeH="0" baseline="0" noProof="0">
              <a:ln>
                <a:noFill/>
              </a:ln>
              <a:solidFill>
                <a:srgbClr val="202322"/>
              </a:solidFill>
              <a:effectLst/>
              <a:uLnTx/>
              <a:uFillTx/>
              <a:latin typeface="Aptos Narrow"/>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202322"/>
                </a:solidFill>
                <a:effectLst/>
                <a:uLnTx/>
                <a:uFillTx/>
                <a:latin typeface="Aptos Narrow"/>
                <a:ea typeface="+mn-lt"/>
                <a:cs typeface="+mn-lt"/>
              </a:rPr>
              <a:t>1203A90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02322"/>
                </a:solidFill>
                <a:effectLst/>
                <a:uLnTx/>
                <a:uFillTx/>
                <a:latin typeface="Aptos Narrow"/>
                <a:ea typeface="+mn-lt"/>
                <a:cs typeface="+mn-lt"/>
              </a:rPr>
              <a:t>CARRY OVER</a:t>
            </a:r>
            <a:endParaRPr kumimoji="0" lang="en-US" sz="1800" b="0" i="0" u="none" strike="noStrike" kern="1200" cap="none" spc="0" normalizeH="0" baseline="0" noProof="0">
              <a:ln>
                <a:noFill/>
              </a:ln>
              <a:solidFill>
                <a:srgbClr val="202322"/>
              </a:solidFill>
              <a:effectLst/>
              <a:uLnTx/>
              <a:uFillTx/>
              <a:latin typeface="Aptos Narrow"/>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02322"/>
                </a:solidFill>
                <a:effectLst/>
                <a:uLnTx/>
                <a:uFillTx/>
                <a:latin typeface="Aptos Narrow"/>
                <a:ea typeface="+mn-lt"/>
                <a:cs typeface="+mn-lt"/>
              </a:rPr>
              <a:t>UN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02322"/>
                </a:solidFill>
                <a:effectLst/>
                <a:uLnTx/>
                <a:uFillTx/>
                <a:latin typeface="Aptos Narrow"/>
                <a:ea typeface="+mn-lt"/>
                <a:cs typeface="+mn-lt"/>
              </a:rPr>
              <a:t>€85</a:t>
            </a:r>
          </a:p>
        </p:txBody>
      </p:sp>
      <p:sp>
        <p:nvSpPr>
          <p:cNvPr id="9" name="タイトル 5">
            <a:extLst>
              <a:ext uri="{FF2B5EF4-FFF2-40B4-BE49-F238E27FC236}">
                <a16:creationId xmlns:a16="http://schemas.microsoft.com/office/drawing/2014/main" id="{6A2ABF00-05D9-5618-2445-7325B9BCC026}"/>
              </a:ext>
            </a:extLst>
          </p:cNvPr>
          <p:cNvSpPr txBox="1">
            <a:spLocks/>
          </p:cNvSpPr>
          <p:nvPr/>
        </p:nvSpPr>
        <p:spPr>
          <a:xfrm>
            <a:off x="1373416" y="78568"/>
            <a:ext cx="7106957" cy="255420"/>
          </a:xfrm>
          <a:prstGeom prst="rect">
            <a:avLst/>
          </a:prstGeom>
        </p:spPr>
        <p:txBody>
          <a:bodyPr vert="horz" lIns="54864" tIns="54864" rIns="45720" bIns="45720" rtlCol="0" anchor="t" anchorCtr="0">
            <a:noAutofit/>
          </a:bodyPr>
          <a:lstStyle>
            <a:lvl1pPr algn="l" defTabSz="914400" rtl="0" eaLnBrk="1" latinLnBrk="0" hangingPunct="1">
              <a:lnSpc>
                <a:spcPct val="85000"/>
              </a:lnSpc>
              <a:spcBef>
                <a:spcPct val="0"/>
              </a:spcBef>
              <a:buNone/>
              <a:defRPr kumimoji="1" sz="1400" b="0" i="0" kern="1200" cap="all" spc="0" baseline="0">
                <a:solidFill>
                  <a:schemeClr val="tx1"/>
                </a:solidFill>
                <a:latin typeface="Aptos" panose="020B0004020202020204" pitchFamily="34" charset="0"/>
                <a:ea typeface="+mj-ea"/>
                <a:cs typeface="Calibri" panose="020F0502020204030204"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1" lang="en-US" altLang="ja-JP" sz="1400" b="0" i="0" u="none" strike="noStrike" kern="1200" cap="all" spc="0" normalizeH="0" baseline="0" noProof="0">
                <a:ln>
                  <a:noFill/>
                </a:ln>
                <a:solidFill>
                  <a:srgbClr val="202322"/>
                </a:solidFill>
                <a:effectLst/>
                <a:uLnTx/>
                <a:uFillTx/>
                <a:latin typeface="Aptos"/>
                <a:ea typeface="+mj-ea"/>
                <a:cs typeface="Calibri"/>
              </a:rPr>
              <a:t>GEL-QUANTUM LYTE II</a:t>
            </a:r>
            <a:endParaRPr kumimoji="1" lang="ja-JP" altLang="en-US" sz="1400" b="0" i="0" u="none" strike="noStrike" kern="1200" cap="all" spc="0" normalizeH="0" baseline="0" noProof="0">
              <a:ln>
                <a:noFill/>
              </a:ln>
              <a:solidFill>
                <a:srgbClr val="202322"/>
              </a:solidFill>
              <a:effectLst/>
              <a:uLnTx/>
              <a:uFillTx/>
              <a:latin typeface="Aptos" panose="020B0004020202020204" pitchFamily="34" charset="0"/>
              <a:ea typeface="+mj-ea"/>
              <a:cs typeface="Calibri" panose="020F0502020204030204" pitchFamily="34" charset="0"/>
            </a:endParaRPr>
          </a:p>
        </p:txBody>
      </p:sp>
      <p:sp>
        <p:nvSpPr>
          <p:cNvPr id="11" name="TextBox 10">
            <a:extLst>
              <a:ext uri="{FF2B5EF4-FFF2-40B4-BE49-F238E27FC236}">
                <a16:creationId xmlns:a16="http://schemas.microsoft.com/office/drawing/2014/main" id="{09A96D01-8670-B028-8329-7AF20A48FCF9}"/>
              </a:ext>
            </a:extLst>
          </p:cNvPr>
          <p:cNvSpPr txBox="1"/>
          <p:nvPr/>
        </p:nvSpPr>
        <p:spPr>
          <a:xfrm>
            <a:off x="1529114" y="585035"/>
            <a:ext cx="646544"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02322"/>
                </a:solidFill>
                <a:effectLst/>
                <a:uLnTx/>
                <a:uFillTx/>
                <a:latin typeface="Aptos Narrow" panose="020B0004020202020204" pitchFamily="34" charset="0"/>
              </a:rPr>
              <a:t>1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02322"/>
                </a:solidFill>
                <a:effectLst/>
                <a:uLnTx/>
                <a:uFillTx/>
                <a:latin typeface="Aptos Narrow" panose="020B0004020202020204" pitchFamily="34" charset="0"/>
              </a:rPr>
              <a:t>C/O</a:t>
            </a:r>
          </a:p>
        </p:txBody>
      </p:sp>
      <p:pic>
        <p:nvPicPr>
          <p:cNvPr id="3" name="Picture 2" descr="A white shoe with a black design&#10;&#10;Description automatically generated">
            <a:extLst>
              <a:ext uri="{FF2B5EF4-FFF2-40B4-BE49-F238E27FC236}">
                <a16:creationId xmlns:a16="http://schemas.microsoft.com/office/drawing/2014/main" id="{DB865D97-4508-46DA-B793-BD8CAF36C1C3}"/>
              </a:ext>
            </a:extLst>
          </p:cNvPr>
          <p:cNvPicPr>
            <a:picLocks noChangeAspect="1"/>
          </p:cNvPicPr>
          <p:nvPr/>
        </p:nvPicPr>
        <p:blipFill>
          <a:blip r:embed="rId3"/>
          <a:stretch>
            <a:fillRect/>
          </a:stretch>
        </p:blipFill>
        <p:spPr>
          <a:xfrm>
            <a:off x="1538825" y="1455894"/>
            <a:ext cx="1525349" cy="700842"/>
          </a:xfrm>
          <a:prstGeom prst="rect">
            <a:avLst/>
          </a:prstGeom>
        </p:spPr>
      </p:pic>
      <p:sp>
        <p:nvSpPr>
          <p:cNvPr id="4" name="TextBox 3">
            <a:extLst>
              <a:ext uri="{FF2B5EF4-FFF2-40B4-BE49-F238E27FC236}">
                <a16:creationId xmlns:a16="http://schemas.microsoft.com/office/drawing/2014/main" id="{D329B5A9-4615-D005-ACF7-D6EAE862672A}"/>
              </a:ext>
            </a:extLst>
          </p:cNvPr>
          <p:cNvSpPr txBox="1"/>
          <p:nvPr/>
        </p:nvSpPr>
        <p:spPr>
          <a:xfrm>
            <a:off x="1529114" y="1394169"/>
            <a:ext cx="646544"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02322"/>
                </a:solidFill>
                <a:effectLst/>
                <a:uLnTx/>
                <a:uFillTx/>
                <a:latin typeface="Aptos Narrow" panose="020B0004020202020204" pitchFamily="34" charset="0"/>
              </a:rPr>
              <a:t>0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02322"/>
                </a:solidFill>
                <a:effectLst/>
                <a:uLnTx/>
                <a:uFillTx/>
                <a:latin typeface="Aptos Narrow" panose="020B0004020202020204" pitchFamily="34" charset="0"/>
              </a:rPr>
              <a:t>C/O</a:t>
            </a:r>
          </a:p>
        </p:txBody>
      </p:sp>
      <p:pic>
        <p:nvPicPr>
          <p:cNvPr id="5" name="Picture 4">
            <a:extLst>
              <a:ext uri="{FF2B5EF4-FFF2-40B4-BE49-F238E27FC236}">
                <a16:creationId xmlns:a16="http://schemas.microsoft.com/office/drawing/2014/main" id="{53BF48F4-36E0-45C2-82E3-02EEAA0BE740}"/>
              </a:ext>
            </a:extLst>
          </p:cNvPr>
          <p:cNvPicPr>
            <a:picLocks noChangeAspect="1"/>
          </p:cNvPicPr>
          <p:nvPr/>
        </p:nvPicPr>
        <p:blipFill>
          <a:blip r:embed="rId4" cstate="print">
            <a:extLst>
              <a:ext uri="{28A0092B-C50C-407E-A947-70E740481C1C}">
                <a14:useLocalDpi xmlns:a14="http://schemas.microsoft.com/office/drawing/2010/main" val="0"/>
              </a:ext>
            </a:extLst>
          </a:blip>
          <a:srcRect t="5829" b="5829"/>
          <a:stretch/>
        </p:blipFill>
        <p:spPr>
          <a:xfrm flipH="1">
            <a:off x="1529113" y="2333738"/>
            <a:ext cx="1535060" cy="717257"/>
          </a:xfrm>
          <a:prstGeom prst="rect">
            <a:avLst/>
          </a:prstGeom>
        </p:spPr>
      </p:pic>
      <p:sp>
        <p:nvSpPr>
          <p:cNvPr id="6" name="TextBox 5">
            <a:extLst>
              <a:ext uri="{FF2B5EF4-FFF2-40B4-BE49-F238E27FC236}">
                <a16:creationId xmlns:a16="http://schemas.microsoft.com/office/drawing/2014/main" id="{C2EA5660-BF6F-E804-22A6-13076F7C47B3}"/>
              </a:ext>
            </a:extLst>
          </p:cNvPr>
          <p:cNvSpPr txBox="1"/>
          <p:nvPr/>
        </p:nvSpPr>
        <p:spPr>
          <a:xfrm>
            <a:off x="1529113" y="2280706"/>
            <a:ext cx="646544"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02322"/>
                </a:solidFill>
                <a:effectLst/>
                <a:uLnTx/>
                <a:uFillTx/>
                <a:latin typeface="Aptos Narrow" panose="020B0004020202020204" pitchFamily="34" charset="0"/>
              </a:rPr>
              <a:t>00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02322"/>
                </a:solidFill>
                <a:effectLst/>
                <a:uLnTx/>
                <a:uFillTx/>
                <a:latin typeface="Aptos Narrow" panose="020B0004020202020204" pitchFamily="34" charset="0"/>
              </a:rPr>
              <a:t>C/O</a:t>
            </a:r>
          </a:p>
        </p:txBody>
      </p:sp>
      <p:sp>
        <p:nvSpPr>
          <p:cNvPr id="10" name="Rectangle 2">
            <a:extLst>
              <a:ext uri="{FF2B5EF4-FFF2-40B4-BE49-F238E27FC236}">
                <a16:creationId xmlns:a16="http://schemas.microsoft.com/office/drawing/2014/main" id="{D9173835-AE11-A33F-5650-E69CA939AEBE}"/>
              </a:ext>
            </a:extLst>
          </p:cNvPr>
          <p:cNvSpPr/>
          <p:nvPr/>
        </p:nvSpPr>
        <p:spPr>
          <a:xfrm>
            <a:off x="275673" y="2252565"/>
            <a:ext cx="1097557" cy="10862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02322"/>
                </a:solidFill>
                <a:effectLst/>
                <a:uLnTx/>
                <a:uFillTx/>
                <a:latin typeface="Aptos Narrow"/>
                <a:ea typeface="+mn-lt"/>
                <a:cs typeface="+mn-lt"/>
              </a:rPr>
              <a:t>GEL-QUANTUM LYTE II</a:t>
            </a:r>
            <a:endParaRPr kumimoji="0" lang="en-US" sz="1800" b="0" i="0" u="none" strike="noStrike" kern="1200" cap="none" spc="0" normalizeH="0" baseline="0" noProof="0">
              <a:ln>
                <a:noFill/>
              </a:ln>
              <a:solidFill>
                <a:srgbClr val="202322"/>
              </a:solidFill>
              <a:effectLst/>
              <a:uLnTx/>
              <a:uFillTx/>
              <a:latin typeface="Aptos Narrow"/>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202322"/>
                </a:solidFill>
                <a:effectLst/>
                <a:uLnTx/>
                <a:uFillTx/>
                <a:latin typeface="Aptos Narrow"/>
                <a:ea typeface="+mn-lt"/>
                <a:cs typeface="+mn-lt"/>
              </a:rPr>
              <a:t>1201A6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02322"/>
                </a:solidFill>
                <a:effectLst/>
                <a:uLnTx/>
                <a:uFillTx/>
                <a:latin typeface="Aptos Narrow"/>
                <a:ea typeface="+mn-lt"/>
                <a:cs typeface="+mn-lt"/>
              </a:rPr>
              <a:t>CARRY OVER</a:t>
            </a:r>
            <a:endParaRPr kumimoji="0" lang="en-US" sz="1800" b="0" i="0" u="none" strike="noStrike" kern="1200" cap="none" spc="0" normalizeH="0" baseline="0" noProof="0">
              <a:ln>
                <a:noFill/>
              </a:ln>
              <a:solidFill>
                <a:srgbClr val="202322"/>
              </a:solidFill>
              <a:effectLst/>
              <a:uLnTx/>
              <a:uFillTx/>
              <a:latin typeface="Aptos Narrow"/>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02322"/>
                </a:solidFill>
                <a:effectLst/>
                <a:uLnTx/>
                <a:uFillTx/>
                <a:latin typeface="Aptos Narrow"/>
                <a:ea typeface="+mn-lt"/>
                <a:cs typeface="+mn-lt"/>
              </a:rPr>
              <a:t>M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02322"/>
                </a:solidFill>
                <a:effectLst/>
                <a:uLnTx/>
                <a:uFillTx/>
                <a:latin typeface="Aptos Narrow"/>
                <a:ea typeface="+mn-lt"/>
                <a:cs typeface="+mn-lt"/>
              </a:rPr>
              <a:t>€85</a:t>
            </a:r>
          </a:p>
        </p:txBody>
      </p:sp>
    </p:spTree>
    <p:extLst>
      <p:ext uri="{BB962C8B-B14F-4D97-AF65-F5344CB8AC3E}">
        <p14:creationId xmlns:p14="http://schemas.microsoft.com/office/powerpoint/2010/main" val="14622346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heme1" id="{3C4E72AE-5B4B-4AC1-823A-F86DAF6FB9F0}" vid="{2242F669-70B5-409C-A9AE-0E73BDFB9D65}"/>
    </a:ext>
  </a:extLst>
</a:theme>
</file>

<file path=ppt/theme/theme2.xml><?xml version="1.0" encoding="utf-8"?>
<a:theme xmlns:a="http://schemas.openxmlformats.org/drawingml/2006/main" name="Office テーマ">
  <a:themeElements>
    <a:clrScheme name="ASICS">
      <a:dk1>
        <a:srgbClr val="001E61"/>
      </a:dk1>
      <a:lt1>
        <a:srgbClr val="FFFFFF"/>
      </a:lt1>
      <a:dk2>
        <a:srgbClr val="44546A"/>
      </a:dk2>
      <a:lt2>
        <a:srgbClr val="FFFFFF"/>
      </a:lt2>
      <a:accent1>
        <a:srgbClr val="E5E5FC"/>
      </a:accent1>
      <a:accent2>
        <a:srgbClr val="EBF5EC"/>
      </a:accent2>
      <a:accent3>
        <a:srgbClr val="FEF8E6"/>
      </a:accent3>
      <a:accent4>
        <a:srgbClr val="F7D8CA"/>
      </a:accent4>
      <a:accent5>
        <a:srgbClr val="B6B8DC"/>
      </a:accent5>
      <a:accent6>
        <a:srgbClr val="A0DAB3"/>
      </a:accent6>
      <a:hlink>
        <a:srgbClr val="0563C1"/>
      </a:hlink>
      <a:folHlink>
        <a:srgbClr val="B6B8DC"/>
      </a:folHlink>
    </a:clrScheme>
    <a:fontScheme name="Custom 1">
      <a:majorFont>
        <a:latin typeface="ASICS Font 3.0"/>
        <a:ea typeface=""/>
        <a:cs typeface=""/>
      </a:majorFont>
      <a:minorFont>
        <a:latin typeface="ASICS Font 3.0"/>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PORTSTYLE PPT TEMPLATE" id="{ED260AF3-4F94-4E1F-90F5-1B1FF2AB5DE1}" vid="{B02C3033-99AC-4A77-9B94-2CB58B05DABE}"/>
    </a:ext>
  </a:extLst>
</a:theme>
</file>

<file path=ppt/theme/theme3.xml><?xml version="1.0" encoding="utf-8"?>
<a:theme xmlns:a="http://schemas.openxmlformats.org/drawingml/2006/main" name="1_Office テーマ">
  <a:themeElements>
    <a:clrScheme name="ASICS">
      <a:dk1>
        <a:srgbClr val="001E61"/>
      </a:dk1>
      <a:lt1>
        <a:srgbClr val="FFFFFF"/>
      </a:lt1>
      <a:dk2>
        <a:srgbClr val="44546A"/>
      </a:dk2>
      <a:lt2>
        <a:srgbClr val="FFFFFF"/>
      </a:lt2>
      <a:accent1>
        <a:srgbClr val="E5E5FC"/>
      </a:accent1>
      <a:accent2>
        <a:srgbClr val="EBF5EC"/>
      </a:accent2>
      <a:accent3>
        <a:srgbClr val="FEF8E6"/>
      </a:accent3>
      <a:accent4>
        <a:srgbClr val="F7D8CA"/>
      </a:accent4>
      <a:accent5>
        <a:srgbClr val="B6B8DC"/>
      </a:accent5>
      <a:accent6>
        <a:srgbClr val="A0DAB3"/>
      </a:accent6>
      <a:hlink>
        <a:srgbClr val="0563C1"/>
      </a:hlink>
      <a:folHlink>
        <a:srgbClr val="B6B8DC"/>
      </a:folHlink>
    </a:clrScheme>
    <a:fontScheme name="Custom 1">
      <a:majorFont>
        <a:latin typeface="ASICS Font 3.0"/>
        <a:ea typeface=""/>
        <a:cs typeface=""/>
      </a:majorFont>
      <a:minorFont>
        <a:latin typeface="ASICS Font 3.0"/>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PORTSTYLE PPT TEMPLATE" id="{ED260AF3-4F94-4E1F-90F5-1B1FF2AB5DE1}" vid="{B02C3033-99AC-4A77-9B94-2CB58B05DAB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f95693bf-6f16-4727-aac7-151a15e48b1d" xsi:nil="true"/>
    <lcf76f155ced4ddcb4097134ff3c332f xmlns="9d006859-1fd0-47b4-be57-6ab7dc50ea96">
      <Terms xmlns="http://schemas.microsoft.com/office/infopath/2007/PartnerControls"/>
    </lcf76f155ced4ddcb4097134ff3c332f>
    <SharedWithUsers xmlns="f95693bf-6f16-4727-aac7-151a15e48b1d">
      <UserInfo>
        <DisplayName/>
        <AccountId xsi:nil="true"/>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5542C355759AA4DB0840ADB03883419" ma:contentTypeVersion="19" ma:contentTypeDescription="Create a new document." ma:contentTypeScope="" ma:versionID="1358368543b761e54cc412459e19773d">
  <xsd:schema xmlns:xsd="http://www.w3.org/2001/XMLSchema" xmlns:xs="http://www.w3.org/2001/XMLSchema" xmlns:p="http://schemas.microsoft.com/office/2006/metadata/properties" xmlns:ns2="9d006859-1fd0-47b4-be57-6ab7dc50ea96" xmlns:ns3="f95693bf-6f16-4727-aac7-151a15e48b1d" targetNamespace="http://schemas.microsoft.com/office/2006/metadata/properties" ma:root="true" ma:fieldsID="70be3b22ad123497a36bca73712dd442" ns2:_="" ns3:_="">
    <xsd:import namespace="9d006859-1fd0-47b4-be57-6ab7dc50ea96"/>
    <xsd:import namespace="f95693bf-6f16-4727-aac7-151a15e48b1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Location" minOccurs="0"/>
                <xsd:element ref="ns2:MediaLengthInSeconds" minOccurs="0"/>
                <xsd:element ref="ns2:MediaServiceAutoKeyPoints" minOccurs="0"/>
                <xsd:element ref="ns2:MediaServiceKeyPoints" minOccurs="0"/>
                <xsd:element ref="ns2:lcf76f155ced4ddcb4097134ff3c332f" minOccurs="0"/>
                <xsd:element ref="ns3:TaxCatchAll" minOccurs="0"/>
                <xsd:element ref="ns2:MediaServiceSearchProperties" minOccurs="0"/>
                <xsd:element ref="ns2:MediaServiceObjectDetectorVersion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006859-1fd0-47b4-be57-6ab7dc50ea9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d0aae95-5b74-4b3a-b356-ee4d63b75da5" ma:termSetId="09814cd3-568e-fe90-9814-8d621ff8fb84" ma:anchorId="fba54fb3-c3e1-fe81-a776-ca4b69148c4d" ma:open="true" ma:isKeyword="false">
      <xsd:complexType>
        <xsd:sequence>
          <xsd:element ref="pc:Terms" minOccurs="0" maxOccurs="1"/>
        </xsd:sequence>
      </xsd:complex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95693bf-6f16-4727-aac7-151a15e48b1d"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b0250ad-4c34-44e2-ada0-926cb277a2b4}" ma:internalName="TaxCatchAll" ma:showField="CatchAllData" ma:web="f95693bf-6f16-4727-aac7-151a15e48b1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A2EA28E-E4E5-4E9D-9DFE-ACAF75762497}">
  <ds:schemaRefs>
    <ds:schemaRef ds:uri="http://schemas.microsoft.com/sharepoint/v3/contenttype/forms"/>
  </ds:schemaRefs>
</ds:datastoreItem>
</file>

<file path=customXml/itemProps2.xml><?xml version="1.0" encoding="utf-8"?>
<ds:datastoreItem xmlns:ds="http://schemas.openxmlformats.org/officeDocument/2006/customXml" ds:itemID="{FE266F57-3182-4446-AED3-0780536A0079}">
  <ds:schemaRefs>
    <ds:schemaRef ds:uri="http://purl.org/dc/elements/1.1/"/>
    <ds:schemaRef ds:uri="http://purl.org/dc/dcmitype/"/>
    <ds:schemaRef ds:uri="http://purl.org/dc/terms/"/>
    <ds:schemaRef ds:uri="http://schemas.microsoft.com/office/2006/documentManagement/types"/>
    <ds:schemaRef ds:uri="http://www.w3.org/XML/1998/namespace"/>
    <ds:schemaRef ds:uri="http://schemas.microsoft.com/office/infopath/2007/PartnerControls"/>
    <ds:schemaRef ds:uri="9d006859-1fd0-47b4-be57-6ab7dc50ea96"/>
    <ds:schemaRef ds:uri="http://schemas.openxmlformats.org/package/2006/metadata/core-properties"/>
    <ds:schemaRef ds:uri="f95693bf-6f16-4727-aac7-151a15e48b1d"/>
    <ds:schemaRef ds:uri="http://schemas.microsoft.com/office/2006/metadata/properties"/>
  </ds:schemaRefs>
</ds:datastoreItem>
</file>

<file path=customXml/itemProps3.xml><?xml version="1.0" encoding="utf-8"?>
<ds:datastoreItem xmlns:ds="http://schemas.openxmlformats.org/officeDocument/2006/customXml" ds:itemID="{6A367D59-81FB-49EC-87E3-4251E5F025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d006859-1fd0-47b4-be57-6ab7dc50ea96"/>
    <ds:schemaRef ds:uri="f95693bf-6f16-4727-aac7-151a15e48b1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SICS SPS</Template>
  <TotalTime>509</TotalTime>
  <Words>871</Words>
  <Application>Microsoft Macintosh PowerPoint</Application>
  <PresentationFormat>Panoramiczny</PresentationFormat>
  <Paragraphs>490</Paragraphs>
  <Slides>37</Slides>
  <Notes>13</Notes>
  <HiddenSlides>0</HiddenSlides>
  <MMClips>0</MMClips>
  <ScaleCrop>false</ScaleCrop>
  <HeadingPairs>
    <vt:vector size="8" baseType="variant">
      <vt:variant>
        <vt:lpstr>Używane czcionki</vt:lpstr>
      </vt:variant>
      <vt:variant>
        <vt:i4>6</vt:i4>
      </vt:variant>
      <vt:variant>
        <vt:lpstr>Motyw</vt:lpstr>
      </vt:variant>
      <vt:variant>
        <vt:i4>3</vt:i4>
      </vt:variant>
      <vt:variant>
        <vt:lpstr>Osadzone serwery OLE</vt:lpstr>
      </vt:variant>
      <vt:variant>
        <vt:i4>1</vt:i4>
      </vt:variant>
      <vt:variant>
        <vt:lpstr>Tytuły slajdów</vt:lpstr>
      </vt:variant>
      <vt:variant>
        <vt:i4>37</vt:i4>
      </vt:variant>
    </vt:vector>
  </HeadingPairs>
  <TitlesOfParts>
    <vt:vector size="47" baseType="lpstr">
      <vt:lpstr>Aptos</vt:lpstr>
      <vt:lpstr>Aptos Narrow</vt:lpstr>
      <vt:lpstr>Arial</vt:lpstr>
      <vt:lpstr>ASICS Font 3.0</vt:lpstr>
      <vt:lpstr>Calibri</vt:lpstr>
      <vt:lpstr>Helvetica</vt:lpstr>
      <vt:lpstr>Theme1</vt:lpstr>
      <vt:lpstr>Office テーマ</vt:lpstr>
      <vt:lpstr>1_Office テーマ</vt:lpstr>
      <vt:lpstr>think-cell Slide</vt:lpstr>
      <vt:lpstr>Prezentacja programu PowerPoint</vt:lpstr>
      <vt:lpstr>VIS-TECH</vt:lpstr>
      <vt:lpstr>GEL-KINETIC 2.0</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VINTAGE TECH</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HYBRID</vt:lpstr>
      <vt:lpstr>Prezentacja programu PowerPoint</vt:lpstr>
      <vt:lpstr>Prezentacja programu PowerPoint</vt:lpstr>
      <vt:lpstr>Prezentacja programu PowerPoint</vt:lpstr>
      <vt:lpstr>Prezentacja programu PowerPoint</vt:lpstr>
      <vt:lpstr>Prezentacja programu PowerPoint</vt:lpstr>
      <vt:lpstr>URBAN TRAIL</vt:lpstr>
      <vt:lpstr>Prezentacja programu PowerPoint</vt:lpstr>
      <vt:lpstr>Prezentacja programu PowerPoint</vt:lpstr>
      <vt:lpstr>COURT</vt:lpstr>
      <vt:lpstr>Prezentacja programu PowerPoint</vt:lpstr>
      <vt:lpstr>Prezentacja programu PowerPoint</vt:lpstr>
      <vt:lpstr>CLASSIC HERITAGE</vt:lpstr>
      <vt:lpstr>Prezentacja programu PowerPoint</vt:lpstr>
      <vt:lpstr>KIDS</vt:lpstr>
      <vt:lpstr>Prezentacja programu PowerPoint</vt:lpstr>
      <vt:lpstr>Prezentacja programu PowerPoin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cp:keywords/>
  <dc:description/>
  <cp:lastModifiedBy>antonina@aston.trading</cp:lastModifiedBy>
  <cp:revision>102</cp:revision>
  <dcterms:created xsi:type="dcterms:W3CDTF">2013-07-15T20:26:40Z</dcterms:created>
  <dcterms:modified xsi:type="dcterms:W3CDTF">2025-05-27T14:18:2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5542C355759AA4DB0840ADB03883419</vt:lpwstr>
  </property>
  <property fmtid="{D5CDD505-2E9C-101B-9397-08002B2CF9AE}" pid="3" name="MediaServiceImageTags">
    <vt:lpwstr/>
  </property>
  <property fmtid="{D5CDD505-2E9C-101B-9397-08002B2CF9AE}" pid="4" name="Order">
    <vt:lpwstr>5069400.00000000</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